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customXml/itemProps24.xml" ContentType="application/vnd.openxmlformats-officedocument.customXmlProperties+xml"/>
  <Override PartName="/ppt/tags/tag424.xml" ContentType="application/vnd.openxmlformats-officedocument.presentationml.tags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Override PartName="/ppt/tags/tag402.xml" ContentType="application/vnd.openxmlformats-officedocument.presentationml.tags+xml"/>
  <Default Extension="xml" ContentType="application/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gs/tag386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364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customXml/itemProps18.xml" ContentType="application/vnd.openxmlformats-officedocument.customXmlPropertie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320.xml" ContentType="application/vnd.openxmlformats-officedocument.presentationml.tags+xml"/>
  <Override PartName="/ppt/tags/tag418.xml" ContentType="application/vnd.openxmlformats-officedocument.presentationml.tags+xml"/>
  <Default Extension="png" ContentType="image/png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customXml/itemProps43.xml" ContentType="application/vnd.openxmlformats-officedocument.customXmlPropertie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heme/theme2.xml" ContentType="application/vnd.openxmlformats-officedocument.theme+xml"/>
  <Override PartName="/customXml/itemProps21.xml" ContentType="application/vnd.openxmlformats-officedocument.customXmlProperties+xml"/>
  <Default Extension="emf" ContentType="image/x-emf"/>
  <Override PartName="/ppt/tags/tag235.xml" ContentType="application/vnd.openxmlformats-officedocument.presentationml.tags+xml"/>
  <Override PartName="/ppt/tags/tag282.xml" ContentType="application/vnd.openxmlformats-officedocument.presentationml.tags+xml"/>
  <Override PartName="/ppt/tags/tag421.xml" ContentType="application/vnd.openxmlformats-officedocument.presentationml.tags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58.xml" ContentType="application/vnd.openxmlformats-officedocument.presentationml.tags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tags/tag336.xml" ContentType="application/vnd.openxmlformats-officedocument.presentationml.tags+xml"/>
  <Override PartName="/ppt/tags/tag383.xml" ContentType="application/vnd.openxmlformats-officedocument.presentationml.tags+xml"/>
  <Override PartName="/ppt/notesSlides/notesSlide13.xml" ContentType="application/vnd.openxmlformats-officedocument.presentationml.notesSlide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customXml/itemProps7.xml" ContentType="application/vnd.openxmlformats-officedocument.customXmlPropertie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customXml/itemProps37.xml" ContentType="application/vnd.openxmlformats-officedocument.customXmlProperties+xml"/>
  <Override PartName="/ppt/tags/tag106.xml" ContentType="application/vnd.openxmlformats-officedocument.presentationml.tags+xml"/>
  <Override PartName="/ppt/notesSlides/notesSlide4.xml" ContentType="application/vnd.openxmlformats-officedocument.presentationml.notesSlide+xml"/>
  <Override PartName="/ppt/tags/tag153.xml" ContentType="application/vnd.openxmlformats-officedocument.presentationml.tags+xml"/>
  <Override PartName="/ppt/tags/tag437.xml" ContentType="application/vnd.openxmlformats-officedocument.presentationml.tags+xml"/>
  <Override PartName="/customXml/itemProps15.xml" ContentType="application/vnd.openxmlformats-officedocument.customXmlPropertie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tags/tag415.xml" ContentType="application/vnd.openxmlformats-officedocument.presentationml.tags+xml"/>
  <Override PartName="/ppt/tags/tag98.xml" ContentType="application/vnd.openxmlformats-officedocument.presentationml.tags+xml"/>
  <Override PartName="/ppt/tags/tag207.xml" ContentType="application/vnd.openxmlformats-officedocument.presentationml.tags+xml"/>
  <Override PartName="/ppt/tags/tag254.xml" ContentType="application/vnd.openxmlformats-officedocument.presentationml.tags+xml"/>
  <Override PartName="/ppt/tags/tag399.xml" ContentType="application/vnd.openxmlformats-officedocument.presentationml.tags+xml"/>
  <Override PartName="/customXml/itemProps40.xml" ContentType="application/vnd.openxmlformats-officedocument.customXmlProperties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440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77.xml" ContentType="application/vnd.openxmlformats-officedocument.presentationml.tags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notesSlides/notesSlide10.xml" ContentType="application/vnd.openxmlformats-officedocument.presentationml.notesSlide+xml"/>
  <Override PartName="/ppt/tags/tag333.xml" ContentType="application/vnd.openxmlformats-officedocument.presentationml.tags+xml"/>
  <Override PartName="/ppt/tags/tag380.xml" ContentType="application/vnd.openxmlformats-officedocument.presentationml.tags+xml"/>
  <Override PartName="/customXml/itemProps4.xml" ContentType="application/vnd.openxmlformats-officedocument.customXmlPropertie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125.xml" ContentType="application/vnd.openxmlformats-officedocument.presentationml.tags+xml"/>
  <Override PartName="/ppt/tags/tag172.xml" ContentType="application/vnd.openxmlformats-officedocument.presentationml.tags+xml"/>
  <Override PartName="/ppt/tags/tag311.xml" ContentType="application/vnd.openxmlformats-officedocument.presentationml.tags+xml"/>
  <Override PartName="/ppt/tags/tag409.xml" ContentType="application/vnd.openxmlformats-officedocument.presentationml.tags+xml"/>
  <Override PartName="/customXml/itemProps34.xml" ContentType="application/vnd.openxmlformats-officedocument.customXmlProperties+xml"/>
  <Override PartName="/ppt/tags/tag103.xml" ContentType="application/vnd.openxmlformats-officedocument.presentationml.tags+xml"/>
  <Override PartName="/ppt/notesSlides/notesSlide1.xml" ContentType="application/vnd.openxmlformats-officedocument.presentationml.notesSlide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434.xml" ContentType="application/vnd.openxmlformats-officedocument.presentationml.tags+xml"/>
  <Override PartName="/ppt/tags/tag226.xml" ContentType="application/vnd.openxmlformats-officedocument.presentationml.tags+xml"/>
  <Override PartName="/ppt/tags/tag273.xml" ContentType="application/vnd.openxmlformats-officedocument.presentationml.tags+xml"/>
  <Override PartName="/customXml/itemProps12.xml" ContentType="application/vnd.openxmlformats-officedocument.customXmlProperties+xml"/>
  <Override PartName="/ppt/tags/tag412.xml" ContentType="application/vnd.openxmlformats-officedocument.presentationml.tags+xml"/>
  <Override PartName="/ppt/slides/slide13.xml" ContentType="application/vnd.openxmlformats-officedocument.presentationml.slide+xml"/>
  <Override PartName="/ppt/tags/tag48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49.xml" ContentType="application/vnd.openxmlformats-officedocument.presentationml.tags+xml"/>
  <Override PartName="/ppt/tags/tag39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51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52.xml" ContentType="application/vnd.openxmlformats-officedocument.presentationml.tags+xml"/>
  <Override PartName="/customXml/itemProps17.xml" ContentType="application/vnd.openxmlformats-officedocument.customXmlProperties+xml"/>
  <Override PartName="/customXml/itemProps28.xml" ContentType="application/vnd.openxmlformats-officedocument.customXmlPropertie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78.xml" ContentType="application/vnd.openxmlformats-officedocument.presentationml.tags+xml"/>
  <Override PartName="/ppt/tags/tag330.xml" ContentType="application/vnd.openxmlformats-officedocument.presentationml.tags+xml"/>
  <Override PartName="/ppt/tags/tag417.xml" ContentType="application/vnd.openxmlformats-officedocument.presentationml.tags+xml"/>
  <Override PartName="/ppt/tags/tag428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tags/tag406.xml" ContentType="application/vnd.openxmlformats-officedocument.presentationml.tags+xml"/>
  <Override PartName="/customXml/itemProps1.xml" ContentType="application/vnd.openxmlformats-officedocument.customXmlProperties+xml"/>
  <Override PartName="/customXml/itemProps42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tags/tag442.xml" ContentType="application/vnd.openxmlformats-officedocument.presentationml.tags+xml"/>
  <Override PartName="/customXml/itemProps31.xml" ContentType="application/vnd.openxmlformats-officedocument.customXmlPropertie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368.xml" ContentType="application/vnd.openxmlformats-officedocument.presentationml.tags+xml"/>
  <Override PartName="/ppt/tags/tag379.xml" ContentType="application/vnd.openxmlformats-officedocument.presentationml.tags+xml"/>
  <Override PartName="/ppt/tags/tag431.xml" ContentType="application/vnd.openxmlformats-officedocument.presentationml.tags+xml"/>
  <Override PartName="/customXml/itemProps20.xml" ContentType="application/vnd.openxmlformats-officedocument.customXmlPropertie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357.xml" ContentType="application/vnd.openxmlformats-officedocument.presentationml.tags+xml"/>
  <Override PartName="/ppt/tags/tag420.xml" ContentType="application/vnd.openxmlformats-officedocument.presentationml.tags+xml"/>
  <Override PartName="/ppt/slides/slide10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6.xml" ContentType="application/vnd.openxmlformats-officedocument.presentationml.tags+xml"/>
  <Override PartName="/ppt/tags/tag393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35.xml" ContentType="application/vnd.openxmlformats-officedocument.presentationml.tags+xml"/>
  <Override PartName="/ppt/tags/tag371.xml" ContentType="application/vnd.openxmlformats-officedocument.presentationml.tags+xml"/>
  <Override PartName="/ppt/tags/tag382.xml" ContentType="application/vnd.openxmlformats-officedocument.presentationml.tags+xml"/>
  <Override PartName="/ppt/notesSlides/notesSlide12.xml" ContentType="application/vnd.openxmlformats-officedocument.presentationml.notesSlide+xml"/>
  <Override PartName="/customXml/itemProps6.xml" ContentType="application/vnd.openxmlformats-officedocument.customXml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customXml/itemProps36.xml" ContentType="application/vnd.openxmlformats-officedocument.customXmlProperties+xml"/>
  <Override PartName="/customXml/itemProps47.xml" ContentType="application/vnd.openxmlformats-officedocument.customXmlPropertie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302.xml" ContentType="application/vnd.openxmlformats-officedocument.presentationml.tags+xml"/>
  <Override PartName="/ppt/tags/tag436.xml" ContentType="application/vnd.openxmlformats-officedocument.presentationml.tags+xml"/>
  <Override PartName="/customXml/itemProps25.xml" ContentType="application/vnd.openxmlformats-officedocument.customXmlProperties+xml"/>
  <Default Extension="bin" ContentType="application/vnd.openxmlformats-officedocument.oleObject"/>
  <Override PartName="/ppt/tags/tag141.xml" ContentType="application/vnd.openxmlformats-officedocument.presentationml.tags+xml"/>
  <Override PartName="/ppt/notesSlides/notesSlide3.xml" ContentType="application/vnd.openxmlformats-officedocument.presentationml.notesSlide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tags/tag425.xml" ContentType="application/vnd.openxmlformats-officedocument.presentationml.tags+xml"/>
  <Override PartName="/customXml/itemProps14.xml" ContentType="application/vnd.openxmlformats-officedocument.customXmlPropertie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tags/tag414.xml" ContentType="application/vnd.openxmlformats-officedocument.presentationml.tags+xml"/>
  <Override PartName="/customXml/itemProps50.xml" ContentType="application/vnd.openxmlformats-officedocument.customXmlPropertie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387.xml" ContentType="application/vnd.openxmlformats-officedocument.presentationml.tags+xml"/>
  <Override PartName="/ppt/tags/tag398.xml" ContentType="application/vnd.openxmlformats-officedocument.presentationml.tags+xml"/>
  <Override PartName="/ppt/tags/tag403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notesSlides/notesSlide8.xml" ContentType="application/vnd.openxmlformats-officedocument.presentationml.notesSlide+xml"/>
  <Override PartName="/ppt/tags/tag157.xml" ContentType="application/vnd.openxmlformats-officedocument.presentationml.tags+xml"/>
  <Override PartName="/ppt/tags/tag307.xml" ContentType="application/vnd.openxmlformats-officedocument.presentationml.tags+xml"/>
  <Override PartName="/ppt/tags/tag343.xml" ContentType="application/vnd.openxmlformats-officedocument.presentationml.tags+xml"/>
  <Override PartName="/ppt/tags/tag354.xml" ContentType="application/vnd.openxmlformats-officedocument.presentationml.tags+xml"/>
  <Override PartName="/ppt/tags/tag390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customXml/itemProps19.xml" ContentType="application/vnd.openxmlformats-officedocument.customXmlPropertie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321.xml" ContentType="application/vnd.openxmlformats-officedocument.presentationml.tags+xml"/>
  <Override PartName="/ppt/tags/tag408.xml" ContentType="application/vnd.openxmlformats-officedocument.presentationml.tags+xml"/>
  <Override PartName="/ppt/tags/tag419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customXml/itemProps44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customXml/itemProps33.xml" ContentType="application/vnd.openxmlformats-officedocument.customXmlPropertie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theme/theme3.xml" ContentType="application/vnd.openxmlformats-officedocument.theme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433.xml" ContentType="application/vnd.openxmlformats-officedocument.presentationml.tags+xml"/>
  <Override PartName="/customXml/itemProps11.xml" ContentType="application/vnd.openxmlformats-officedocument.customXmlProperties+xml"/>
  <Override PartName="/customXml/itemProps22.xml" ContentType="application/vnd.openxmlformats-officedocument.customXmlPropertie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359.xml" ContentType="application/vnd.openxmlformats-officedocument.presentationml.tags+xml"/>
  <Override PartName="/ppt/tags/tag411.xml" ContentType="application/vnd.openxmlformats-officedocument.presentationml.tags+xml"/>
  <Override PartName="/ppt/tags/tag422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tags/tag348.xml" ContentType="application/vnd.openxmlformats-officedocument.presentationml.tags+xml"/>
  <Override PartName="/ppt/tags/tag395.xml" ContentType="application/vnd.openxmlformats-officedocument.presentationml.tags+xml"/>
  <Override PartName="/ppt/tags/tag400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337.xml" ContentType="application/vnd.openxmlformats-officedocument.presentationml.tags+xml"/>
  <Override PartName="/ppt/tags/tag384.xml" ContentType="application/vnd.openxmlformats-officedocument.presentationml.tags+xml"/>
  <Override PartName="/ppt/notesSlides/notesSlide14.xml" ContentType="application/vnd.openxmlformats-officedocument.presentationml.notesSlide+xml"/>
  <Override PartName="/customXml/itemProps8.xml" ContentType="application/vnd.openxmlformats-officedocument.customXml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362.xml" ContentType="application/vnd.openxmlformats-officedocument.presentationml.tags+xml"/>
  <Override PartName="/ppt/tags/tag373.xml" ContentType="application/vnd.openxmlformats-officedocument.presentationml.tags+xml"/>
  <Override PartName="/customXml/itemProps38.xml" ContentType="application/vnd.openxmlformats-officedocument.customXmlProperties+xml"/>
  <Override PartName="/customXml/itemProps49.xml" ContentType="application/vnd.openxmlformats-officedocument.customXmlPropertie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438.xml" ContentType="application/vnd.openxmlformats-officedocument.presentationml.tags+xml"/>
  <Override PartName="/customXml/itemProps27.xml" ContentType="application/vnd.openxmlformats-officedocument.customXmlProperties+xml"/>
  <Override PartName="/ppt/tags/tag143.xml" ContentType="application/vnd.openxmlformats-officedocument.presentationml.tags+xml"/>
  <Override PartName="/ppt/notesSlides/notesSlide5.xml" ContentType="application/vnd.openxmlformats-officedocument.presentationml.notesSlide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340.xml" ContentType="application/vnd.openxmlformats-officedocument.presentationml.tags+xml"/>
  <Override PartName="/ppt/tags/tag427.xml" ContentType="application/vnd.openxmlformats-officedocument.presentationml.tags+xml"/>
  <Override PartName="/customXml/itemProps16.xml" ContentType="application/vnd.openxmlformats-officedocument.customXmlProperties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tags/tag416.xml" ContentType="application/vnd.openxmlformats-officedocument.presentationml.tags+xml"/>
  <Override PartName="/customXml/itemProps41.xml" ContentType="application/vnd.openxmlformats-officedocument.customXmlProperties+xml"/>
  <Override PartName="/customXml/itemProps52.xml" ContentType="application/vnd.openxmlformats-officedocument.customXmlPropertie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tags/tag389.xml" ContentType="application/vnd.openxmlformats-officedocument.presentationml.tags+xml"/>
  <Override PartName="/ppt/tags/tag405.xml" ContentType="application/vnd.openxmlformats-officedocument.presentationml.tags+xml"/>
  <Override PartName="/customXml/itemProps30.xml" ContentType="application/vnd.openxmlformats-officedocument.customXmlPropertie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Default Extension="jpeg" ContentType="image/jpeg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tags/tag378.xml" ContentType="application/vnd.openxmlformats-officedocument.presentationml.tags+xml"/>
  <Override PartName="/ppt/tags/tag430.xml" ContentType="application/vnd.openxmlformats-officedocument.presentationml.tags+xml"/>
  <Override PartName="/ppt/tags/tag441.xml" ContentType="application/vnd.openxmlformats-officedocument.presentationml.tags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56.xml" ContentType="application/vnd.openxmlformats-officedocument.presentationml.tags+xml"/>
  <Override PartName="/ppt/tags/tag392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notesSlides/notesSlide11.xml" ContentType="application/vnd.openxmlformats-officedocument.presentationml.notesSlide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334.xml" ContentType="application/vnd.openxmlformats-officedocument.presentationml.tags+xml"/>
  <Override PartName="/ppt/tags/tag381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customXml/itemProps5.xml" ContentType="application/vnd.openxmlformats-officedocument.customXmlProperties+xml"/>
  <Override PartName="/customXml/itemProps46.xml" ContentType="application/vnd.openxmlformats-officedocument.customXmlPropertie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customXml/itemProps35.xml" ContentType="application/vnd.openxmlformats-officedocument.customXmlProperties+xml"/>
  <Override PartName="/ppt/tags/tag104.xml" ContentType="application/vnd.openxmlformats-officedocument.presentationml.tags+xml"/>
  <Override PartName="/ppt/notesSlides/notesSlide2.xml" ContentType="application/vnd.openxmlformats-officedocument.presentationml.notesSlide+xml"/>
  <Override PartName="/ppt/tags/tag151.xml" ContentType="application/vnd.openxmlformats-officedocument.presentationml.tags+xml"/>
  <Override PartName="/ppt/tags/tag435.xml" ContentType="application/vnd.openxmlformats-officedocument.presentationml.tags+xml"/>
  <Override PartName="/customXml/itemProps13.xml" ContentType="application/vnd.openxmlformats-officedocument.customXmlPropertie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13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tags/tag397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customXml/itemProps29.xml" ContentType="application/vnd.openxmlformats-officedocument.customXmlPropertie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429.xml" ContentType="application/vnd.openxmlformats-officedocument.presentationml.tags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407.xml" ContentType="application/vnd.openxmlformats-officedocument.presentationml.tags+xml"/>
  <Override PartName="/customXml/itemProps32.xml" ContentType="application/vnd.openxmlformats-officedocument.customXmlPropertie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tags/tag432.xml" ContentType="application/vnd.openxmlformats-officedocument.presentationml.tags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presentation.xml" ContentType="application/vnd.openxmlformats-officedocument.presentationml.presentation.main+xml"/>
  <Override PartName="/customXml/itemProps10.xml" ContentType="application/vnd.openxmlformats-officedocument.customXmlProperties+xml"/>
  <Override PartName="/ppt/tags/tag347.xml" ContentType="application/vnd.openxmlformats-officedocument.presentationml.tags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customXml/itemProps48.xml" ContentType="application/vnd.openxmlformats-officedocument.customXmlPropertie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142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customXml/itemProps26.xml" ContentType="application/vnd.openxmlformats-officedocument.customXmlProperties+xml"/>
  <Override PartName="/ppt/tags/tag426.xml" ContentType="application/vnd.openxmlformats-officedocument.presentationml.tags+xml"/>
  <Override PartName="/customXml/itemProps51.xml" ContentType="application/vnd.openxmlformats-officedocument.customXmlProperties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tags/tag265.xml" ContentType="application/vnd.openxmlformats-officedocument.presentationml.tags+xml"/>
  <Override PartName="/ppt/tags/tag404.xml" ContentType="application/vnd.openxmlformats-officedocument.presentationml.tags+xml"/>
  <Override PartName="/ppt/slides/slide2.xml" ContentType="application/vnd.openxmlformats-officedocument.presentationml.slide+xml"/>
  <Default Extension="wmf" ContentType="image/x-wmf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388.xml" ContentType="application/vnd.openxmlformats-officedocument.presentationml.tags+xml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tags/tag18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notesSlides/notesSlide9.xml" ContentType="application/vnd.openxmlformats-officedocument.presentationml.notesSlide+xml"/>
  <Override PartName="/ppt/tags/tag344.xml" ContentType="application/vnd.openxmlformats-officedocument.presentationml.tags+xml"/>
  <Override PartName="/ppt/tags/tag391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61.xml" ContentType="application/vnd.openxmlformats-officedocument.presentationml.tags+xml"/>
  <Override PartName="/ppt/tags/tag259.xml" ContentType="application/vnd.openxmlformats-officedocument.presentationml.tags+xml"/>
  <Override PartName="/customXml/itemProps45.xml" ContentType="application/vnd.openxmlformats-officedocument.customXmlProperties+xml"/>
  <Override PartName="/ppt/tags/tag7.xml" ContentType="application/vnd.openxmlformats-officedocument.presentationml.tags+xml"/>
  <Override PartName="/ppt/tags/tag300.xml" ContentType="application/vnd.openxmlformats-officedocument.presentationml.tags+xml"/>
  <Override PartName="/customXml/itemProps23.xml" ContentType="application/vnd.openxmlformats-officedocument.customXmlProperties+xml"/>
  <Override PartName="/ppt/tags/tag237.xml" ContentType="application/vnd.openxmlformats-officedocument.presentationml.tags+xml"/>
  <Override PartName="/ppt/tags/tag284.xml" ContentType="application/vnd.openxmlformats-officedocument.presentationml.tags+xml"/>
  <Override PartName="/ppt/tags/tag423.xml" ContentType="application/vnd.openxmlformats-officedocument.presentationml.tags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84.xml" ContentType="application/vnd.openxmlformats-officedocument.presentationml.tags+xml"/>
  <Override PartName="/ppt/tags/tag199.xml" ContentType="application/vnd.openxmlformats-officedocument.presentationml.tags+xml"/>
  <Override PartName="/ppt/tags/tag338.xml" ContentType="application/vnd.openxmlformats-officedocument.presentationml.tags+xml"/>
  <Override PartName="/ppt/tags/tag385.xml" ContentType="application/vnd.openxmlformats-officedocument.presentationml.tags+xml"/>
  <Override PartName="/ppt/tags/tag401.xml" ContentType="application/vnd.openxmlformats-officedocument.presentationml.tags+xml"/>
  <Override PartName="/ppt/notesSlides/notesSlide15.xml" ContentType="application/vnd.openxmlformats-officedocument.presentationml.notesSlide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customXml/itemProps9.xml" ContentType="application/vnd.openxmlformats-officedocument.customXmlPropertie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customXml/itemProps39.xml" ContentType="application/vnd.openxmlformats-officedocument.customXmlProperties+xml"/>
  <Override PartName="/ppt/tags/tag40.xml" ContentType="application/vnd.openxmlformats-officedocument.presentationml.tags+xml"/>
  <Override PartName="/ppt/tags/tag108.xml" ContentType="application/vnd.openxmlformats-officedocument.presentationml.tags+xml"/>
  <Override PartName="/ppt/notesSlides/notesSlide6.xml" ContentType="application/vnd.openxmlformats-officedocument.presentationml.notesSlide+xml"/>
  <Override PartName="/ppt/tags/tag155.xml" ContentType="application/vnd.openxmlformats-officedocument.presentationml.tags+xml"/>
  <Override PartName="/ppt/tags/tag341.xml" ContentType="application/vnd.openxmlformats-officedocument.presentationml.tags+xml"/>
  <Override PartName="/ppt/tags/tag439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53"/>
  </p:sldMasterIdLst>
  <p:notesMasterIdLst>
    <p:notesMasterId r:id="rId69"/>
  </p:notesMasterIdLst>
  <p:handoutMasterIdLst>
    <p:handoutMasterId r:id="rId70"/>
  </p:handoutMasterIdLst>
  <p:sldIdLst>
    <p:sldId id="316" r:id="rId54"/>
    <p:sldId id="576" r:id="rId55"/>
    <p:sldId id="501" r:id="rId56"/>
    <p:sldId id="580" r:id="rId57"/>
    <p:sldId id="577" r:id="rId58"/>
    <p:sldId id="581" r:id="rId59"/>
    <p:sldId id="578" r:id="rId60"/>
    <p:sldId id="582" r:id="rId61"/>
    <p:sldId id="579" r:id="rId62"/>
    <p:sldId id="588" r:id="rId63"/>
    <p:sldId id="589" r:id="rId64"/>
    <p:sldId id="587" r:id="rId65"/>
    <p:sldId id="583" r:id="rId66"/>
    <p:sldId id="584" r:id="rId67"/>
    <p:sldId id="586" r:id="rId68"/>
  </p:sldIdLst>
  <p:sldSz cx="12198350" cy="6858000"/>
  <p:notesSz cx="7315200" cy="9601200"/>
  <p:custDataLst>
    <p:tags r:id="rId7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umimoji="1" sz="2400" kern="1200">
        <a:solidFill>
          <a:schemeClr val="bg2"/>
        </a:solidFill>
        <a:latin typeface="Arial" pitchFamily="34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sz="2400" kern="1200">
        <a:solidFill>
          <a:schemeClr val="bg2"/>
        </a:solidFill>
        <a:latin typeface="Arial" pitchFamily="34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sz="2400" kern="1200">
        <a:solidFill>
          <a:schemeClr val="bg2"/>
        </a:solidFill>
        <a:latin typeface="Arial" pitchFamily="34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sz="2400" kern="1200">
        <a:solidFill>
          <a:schemeClr val="bg2"/>
        </a:solidFill>
        <a:latin typeface="Arial" pitchFamily="34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sz="2400" kern="1200">
        <a:solidFill>
          <a:schemeClr val="bg2"/>
        </a:solidFill>
        <a:latin typeface="Arial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umimoji="1" sz="2400" kern="1200">
        <a:solidFill>
          <a:schemeClr val="bg2"/>
        </a:solidFill>
        <a:latin typeface="Arial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umimoji="1" sz="2400" kern="1200">
        <a:solidFill>
          <a:schemeClr val="bg2"/>
        </a:solidFill>
        <a:latin typeface="Arial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umimoji="1" sz="2400" kern="1200">
        <a:solidFill>
          <a:schemeClr val="bg2"/>
        </a:solidFill>
        <a:latin typeface="Arial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umimoji="1" sz="2400" kern="1200">
        <a:solidFill>
          <a:schemeClr val="bg2"/>
        </a:solidFill>
        <a:latin typeface="Arial" pitchFamily="34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srgbClr val="FF0000"/>
    </p:penClr>
  </p:showPr>
  <p:clrMru>
    <a:srgbClr val="DDDDDD"/>
    <a:srgbClr val="EAEAEA"/>
    <a:srgbClr val="8CC3D2"/>
    <a:srgbClr val="2882A0"/>
    <a:srgbClr val="AFD7E1"/>
    <a:srgbClr val="EE1C25"/>
    <a:srgbClr val="55A0B9"/>
    <a:srgbClr val="FF99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0" d="100"/>
          <a:sy n="70" d="100"/>
        </p:scale>
        <p:origin x="-492" y="-426"/>
      </p:cViewPr>
      <p:guideLst>
        <p:guide orient="horz" pos="3884"/>
        <p:guide orient="horz" pos="889"/>
        <p:guide orient="horz" pos="1046"/>
        <p:guide orient="horz" pos="794"/>
        <p:guide orient="horz" pos="1071"/>
        <p:guide orient="horz" pos="3702"/>
        <p:guide pos="413"/>
        <p:guide pos="7380"/>
        <p:guide pos="3945"/>
        <p:guide pos="3841"/>
        <p:guide pos="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0" d="100"/>
          <a:sy n="50" d="100"/>
        </p:scale>
        <p:origin x="-2814" y="-96"/>
      </p:cViewPr>
      <p:guideLst>
        <p:guide orient="horz" pos="3024"/>
        <p:guide pos="230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customXml" Target="../customXml/item39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50" Type="http://schemas.openxmlformats.org/officeDocument/2006/relationships/customXml" Target="../customXml/item50.xml"/><Relationship Id="rId55" Type="http://schemas.openxmlformats.org/officeDocument/2006/relationships/slide" Target="slides/slide2.xml"/><Relationship Id="rId63" Type="http://schemas.openxmlformats.org/officeDocument/2006/relationships/slide" Target="slides/slide10.xml"/><Relationship Id="rId68" Type="http://schemas.openxmlformats.org/officeDocument/2006/relationships/slide" Target="slides/slide15.xml"/><Relationship Id="rId7" Type="http://schemas.openxmlformats.org/officeDocument/2006/relationships/customXml" Target="../customXml/item7.xml"/><Relationship Id="rId71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53" Type="http://schemas.openxmlformats.org/officeDocument/2006/relationships/slideMaster" Target="slideMasters/slideMaster1.xml"/><Relationship Id="rId58" Type="http://schemas.openxmlformats.org/officeDocument/2006/relationships/slide" Target="slides/slide5.xml"/><Relationship Id="rId66" Type="http://schemas.openxmlformats.org/officeDocument/2006/relationships/slide" Target="slides/slide13.xml"/><Relationship Id="rId74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slide" Target="slides/slide4.xml"/><Relationship Id="rId61" Type="http://schemas.openxmlformats.org/officeDocument/2006/relationships/slide" Target="slides/slide8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customXml" Target="../customXml/item52.xml"/><Relationship Id="rId60" Type="http://schemas.openxmlformats.org/officeDocument/2006/relationships/slide" Target="slides/slide7.xml"/><Relationship Id="rId65" Type="http://schemas.openxmlformats.org/officeDocument/2006/relationships/slide" Target="slides/slide12.xml"/><Relationship Id="rId73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56" Type="http://schemas.openxmlformats.org/officeDocument/2006/relationships/slide" Target="slides/slide3.xml"/><Relationship Id="rId64" Type="http://schemas.openxmlformats.org/officeDocument/2006/relationships/slide" Target="slides/slide11.xml"/><Relationship Id="rId69" Type="http://schemas.openxmlformats.org/officeDocument/2006/relationships/notesMaster" Target="notesMasters/notesMaster1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slide" Target="slides/slide6.xml"/><Relationship Id="rId67" Type="http://schemas.openxmlformats.org/officeDocument/2006/relationships/slide" Target="slides/slide14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slide" Target="slides/slide1.xml"/><Relationship Id="rId62" Type="http://schemas.openxmlformats.org/officeDocument/2006/relationships/slide" Target="slides/slide9.xml"/><Relationship Id="rId70" Type="http://schemas.openxmlformats.org/officeDocument/2006/relationships/handoutMaster" Target="handoutMasters/handoutMaster1.xml"/><Relationship Id="rId75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6"/>
          <p:cNvSpPr>
            <a:spLocks noChangeArrowheads="1"/>
          </p:cNvSpPr>
          <p:nvPr/>
        </p:nvSpPr>
        <p:spPr bwMode="auto">
          <a:xfrm>
            <a:off x="0" y="0"/>
            <a:ext cx="7315200" cy="655638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wrap="none" lIns="87917" tIns="43957" rIns="87917" bIns="43957" anchor="ctr"/>
          <a:lstStyle/>
          <a:p>
            <a:pPr>
              <a:spcBef>
                <a:spcPct val="50000"/>
              </a:spcBef>
              <a:defRPr/>
            </a:pPr>
            <a:endParaRPr kumimoji="0" lang="ru-RU" sz="1800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348038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25" tIns="142825" rIns="142825" bIns="142825" numCol="1" anchor="t" anchorCtr="0" compatLnSpc="1">
            <a:prstTxWarp prst="textNoShape">
              <a:avLst/>
            </a:prstTxWarp>
          </a:bodyPr>
          <a:lstStyle>
            <a:lvl1pPr defTabSz="906637">
              <a:spcBef>
                <a:spcPct val="0"/>
              </a:spcBef>
              <a:defRPr kumimoji="0" sz="1200">
                <a:solidFill>
                  <a:schemeClr val="bg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67163" y="0"/>
            <a:ext cx="3348037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25" tIns="142825" rIns="142825" bIns="142825" numCol="1" anchor="t" anchorCtr="0" compatLnSpc="1">
            <a:prstTxWarp prst="textNoShape">
              <a:avLst/>
            </a:prstTxWarp>
          </a:bodyPr>
          <a:lstStyle>
            <a:lvl1pPr algn="r" defTabSz="906637">
              <a:spcBef>
                <a:spcPct val="0"/>
              </a:spcBef>
              <a:defRPr kumimoji="0" sz="1200">
                <a:solidFill>
                  <a:schemeClr val="bg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083675"/>
            <a:ext cx="3348038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25" tIns="142825" rIns="142825" bIns="142825" numCol="1" anchor="b" anchorCtr="0" compatLnSpc="1">
            <a:prstTxWarp prst="textNoShape">
              <a:avLst/>
            </a:prstTxWarp>
          </a:bodyPr>
          <a:lstStyle>
            <a:lvl1pPr defTabSz="906637">
              <a:spcBef>
                <a:spcPct val="0"/>
              </a:spcBef>
              <a:defRPr kumimoji="0"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67163" y="9083675"/>
            <a:ext cx="3348037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25" tIns="142825" rIns="142825" bIns="142825" numCol="1" anchor="b" anchorCtr="0" compatLnSpc="1">
            <a:prstTxWarp prst="textNoShape">
              <a:avLst/>
            </a:prstTxWarp>
          </a:bodyPr>
          <a:lstStyle>
            <a:lvl1pPr algn="r" defTabSz="906463">
              <a:defRPr kumimoji="0"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Handzettel </a:t>
            </a:r>
            <a:fld id="{3B816609-7FCA-4CB2-B278-85F2C6E50107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348038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25" tIns="142825" rIns="142825" bIns="142825" numCol="1" anchor="t" anchorCtr="0" compatLnSpc="1">
            <a:prstTxWarp prst="textNoShape">
              <a:avLst/>
            </a:prstTxWarp>
          </a:bodyPr>
          <a:lstStyle>
            <a:lvl1pPr defTabSz="906637">
              <a:spcBef>
                <a:spcPct val="0"/>
              </a:spcBef>
              <a:defRPr kumimoji="0"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67163" y="0"/>
            <a:ext cx="3346450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25" tIns="142825" rIns="142825" bIns="142825" numCol="1" anchor="t" anchorCtr="0" compatLnSpc="1">
            <a:prstTxWarp prst="textNoShape">
              <a:avLst/>
            </a:prstTxWarp>
          </a:bodyPr>
          <a:lstStyle>
            <a:lvl1pPr algn="r" defTabSz="906637">
              <a:spcBef>
                <a:spcPct val="0"/>
              </a:spcBef>
              <a:defRPr kumimoji="0"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86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5613" y="720725"/>
            <a:ext cx="6405562" cy="3600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46063" y="4524375"/>
            <a:ext cx="6823075" cy="428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083675"/>
            <a:ext cx="3348038" cy="515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25" tIns="142825" rIns="142825" bIns="142825" numCol="1" anchor="b" anchorCtr="0" compatLnSpc="1">
            <a:prstTxWarp prst="textNoShape">
              <a:avLst/>
            </a:prstTxWarp>
          </a:bodyPr>
          <a:lstStyle>
            <a:lvl1pPr defTabSz="906637">
              <a:spcBef>
                <a:spcPct val="0"/>
              </a:spcBef>
              <a:defRPr kumimoji="0" sz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67163" y="9083675"/>
            <a:ext cx="3346450" cy="515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825" tIns="142825" rIns="142825" bIns="142825" numCol="1" anchor="b" anchorCtr="0" compatLnSpc="1">
            <a:prstTxWarp prst="textNoShape">
              <a:avLst/>
            </a:prstTxWarp>
          </a:bodyPr>
          <a:lstStyle>
            <a:lvl1pPr algn="r" defTabSz="906463">
              <a:defRPr kumimoji="0"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otizen </a:t>
            </a:r>
            <a:fld id="{91E7CE4E-F5BE-4EB8-81F1-838EF35DFCB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itchFamily="34" charset="0"/>
        <a:ea typeface="ＭＳ Ｐゴシック" charset="-128"/>
        <a:cs typeface="ＭＳ Ｐゴシック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168275" indent="-168275"/>
            <a:endParaRPr kumimoji="0" lang="ru-RU" smtClean="0">
              <a:ea typeface="ＭＳ Ｐゴシック" pitchFamily="34" charset="-128"/>
            </a:endParaRPr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r>
              <a:rPr lang="en-US" smtClean="0"/>
              <a:t>Notizen </a:t>
            </a:r>
            <a:fld id="{D0D50D5D-404D-43F7-9179-D276D1D327A6}" type="slidenum">
              <a:rPr lang="en-US" smtClean="0"/>
              <a:pPr/>
              <a:t>1</a:t>
            </a:fld>
            <a:endParaRPr lang="en-US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168275" indent="-168275"/>
            <a:endParaRPr lang="ru-RU" smtClean="0">
              <a:ea typeface="ＭＳ Ｐゴシック" pitchFamily="34" charset="-128"/>
            </a:endParaRPr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r>
              <a:rPr lang="en-US" smtClean="0"/>
              <a:t>Notizen </a:t>
            </a:r>
            <a:fld id="{D6AEF6DE-25C1-4BC6-B518-96179B2F7BDA}" type="slidenum">
              <a:rPr lang="en-US" smtClean="0"/>
              <a:pPr/>
              <a:t>10</a:t>
            </a:fld>
            <a:endParaRPr lang="en-US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Notizenplatzhalter 2"/>
          <p:cNvSpPr>
            <a:spLocks noGrp="1"/>
          </p:cNvSpPr>
          <p:nvPr>
            <p:ph type="body" idx="1"/>
          </p:nvPr>
        </p:nvSpPr>
        <p:spPr>
          <a:xfrm>
            <a:off x="928688" y="4470400"/>
            <a:ext cx="5672137" cy="4437063"/>
          </a:xfrm>
          <a:noFill/>
          <a:ln/>
        </p:spPr>
        <p:txBody>
          <a:bodyPr/>
          <a:lstStyle/>
          <a:p>
            <a:pPr>
              <a:spcBef>
                <a:spcPct val="0"/>
              </a:spcBef>
            </a:pPr>
            <a:endParaRPr lang="en-US" sz="1100" smtClean="0">
              <a:ea typeface="ＭＳ Ｐゴシック" pitchFamily="34" charset="-128"/>
            </a:endParaRPr>
          </a:p>
        </p:txBody>
      </p:sp>
      <p:sp>
        <p:nvSpPr>
          <p:cNvPr id="39940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r>
              <a:rPr lang="en-US" smtClean="0"/>
              <a:t>Notizen </a:t>
            </a:r>
            <a:fld id="{DABEC681-C9F2-4AD1-A04E-29C044ED0AFE}" type="slidenum">
              <a:rPr lang="en-US" smtClean="0"/>
              <a:pPr/>
              <a:t>11</a:t>
            </a:fld>
            <a:endParaRPr lang="en-US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0963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ru-RU" smtClean="0">
                <a:ea typeface="ＭＳ Ｐゴシック" pitchFamily="34" charset="-128"/>
              </a:rPr>
              <a:t>Подходы к дигитализации разрабатываются на уровне правительств промышленно развитых государств: в Германии проект называется </a:t>
            </a:r>
            <a:r>
              <a:rPr lang="en-US" altLang="ru-RU" smtClean="0">
                <a:ea typeface="ＭＳ Ｐゴシック" pitchFamily="34" charset="-128"/>
              </a:rPr>
              <a:t>“</a:t>
            </a:r>
            <a:r>
              <a:rPr lang="en-US" altLang="ja-JP" smtClean="0">
                <a:ea typeface="ＭＳ Ｐゴシック" pitchFamily="34" charset="-128"/>
              </a:rPr>
              <a:t>Industrie 4.0</a:t>
            </a:r>
            <a:r>
              <a:rPr lang="en-US" altLang="ru-RU" smtClean="0">
                <a:ea typeface="ＭＳ Ｐゴシック" pitchFamily="34" charset="-128"/>
              </a:rPr>
              <a:t>”</a:t>
            </a:r>
            <a:r>
              <a:rPr lang="ru-RU" altLang="ja-JP" smtClean="0">
                <a:ea typeface="ＭＳ Ｐゴシック" pitchFamily="34" charset="-128"/>
              </a:rPr>
              <a:t>, в ЕС «Инициатива Авангард»  и тд</a:t>
            </a:r>
            <a:endParaRPr lang="en-US" smtClean="0">
              <a:ea typeface="ＭＳ Ｐゴシック" pitchFamily="34" charset="-128"/>
            </a:endParaRPr>
          </a:p>
        </p:txBody>
      </p:sp>
      <p:sp>
        <p:nvSpPr>
          <p:cNvPr id="40964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r>
              <a:rPr lang="en-US" smtClean="0"/>
              <a:t>Notizen </a:t>
            </a:r>
            <a:fld id="{F4D7D5DC-8F2A-4D7F-AFCA-BCA662E65FD7}" type="slidenum">
              <a:rPr lang="en-US" smtClean="0"/>
              <a:pPr/>
              <a:t>12</a:t>
            </a:fld>
            <a:endParaRPr lang="en-US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1987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ru-RU" smtClean="0">
                <a:ea typeface="ＭＳ Ｐゴシック" pitchFamily="34" charset="-128"/>
              </a:rPr>
              <a:t>Концепция </a:t>
            </a:r>
            <a:endParaRPr lang="en-US" smtClean="0">
              <a:ea typeface="ＭＳ Ｐゴシック" pitchFamily="34" charset="-128"/>
            </a:endParaRPr>
          </a:p>
        </p:txBody>
      </p:sp>
      <p:sp>
        <p:nvSpPr>
          <p:cNvPr id="4198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r>
              <a:rPr lang="de-DE" smtClean="0"/>
              <a:t>Notizen </a:t>
            </a:r>
            <a:fld id="{FD4B495C-1CD8-4645-A6A8-7E07C09B4AC0}" type="slidenum">
              <a:rPr lang="de-DE" smtClean="0"/>
              <a:pPr/>
              <a:t>13</a:t>
            </a:fld>
            <a:endParaRPr lang="de-DE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 pitchFamily="34" charset="-128"/>
            </a:endParaRPr>
          </a:p>
        </p:txBody>
      </p:sp>
      <p:sp>
        <p:nvSpPr>
          <p:cNvPr id="43012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r>
              <a:rPr lang="de-DE" smtClean="0"/>
              <a:t>Notizen </a:t>
            </a:r>
            <a:fld id="{3B5991A2-0F01-4806-8278-C54D68441B37}" type="slidenum">
              <a:rPr lang="de-DE" smtClean="0"/>
              <a:pPr/>
              <a:t>14</a:t>
            </a:fld>
            <a:endParaRPr lang="de-DE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4035" name="Notizenplatzhalter 2"/>
          <p:cNvSpPr>
            <a:spLocks noGrp="1"/>
          </p:cNvSpPr>
          <p:nvPr>
            <p:ph type="body" idx="1"/>
          </p:nvPr>
        </p:nvSpPr>
        <p:spPr>
          <a:xfrm>
            <a:off x="714375" y="4797425"/>
            <a:ext cx="6118225" cy="3522663"/>
          </a:xfrm>
          <a:noFill/>
          <a:ln/>
        </p:spPr>
        <p:txBody>
          <a:bodyPr/>
          <a:lstStyle/>
          <a:p>
            <a:pPr defTabSz="900113">
              <a:spcBef>
                <a:spcPct val="0"/>
              </a:spcBef>
            </a:pPr>
            <a:endParaRPr lang="ru-RU" smtClean="0">
              <a:ea typeface="ＭＳ Ｐゴシック" pitchFamily="34" charset="-128"/>
            </a:endParaRPr>
          </a:p>
        </p:txBody>
      </p:sp>
      <p:sp>
        <p:nvSpPr>
          <p:cNvPr id="44036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r>
              <a:rPr lang="en-US" smtClean="0"/>
              <a:t>Notizen </a:t>
            </a:r>
            <a:fld id="{84167596-A19E-4DD9-BA6C-BBDD0E4F3898}" type="slidenum">
              <a:rPr lang="en-US" smtClean="0"/>
              <a:pPr/>
              <a:t>15</a:t>
            </a:fld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0723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kumimoji="0" lang="ru-RU" smtClean="0">
              <a:ea typeface="ＭＳ Ｐゴシック" pitchFamily="34" charset="-128"/>
            </a:endParaRPr>
          </a:p>
        </p:txBody>
      </p:sp>
      <p:sp>
        <p:nvSpPr>
          <p:cNvPr id="30724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r>
              <a:rPr lang="de-DE" smtClean="0"/>
              <a:t>Notizen </a:t>
            </a:r>
            <a:fld id="{1E064597-93B9-47EA-AEF1-FAED79A4DC41}" type="slidenum">
              <a:rPr lang="de-DE" smtClean="0"/>
              <a:pPr/>
              <a:t>2</a:t>
            </a:fld>
            <a:endParaRPr lang="de-DE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kumimoji="0" lang="en-GB" smtClean="0">
              <a:ea typeface="ＭＳ Ｐゴシック" pitchFamily="34" charset="-128"/>
            </a:endParaRPr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5B9D828-E889-4032-BE77-85ED5626C68B}" type="slidenum">
              <a:rPr lang="en-GB" smtClean="0">
                <a:latin typeface="Siemens Sans" charset="0"/>
              </a:rPr>
              <a:pPr/>
              <a:t>3</a:t>
            </a:fld>
            <a:endParaRPr lang="en-GB" smtClean="0">
              <a:latin typeface="Siemens Sans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2771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kumimoji="0" lang="ru-RU" smtClean="0">
              <a:ea typeface="ＭＳ Ｐゴシック" pitchFamily="34" charset="-128"/>
            </a:endParaRPr>
          </a:p>
        </p:txBody>
      </p:sp>
      <p:sp>
        <p:nvSpPr>
          <p:cNvPr id="32772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r>
              <a:rPr lang="de-DE" smtClean="0"/>
              <a:t>Notizen </a:t>
            </a:r>
            <a:fld id="{3DAD6E8E-1A33-4E7E-8034-717B9160AA54}" type="slidenum">
              <a:rPr lang="de-DE" smtClean="0"/>
              <a:pPr/>
              <a:t>4</a:t>
            </a:fld>
            <a:endParaRPr lang="de-DE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kumimoji="0" lang="en-GB" smtClean="0">
              <a:ea typeface="ＭＳ Ｐゴシック" pitchFamily="34" charset="-128"/>
            </a:endParaRPr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9F79555-0CCD-4D8E-9892-156FB52320E1}" type="slidenum">
              <a:rPr lang="en-GB" smtClean="0">
                <a:latin typeface="Siemens Sans" charset="0"/>
              </a:rPr>
              <a:pPr/>
              <a:t>5</a:t>
            </a:fld>
            <a:endParaRPr lang="en-GB" smtClean="0">
              <a:latin typeface="Siemens Sans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4819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kumimoji="0" lang="ru-RU" smtClean="0">
              <a:ea typeface="ＭＳ Ｐゴシック" pitchFamily="34" charset="-128"/>
            </a:endParaRPr>
          </a:p>
        </p:txBody>
      </p:sp>
      <p:sp>
        <p:nvSpPr>
          <p:cNvPr id="34820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r>
              <a:rPr lang="de-DE" smtClean="0"/>
              <a:t>Notizen </a:t>
            </a:r>
            <a:fld id="{5C3B8B75-E705-41DF-B6EB-173AD269F19F}" type="slidenum">
              <a:rPr lang="de-DE" smtClean="0"/>
              <a:pPr/>
              <a:t>6</a:t>
            </a:fld>
            <a:endParaRPr lang="de-DE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kumimoji="0" lang="en-GB" smtClean="0">
              <a:ea typeface="ＭＳ Ｐゴシック" pitchFamily="34" charset="-128"/>
            </a:endParaRPr>
          </a:p>
        </p:txBody>
      </p:sp>
      <p:sp>
        <p:nvSpPr>
          <p:cNvPr id="3584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7A66B7B-E920-4B8F-9685-ACE7254D7065}" type="slidenum">
              <a:rPr lang="en-GB" smtClean="0">
                <a:latin typeface="Siemens Sans" charset="0"/>
              </a:rPr>
              <a:pPr/>
              <a:t>7</a:t>
            </a:fld>
            <a:endParaRPr lang="en-GB" smtClean="0">
              <a:latin typeface="Siemens Sans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kumimoji="0" lang="ru-RU" smtClean="0">
              <a:ea typeface="ＭＳ Ｐゴシック" pitchFamily="34" charset="-128"/>
            </a:endParaRPr>
          </a:p>
        </p:txBody>
      </p:sp>
      <p:sp>
        <p:nvSpPr>
          <p:cNvPr id="36868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r>
              <a:rPr lang="de-DE" smtClean="0"/>
              <a:t>Notizen </a:t>
            </a:r>
            <a:fld id="{143FB5B9-EAAB-49D5-878D-F21E2070E7EB}" type="slidenum">
              <a:rPr lang="de-DE" smtClean="0"/>
              <a:pPr/>
              <a:t>8</a:t>
            </a:fld>
            <a:endParaRPr lang="de-DE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kumimoji="0" lang="en-GB" smtClean="0">
              <a:ea typeface="ＭＳ Ｐゴシック" pitchFamily="34" charset="-128"/>
            </a:endParaRPr>
          </a:p>
        </p:txBody>
      </p:sp>
      <p:sp>
        <p:nvSpPr>
          <p:cNvPr id="3789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1B585F1-F50D-4918-BAAF-D391A5B520A0}" type="slidenum">
              <a:rPr lang="en-GB" smtClean="0">
                <a:latin typeface="Siemens Sans" charset="0"/>
              </a:rPr>
              <a:pPr/>
              <a:t>9</a:t>
            </a:fld>
            <a:endParaRPr lang="en-GB" smtClean="0">
              <a:latin typeface="Siemens Sans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32.xml"/><Relationship Id="rId7" Type="http://schemas.openxmlformats.org/officeDocument/2006/relationships/image" Target="../media/image3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4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18" Type="http://schemas.openxmlformats.org/officeDocument/2006/relationships/tags" Target="../tags/tag62.xml"/><Relationship Id="rId26" Type="http://schemas.openxmlformats.org/officeDocument/2006/relationships/tags" Target="../tags/tag70.xml"/><Relationship Id="rId3" Type="http://schemas.openxmlformats.org/officeDocument/2006/relationships/tags" Target="../tags/tag47.xml"/><Relationship Id="rId21" Type="http://schemas.openxmlformats.org/officeDocument/2006/relationships/tags" Target="../tags/tag65.xml"/><Relationship Id="rId34" Type="http://schemas.openxmlformats.org/officeDocument/2006/relationships/tags" Target="../tags/tag78.xml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17" Type="http://schemas.openxmlformats.org/officeDocument/2006/relationships/tags" Target="../tags/tag61.xml"/><Relationship Id="rId25" Type="http://schemas.openxmlformats.org/officeDocument/2006/relationships/tags" Target="../tags/tag69.xml"/><Relationship Id="rId33" Type="http://schemas.openxmlformats.org/officeDocument/2006/relationships/tags" Target="../tags/tag77.xml"/><Relationship Id="rId38" Type="http://schemas.openxmlformats.org/officeDocument/2006/relationships/image" Target="../media/image5.png"/><Relationship Id="rId2" Type="http://schemas.openxmlformats.org/officeDocument/2006/relationships/tags" Target="../tags/tag46.xml"/><Relationship Id="rId16" Type="http://schemas.openxmlformats.org/officeDocument/2006/relationships/tags" Target="../tags/tag60.xml"/><Relationship Id="rId20" Type="http://schemas.openxmlformats.org/officeDocument/2006/relationships/tags" Target="../tags/tag64.xml"/><Relationship Id="rId29" Type="http://schemas.openxmlformats.org/officeDocument/2006/relationships/tags" Target="../tags/tag73.xml"/><Relationship Id="rId1" Type="http://schemas.openxmlformats.org/officeDocument/2006/relationships/vmlDrawing" Target="../drawings/vmlDrawing3.v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24" Type="http://schemas.openxmlformats.org/officeDocument/2006/relationships/tags" Target="../tags/tag68.xml"/><Relationship Id="rId32" Type="http://schemas.openxmlformats.org/officeDocument/2006/relationships/tags" Target="../tags/tag76.xml"/><Relationship Id="rId37" Type="http://schemas.openxmlformats.org/officeDocument/2006/relationships/image" Target="../media/image4.wmf"/><Relationship Id="rId5" Type="http://schemas.openxmlformats.org/officeDocument/2006/relationships/tags" Target="../tags/tag49.xml"/><Relationship Id="rId15" Type="http://schemas.openxmlformats.org/officeDocument/2006/relationships/tags" Target="../tags/tag59.xml"/><Relationship Id="rId23" Type="http://schemas.openxmlformats.org/officeDocument/2006/relationships/tags" Target="../tags/tag67.xml"/><Relationship Id="rId28" Type="http://schemas.openxmlformats.org/officeDocument/2006/relationships/tags" Target="../tags/tag72.xml"/><Relationship Id="rId36" Type="http://schemas.openxmlformats.org/officeDocument/2006/relationships/oleObject" Target="../embeddings/oleObject3.bin"/><Relationship Id="rId10" Type="http://schemas.openxmlformats.org/officeDocument/2006/relationships/tags" Target="../tags/tag54.xml"/><Relationship Id="rId19" Type="http://schemas.openxmlformats.org/officeDocument/2006/relationships/tags" Target="../tags/tag63.xml"/><Relationship Id="rId31" Type="http://schemas.openxmlformats.org/officeDocument/2006/relationships/tags" Target="../tags/tag75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tags" Target="../tags/tag58.xml"/><Relationship Id="rId22" Type="http://schemas.openxmlformats.org/officeDocument/2006/relationships/tags" Target="../tags/tag66.xml"/><Relationship Id="rId27" Type="http://schemas.openxmlformats.org/officeDocument/2006/relationships/tags" Target="../tags/tag71.xml"/><Relationship Id="rId30" Type="http://schemas.openxmlformats.org/officeDocument/2006/relationships/tags" Target="../tags/tag74.xml"/><Relationship Id="rId35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tags" Target="../tags/tag90.xml"/><Relationship Id="rId18" Type="http://schemas.openxmlformats.org/officeDocument/2006/relationships/tags" Target="../tags/tag95.xml"/><Relationship Id="rId26" Type="http://schemas.openxmlformats.org/officeDocument/2006/relationships/tags" Target="../tags/tag103.xml"/><Relationship Id="rId3" Type="http://schemas.openxmlformats.org/officeDocument/2006/relationships/tags" Target="../tags/tag80.xml"/><Relationship Id="rId21" Type="http://schemas.openxmlformats.org/officeDocument/2006/relationships/tags" Target="../tags/tag98.xml"/><Relationship Id="rId34" Type="http://schemas.openxmlformats.org/officeDocument/2006/relationships/tags" Target="../tags/tag111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17" Type="http://schemas.openxmlformats.org/officeDocument/2006/relationships/tags" Target="../tags/tag94.xml"/><Relationship Id="rId25" Type="http://schemas.openxmlformats.org/officeDocument/2006/relationships/tags" Target="../tags/tag102.xml"/><Relationship Id="rId33" Type="http://schemas.openxmlformats.org/officeDocument/2006/relationships/tags" Target="../tags/tag110.xml"/><Relationship Id="rId38" Type="http://schemas.openxmlformats.org/officeDocument/2006/relationships/image" Target="../media/image5.png"/><Relationship Id="rId2" Type="http://schemas.openxmlformats.org/officeDocument/2006/relationships/tags" Target="../tags/tag79.xml"/><Relationship Id="rId16" Type="http://schemas.openxmlformats.org/officeDocument/2006/relationships/tags" Target="../tags/tag93.xml"/><Relationship Id="rId20" Type="http://schemas.openxmlformats.org/officeDocument/2006/relationships/tags" Target="../tags/tag97.xml"/><Relationship Id="rId29" Type="http://schemas.openxmlformats.org/officeDocument/2006/relationships/tags" Target="../tags/tag106.xml"/><Relationship Id="rId1" Type="http://schemas.openxmlformats.org/officeDocument/2006/relationships/vmlDrawing" Target="../drawings/vmlDrawing4.v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24" Type="http://schemas.openxmlformats.org/officeDocument/2006/relationships/tags" Target="../tags/tag101.xml"/><Relationship Id="rId32" Type="http://schemas.openxmlformats.org/officeDocument/2006/relationships/tags" Target="../tags/tag109.xml"/><Relationship Id="rId37" Type="http://schemas.openxmlformats.org/officeDocument/2006/relationships/image" Target="../media/image4.wmf"/><Relationship Id="rId5" Type="http://schemas.openxmlformats.org/officeDocument/2006/relationships/tags" Target="../tags/tag82.xml"/><Relationship Id="rId15" Type="http://schemas.openxmlformats.org/officeDocument/2006/relationships/tags" Target="../tags/tag92.xml"/><Relationship Id="rId23" Type="http://schemas.openxmlformats.org/officeDocument/2006/relationships/tags" Target="../tags/tag100.xml"/><Relationship Id="rId28" Type="http://schemas.openxmlformats.org/officeDocument/2006/relationships/tags" Target="../tags/tag105.xml"/><Relationship Id="rId36" Type="http://schemas.openxmlformats.org/officeDocument/2006/relationships/oleObject" Target="../embeddings/oleObject4.bin"/><Relationship Id="rId10" Type="http://schemas.openxmlformats.org/officeDocument/2006/relationships/tags" Target="../tags/tag87.xml"/><Relationship Id="rId19" Type="http://schemas.openxmlformats.org/officeDocument/2006/relationships/tags" Target="../tags/tag96.xml"/><Relationship Id="rId31" Type="http://schemas.openxmlformats.org/officeDocument/2006/relationships/tags" Target="../tags/tag108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tags" Target="../tags/tag91.xml"/><Relationship Id="rId22" Type="http://schemas.openxmlformats.org/officeDocument/2006/relationships/tags" Target="../tags/tag99.xml"/><Relationship Id="rId27" Type="http://schemas.openxmlformats.org/officeDocument/2006/relationships/tags" Target="../tags/tag104.xml"/><Relationship Id="rId30" Type="http://schemas.openxmlformats.org/officeDocument/2006/relationships/tags" Target="../tags/tag107.xml"/><Relationship Id="rId35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13" Type="http://schemas.openxmlformats.org/officeDocument/2006/relationships/tags" Target="../tags/tag123.xml"/><Relationship Id="rId18" Type="http://schemas.openxmlformats.org/officeDocument/2006/relationships/tags" Target="../tags/tag128.xml"/><Relationship Id="rId26" Type="http://schemas.openxmlformats.org/officeDocument/2006/relationships/tags" Target="../tags/tag136.xml"/><Relationship Id="rId3" Type="http://schemas.openxmlformats.org/officeDocument/2006/relationships/tags" Target="../tags/tag113.xml"/><Relationship Id="rId21" Type="http://schemas.openxmlformats.org/officeDocument/2006/relationships/tags" Target="../tags/tag131.xml"/><Relationship Id="rId34" Type="http://schemas.openxmlformats.org/officeDocument/2006/relationships/slideMaster" Target="../slideMasters/slideMaster1.xml"/><Relationship Id="rId7" Type="http://schemas.openxmlformats.org/officeDocument/2006/relationships/tags" Target="../tags/tag117.xml"/><Relationship Id="rId12" Type="http://schemas.openxmlformats.org/officeDocument/2006/relationships/tags" Target="../tags/tag122.xml"/><Relationship Id="rId17" Type="http://schemas.openxmlformats.org/officeDocument/2006/relationships/tags" Target="../tags/tag127.xml"/><Relationship Id="rId25" Type="http://schemas.openxmlformats.org/officeDocument/2006/relationships/tags" Target="../tags/tag135.xml"/><Relationship Id="rId33" Type="http://schemas.openxmlformats.org/officeDocument/2006/relationships/tags" Target="../tags/tag143.xml"/><Relationship Id="rId2" Type="http://schemas.openxmlformats.org/officeDocument/2006/relationships/tags" Target="../tags/tag112.xml"/><Relationship Id="rId16" Type="http://schemas.openxmlformats.org/officeDocument/2006/relationships/tags" Target="../tags/tag126.xml"/><Relationship Id="rId20" Type="http://schemas.openxmlformats.org/officeDocument/2006/relationships/tags" Target="../tags/tag130.xml"/><Relationship Id="rId29" Type="http://schemas.openxmlformats.org/officeDocument/2006/relationships/tags" Target="../tags/tag139.xml"/><Relationship Id="rId1" Type="http://schemas.openxmlformats.org/officeDocument/2006/relationships/vmlDrawing" Target="../drawings/vmlDrawing5.vml"/><Relationship Id="rId6" Type="http://schemas.openxmlformats.org/officeDocument/2006/relationships/tags" Target="../tags/tag116.xml"/><Relationship Id="rId11" Type="http://schemas.openxmlformats.org/officeDocument/2006/relationships/tags" Target="../tags/tag121.xml"/><Relationship Id="rId24" Type="http://schemas.openxmlformats.org/officeDocument/2006/relationships/tags" Target="../tags/tag134.xml"/><Relationship Id="rId32" Type="http://schemas.openxmlformats.org/officeDocument/2006/relationships/tags" Target="../tags/tag142.xml"/><Relationship Id="rId37" Type="http://schemas.openxmlformats.org/officeDocument/2006/relationships/image" Target="../media/image6.jpeg"/><Relationship Id="rId5" Type="http://schemas.openxmlformats.org/officeDocument/2006/relationships/tags" Target="../tags/tag115.xml"/><Relationship Id="rId15" Type="http://schemas.openxmlformats.org/officeDocument/2006/relationships/tags" Target="../tags/tag125.xml"/><Relationship Id="rId23" Type="http://schemas.openxmlformats.org/officeDocument/2006/relationships/tags" Target="../tags/tag133.xml"/><Relationship Id="rId28" Type="http://schemas.openxmlformats.org/officeDocument/2006/relationships/tags" Target="../tags/tag138.xml"/><Relationship Id="rId36" Type="http://schemas.openxmlformats.org/officeDocument/2006/relationships/image" Target="../media/image4.wmf"/><Relationship Id="rId10" Type="http://schemas.openxmlformats.org/officeDocument/2006/relationships/tags" Target="../tags/tag120.xml"/><Relationship Id="rId19" Type="http://schemas.openxmlformats.org/officeDocument/2006/relationships/tags" Target="../tags/tag129.xml"/><Relationship Id="rId31" Type="http://schemas.openxmlformats.org/officeDocument/2006/relationships/tags" Target="../tags/tag141.xml"/><Relationship Id="rId4" Type="http://schemas.openxmlformats.org/officeDocument/2006/relationships/tags" Target="../tags/tag114.xml"/><Relationship Id="rId9" Type="http://schemas.openxmlformats.org/officeDocument/2006/relationships/tags" Target="../tags/tag119.xml"/><Relationship Id="rId14" Type="http://schemas.openxmlformats.org/officeDocument/2006/relationships/tags" Target="../tags/tag124.xml"/><Relationship Id="rId22" Type="http://schemas.openxmlformats.org/officeDocument/2006/relationships/tags" Target="../tags/tag132.xml"/><Relationship Id="rId27" Type="http://schemas.openxmlformats.org/officeDocument/2006/relationships/tags" Target="../tags/tag137.xml"/><Relationship Id="rId30" Type="http://schemas.openxmlformats.org/officeDocument/2006/relationships/tags" Target="../tags/tag140.xml"/><Relationship Id="rId35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down)" type="title" preserve="1">
  <p:cSld name="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Изображение 30"/>
          <p:cNvPicPr>
            <a:picLocks noChangeAspect="1"/>
          </p:cNvPicPr>
          <p:nvPr userDrawn="1"/>
        </p:nvPicPr>
        <p:blipFill>
          <a:blip r:embed="rId3"/>
          <a:srcRect b="45503"/>
          <a:stretch>
            <a:fillRect/>
          </a:stretch>
        </p:blipFill>
        <p:spPr bwMode="auto">
          <a:xfrm>
            <a:off x="0" y="0"/>
            <a:ext cx="12198350" cy="4154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dtText Box 101 Id12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36000" rIns="0" bIns="0"/>
          <a:lstStyle>
            <a:lvl1pPr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ctr">
              <a:defRPr/>
            </a:pPr>
            <a:endParaRPr kumimoji="0" lang="en-US" sz="1100" b="1" smtClean="0">
              <a:solidFill>
                <a:srgbClr val="990000"/>
              </a:solidFill>
            </a:endParaRPr>
          </a:p>
        </p:txBody>
      </p:sp>
      <p:sp>
        <p:nvSpPr>
          <p:cNvPr id="57350" name="cdtRectangle 115 Id57350"/>
          <p:cNvSpPr>
            <a:spLocks noGrp="1" noChangeArrowheads="1"/>
          </p:cNvSpPr>
          <p:nvPr>
            <p:ph type="ctrTitle"/>
          </p:nvPr>
        </p:nvSpPr>
        <p:spPr bwMode="gray">
          <a:xfrm>
            <a:off x="338137" y="4149090"/>
            <a:ext cx="11860212" cy="870014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38137" y="3756008"/>
            <a:ext cx="11860212" cy="393082"/>
          </a:xfrm>
          <a:solidFill>
            <a:srgbClr val="233746">
              <a:alpha val="65000"/>
            </a:srgbClr>
          </a:solidFill>
        </p:spPr>
        <p:txBody>
          <a:bodyPr lIns="270000" tIns="36000" rIns="482400" bIns="36000" anchor="ctr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12875"/>
            <a:ext cx="8208962" cy="4752975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12875"/>
            <a:ext cx="6768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lvl="0"/>
            <a:r>
              <a:rPr lang="de-DE" dirty="0" smtClean="0"/>
              <a:t>Titelmasterformat durch Klicken bearbeiten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</p:nvPr>
        </p:nvSpPr>
        <p:spPr>
          <a:xfrm>
            <a:off x="627063" y="1412875"/>
            <a:ext cx="5472112" cy="47529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</p:nvPr>
        </p:nvSpPr>
        <p:spPr>
          <a:xfrm>
            <a:off x="6243638" y="1412875"/>
            <a:ext cx="5472112" cy="47529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12876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627063" y="3860800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12875"/>
            <a:ext cx="360045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4370388" y="1412875"/>
            <a:ext cx="3600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</p:nvPr>
        </p:nvSpPr>
        <p:spPr>
          <a:xfrm>
            <a:off x="8115750" y="1412875"/>
            <a:ext cx="3600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lvl="0"/>
            <a:r>
              <a:rPr lang="de-DE" dirty="0" smtClean="0"/>
              <a:t>Titelmasterformat durch Klicken bearbeiten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</p:nvPr>
        </p:nvSpPr>
        <p:spPr>
          <a:xfrm>
            <a:off x="627063" y="1412876"/>
            <a:ext cx="5472112" cy="2303463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</p:nvPr>
        </p:nvSpPr>
        <p:spPr>
          <a:xfrm>
            <a:off x="6243638" y="1412875"/>
            <a:ext cx="5472112" cy="2303463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</p:nvPr>
        </p:nvSpPr>
        <p:spPr>
          <a:xfrm>
            <a:off x="627063" y="3860800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</p:nvPr>
        </p:nvSpPr>
        <p:spPr>
          <a:xfrm>
            <a:off x="6243638" y="3860800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/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GB" noProof="0" smtClean="0"/>
              <a:t>Образец текста</a:t>
            </a:r>
          </a:p>
          <a:p>
            <a:pPr lvl="1"/>
            <a:r>
              <a:rPr lang="en-GB" noProof="0" smtClean="0"/>
              <a:t>Второй уровень</a:t>
            </a:r>
          </a:p>
          <a:p>
            <a:pPr lvl="2"/>
            <a:r>
              <a:rPr lang="en-GB" noProof="0" smtClean="0"/>
              <a:t>Третий уровень</a:t>
            </a:r>
          </a:p>
          <a:p>
            <a:pPr lvl="3"/>
            <a:r>
              <a:rPr lang="en-GB" noProof="0" smtClean="0"/>
              <a:t>Четвертый уровень</a:t>
            </a:r>
          </a:p>
          <a:p>
            <a:pPr lvl="4"/>
            <a:r>
              <a:rPr lang="en-GB" noProof="0" smtClean="0"/>
              <a:t>Пятый уровень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12875"/>
            <a:ext cx="8208962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/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GB" noProof="0" smtClean="0"/>
              <a:t>Образец текста</a:t>
            </a:r>
          </a:p>
          <a:p>
            <a:pPr lvl="1"/>
            <a:r>
              <a:rPr lang="en-GB" noProof="0" smtClean="0"/>
              <a:t>Второй уровень</a:t>
            </a:r>
          </a:p>
          <a:p>
            <a:pPr lvl="2"/>
            <a:r>
              <a:rPr lang="en-GB" noProof="0" smtClean="0"/>
              <a:t>Третий уровень</a:t>
            </a:r>
          </a:p>
          <a:p>
            <a:pPr lvl="3"/>
            <a:r>
              <a:rPr lang="en-GB" noProof="0" smtClean="0"/>
              <a:t>Четвертый уровень</a:t>
            </a:r>
          </a:p>
          <a:p>
            <a:pPr lvl="4"/>
            <a:r>
              <a:rPr lang="en-GB" noProof="0" smtClean="0"/>
              <a:t>Пятый уровень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12875"/>
            <a:ext cx="6768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/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GB" noProof="0" smtClean="0"/>
              <a:t>Образец текста</a:t>
            </a:r>
          </a:p>
          <a:p>
            <a:pPr lvl="1"/>
            <a:r>
              <a:rPr lang="en-GB" noProof="0" smtClean="0"/>
              <a:t>Второй уровень</a:t>
            </a:r>
          </a:p>
          <a:p>
            <a:pPr lvl="2"/>
            <a:r>
              <a:rPr lang="en-GB" noProof="0" smtClean="0"/>
              <a:t>Третий уровень</a:t>
            </a:r>
          </a:p>
          <a:p>
            <a:pPr lvl="3"/>
            <a:r>
              <a:rPr lang="en-GB" noProof="0" smtClean="0"/>
              <a:t>Четвертый уровень</a:t>
            </a:r>
          </a:p>
          <a:p>
            <a:pPr lvl="4"/>
            <a:r>
              <a:rPr lang="en-GB" noProof="0" smtClean="0"/>
              <a:t>Пятый уровень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12875"/>
            <a:ext cx="4032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4804025" y="1412875"/>
            <a:ext cx="4032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/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GB" noProof="0" smtClean="0"/>
              <a:t>Образец текста</a:t>
            </a:r>
          </a:p>
          <a:p>
            <a:pPr lvl="1"/>
            <a:r>
              <a:rPr lang="en-GB" noProof="0" smtClean="0"/>
              <a:t>Второй уровень</a:t>
            </a:r>
          </a:p>
          <a:p>
            <a:pPr lvl="2"/>
            <a:r>
              <a:rPr lang="en-GB" noProof="0" smtClean="0"/>
              <a:t>Третий уровень</a:t>
            </a:r>
          </a:p>
          <a:p>
            <a:pPr lvl="3"/>
            <a:r>
              <a:rPr lang="en-GB" noProof="0" smtClean="0"/>
              <a:t>Четвертый уровень</a:t>
            </a:r>
          </a:p>
          <a:p>
            <a:pPr lvl="4"/>
            <a:r>
              <a:rPr lang="en-GB" noProof="0" smtClean="0"/>
              <a:t>Пятый уровень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4514" name="think-cell Slide" r:id="rId6" imgW="360" imgH="360" progId="">
              <p:embed/>
            </p:oleObj>
          </a:graphicData>
        </a:graphic>
      </p:graphicFrame>
      <p:pic>
        <p:nvPicPr>
          <p:cNvPr id="5" name="Grafik 7"/>
          <p:cNvPicPr>
            <a:picLocks noChangeAspect="1"/>
          </p:cNvPicPr>
          <p:nvPr userDrawn="1"/>
        </p:nvPicPr>
        <p:blipFill>
          <a:blip r:embed="rId7"/>
          <a:srcRect t="3279"/>
          <a:stretch>
            <a:fillRect/>
          </a:stretch>
        </p:blipFill>
        <p:spPr bwMode="auto">
          <a:xfrm>
            <a:off x="0" y="0"/>
            <a:ext cx="12198350" cy="5162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36000" rIns="0" bIns="0"/>
          <a:lstStyle>
            <a:lvl1pPr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ctr">
              <a:defRPr/>
            </a:pPr>
            <a:endParaRPr kumimoji="0" lang="en-US" sz="1100" b="1" smtClean="0">
              <a:solidFill>
                <a:srgbClr val="990000"/>
              </a:solidFill>
            </a:endParaRPr>
          </a:p>
        </p:txBody>
      </p:sp>
      <p:pic>
        <p:nvPicPr>
          <p:cNvPr id="7" name="cdtPicture 10 Id14" descr="SIE_Logo_Layer_Petrol_RGB_A3_76mm.wmf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627063" y="0"/>
            <a:ext cx="1728787" cy="968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cdtText Box 133 Id15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626400" tIns="144000" rIns="3211200" bIns="0" anchor="ctr"/>
          <a:lstStyle/>
          <a:p>
            <a:pPr>
              <a:spcBef>
                <a:spcPct val="50000"/>
              </a:spcBef>
              <a:defRPr/>
            </a:pPr>
            <a:r>
              <a:rPr kumimoji="0" lang="en-US" sz="1000" b="1">
                <a:solidFill>
                  <a:srgbClr val="879BAA"/>
                </a:solidFill>
              </a:rPr>
              <a:t>© Siemens AG 2015</a:t>
            </a:r>
          </a:p>
        </p:txBody>
      </p:sp>
      <p:sp>
        <p:nvSpPr>
          <p:cNvPr id="57350" name="cdtRectangle 115 Id57350"/>
          <p:cNvSpPr>
            <a:spLocks noGrp="1" noChangeArrowheads="1"/>
          </p:cNvSpPr>
          <p:nvPr>
            <p:ph type="ctrTitle"/>
          </p:nvPr>
        </p:nvSpPr>
        <p:spPr bwMode="gray">
          <a:xfrm>
            <a:off x="338137" y="4287202"/>
            <a:ext cx="11860212" cy="870014"/>
          </a:xfrm>
          <a:solidFill>
            <a:srgbClr val="233746">
              <a:alpha val="65000"/>
            </a:srgbClr>
          </a:solidFill>
        </p:spPr>
        <p:txBody>
          <a:bodyPr lIns="270000" tIns="144000" rIns="482400" bIns="10800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38137" y="5157216"/>
            <a:ext cx="11860212" cy="393082"/>
          </a:xfrm>
          <a:solidFill>
            <a:srgbClr val="879BAA"/>
          </a:solidFill>
        </p:spPr>
        <p:txBody>
          <a:bodyPr lIns="270000" tIns="36000" rIns="482400" bIns="36000" anchor="ctr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Formatvorlage</a:t>
            </a:r>
            <a:r>
              <a:rPr lang="en-US" dirty="0" smtClean="0"/>
              <a:t> des </a:t>
            </a:r>
            <a:r>
              <a:rPr lang="en-US" dirty="0" err="1" smtClean="0"/>
              <a:t>Untertitelmasters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12875"/>
            <a:ext cx="2592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3362400" y="1412875"/>
            <a:ext cx="2736775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</p:nvPr>
        </p:nvSpPr>
        <p:spPr>
          <a:xfrm>
            <a:off x="6243638" y="1412875"/>
            <a:ext cx="2592387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/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GB" noProof="0" smtClean="0"/>
              <a:t>Образец текста</a:t>
            </a:r>
          </a:p>
          <a:p>
            <a:pPr lvl="1"/>
            <a:r>
              <a:rPr lang="en-GB" noProof="0" smtClean="0"/>
              <a:t>Второй уровень</a:t>
            </a:r>
          </a:p>
          <a:p>
            <a:pPr lvl="2"/>
            <a:r>
              <a:rPr lang="en-GB" noProof="0" smtClean="0"/>
              <a:t>Третий уровень</a:t>
            </a:r>
          </a:p>
          <a:p>
            <a:pPr lvl="3"/>
            <a:r>
              <a:rPr lang="en-GB" noProof="0" smtClean="0"/>
              <a:t>Четвертый уровень</a:t>
            </a:r>
          </a:p>
          <a:p>
            <a:pPr lvl="4"/>
            <a:r>
              <a:rPr lang="en-GB" noProof="0" smtClean="0"/>
              <a:t>Пятый уровень</a:t>
            </a:r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12876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627063" y="3860800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/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GB" noProof="0" smtClean="0"/>
              <a:t>Образец текста</a:t>
            </a:r>
          </a:p>
          <a:p>
            <a:pPr lvl="1"/>
            <a:r>
              <a:rPr lang="en-GB" noProof="0" smtClean="0"/>
              <a:t>Второй уровень</a:t>
            </a:r>
          </a:p>
          <a:p>
            <a:pPr lvl="2"/>
            <a:r>
              <a:rPr lang="en-GB" noProof="0" smtClean="0"/>
              <a:t>Третий уровень</a:t>
            </a:r>
          </a:p>
          <a:p>
            <a:pPr lvl="3"/>
            <a:r>
              <a:rPr lang="en-GB" noProof="0" smtClean="0"/>
              <a:t>Четвертый уровень</a:t>
            </a:r>
          </a:p>
          <a:p>
            <a:pPr lvl="4"/>
            <a:r>
              <a:rPr lang="en-GB" noProof="0" smtClean="0"/>
              <a:t>Пятый уровень</a:t>
            </a:r>
            <a:endParaRPr 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12876"/>
            <a:ext cx="4032000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4804024" y="1412875"/>
            <a:ext cx="4032000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</p:nvPr>
        </p:nvSpPr>
        <p:spPr>
          <a:xfrm>
            <a:off x="627063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/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GB" noProof="0" smtClean="0"/>
              <a:t>Образец текста</a:t>
            </a:r>
          </a:p>
          <a:p>
            <a:pPr lvl="1"/>
            <a:r>
              <a:rPr lang="en-GB" noProof="0" smtClean="0"/>
              <a:t>Второй уровень</a:t>
            </a:r>
          </a:p>
          <a:p>
            <a:pPr lvl="2"/>
            <a:r>
              <a:rPr lang="en-GB" noProof="0" smtClean="0"/>
              <a:t>Третий уровень</a:t>
            </a:r>
          </a:p>
          <a:p>
            <a:pPr lvl="3"/>
            <a:r>
              <a:rPr lang="en-GB" noProof="0" smtClean="0"/>
              <a:t>Четвертый уровень</a:t>
            </a:r>
          </a:p>
          <a:p>
            <a:pPr lvl="4"/>
            <a:r>
              <a:rPr lang="en-GB" noProof="0" smtClean="0"/>
              <a:t>Пятый уровень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fullscreen (big bar down)" type="title" preserve="1">
  <p:cSld name="Title fullscreen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5 Id1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kumimoji="0" lang="en-US" sz="1800"/>
          </a:p>
        </p:txBody>
      </p:sp>
      <p:sp>
        <p:nvSpPr>
          <p:cNvPr id="5" name="cdtRectangle 1 Id14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rgbClr val="FFFFFF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/>
            <a:ext uri="{AF507438-7753-43e0-B8FC-AC1667EBCBE1}"/>
          </a:extLst>
        </p:spPr>
        <p:txBody>
          <a:bodyPr lIns="108000" tIns="54000" rIns="108000" bIns="54000" spcCol="72000" anchor="ctr"/>
          <a:lstStyle/>
          <a:p>
            <a:pPr algn="ctr">
              <a:lnSpc>
                <a:spcPct val="110000"/>
              </a:lnSpc>
              <a:buFont typeface="Wingdings" charset="0"/>
              <a:buNone/>
              <a:defRPr/>
            </a:pPr>
            <a:endParaRPr kumimoji="0" lang="en-US" sz="1800" b="1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6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36000" rIns="0" bIns="0"/>
          <a:lstStyle>
            <a:lvl1pPr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ctr">
              <a:defRPr/>
            </a:pPr>
            <a:endParaRPr kumimoji="0" lang="en-US" sz="1100" b="1" smtClean="0">
              <a:solidFill>
                <a:srgbClr val="990000"/>
              </a:solidFill>
            </a:endParaRPr>
          </a:p>
        </p:txBody>
      </p:sp>
      <p:pic>
        <p:nvPicPr>
          <p:cNvPr id="7" name="cdtPicture 10 Id12" descr="SIE_Logo_Layer_Petrol_RGB_A3_76mm.wmf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627063" y="0"/>
            <a:ext cx="1728787" cy="968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cdtText Box 133 Id15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626400" tIns="144000" rIns="3211200" bIns="0" anchor="ctr"/>
          <a:lstStyle/>
          <a:p>
            <a:pPr>
              <a:spcBef>
                <a:spcPct val="50000"/>
              </a:spcBef>
              <a:defRPr/>
            </a:pPr>
            <a:r>
              <a:rPr kumimoji="0" lang="en-US" sz="1000" b="1">
                <a:solidFill>
                  <a:srgbClr val="000000"/>
                </a:solidFill>
              </a:rPr>
              <a:t>© Siemens AG 2015</a:t>
            </a:r>
          </a:p>
        </p:txBody>
      </p:sp>
      <p:sp>
        <p:nvSpPr>
          <p:cNvPr id="9" name="cdtText Box 133 Id13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144000" rIns="482400" bIns="0" anchor="ctr"/>
          <a:lstStyle>
            <a:lvl1pPr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r">
              <a:defRPr/>
            </a:pPr>
            <a:r>
              <a:rPr kumimoji="0" lang="en-US" sz="1000" b="1" smtClean="0">
                <a:solidFill>
                  <a:srgbClr val="000000"/>
                </a:solidFill>
              </a:rPr>
              <a:t>siemens.com</a:t>
            </a:r>
          </a:p>
        </p:txBody>
      </p:sp>
      <p:sp>
        <p:nvSpPr>
          <p:cNvPr id="57350" name="cdtRectangle 115 Id57350"/>
          <p:cNvSpPr>
            <a:spLocks noGrp="1" noChangeArrowheads="1"/>
          </p:cNvSpPr>
          <p:nvPr>
            <p:ph type="ctrTitle"/>
          </p:nvPr>
        </p:nvSpPr>
        <p:spPr bwMode="ltGray">
          <a:xfrm>
            <a:off x="338137" y="2420873"/>
            <a:ext cx="11860212" cy="1266246"/>
          </a:xfrm>
          <a:solidFill>
            <a:srgbClr val="233746">
              <a:alpha val="65000"/>
            </a:srgbClr>
          </a:solidFill>
        </p:spPr>
        <p:txBody>
          <a:bodyPr lIns="270000" tIns="536400" rIns="482400" bIns="108000" anchor="t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338138" y="2420874"/>
            <a:ext cx="11860212" cy="393082"/>
          </a:xfrm>
          <a:noFill/>
          <a:extLst>
            <a:ext uri="{909E8E84-426E-40dd-AFC4-6F175D3DCCD1}"/>
          </a:extLst>
        </p:spPr>
        <p:txBody>
          <a:bodyPr lIns="270000" tIns="36000" rIns="482400" bIns="36000" anchor="ctr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Formatvorlage</a:t>
            </a:r>
            <a:r>
              <a:rPr lang="en-US" dirty="0" smtClean="0"/>
              <a:t> des </a:t>
            </a:r>
            <a:r>
              <a:rPr lang="en-US" dirty="0" err="1" smtClean="0"/>
              <a:t>Untertitelmasters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fullscreen (big bar up)" type="title" preserve="1">
  <p:cSld name="Title fullscreen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5 Id16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kumimoji="0" lang="en-US" sz="1800"/>
          </a:p>
        </p:txBody>
      </p:sp>
      <p:sp>
        <p:nvSpPr>
          <p:cNvPr id="5" name="cdtRectangle 1 Id14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rgbClr val="FFFFFF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/>
            <a:ext uri="{AF507438-7753-43e0-B8FC-AC1667EBCBE1}"/>
          </a:extLst>
        </p:spPr>
        <p:txBody>
          <a:bodyPr lIns="108000" tIns="54000" rIns="108000" bIns="54000" spcCol="72000" anchor="ctr"/>
          <a:lstStyle/>
          <a:p>
            <a:pPr algn="ctr">
              <a:lnSpc>
                <a:spcPct val="110000"/>
              </a:lnSpc>
              <a:buFont typeface="Wingdings" charset="0"/>
              <a:buNone/>
              <a:defRPr/>
            </a:pPr>
            <a:endParaRPr kumimoji="0" lang="en-US" sz="1800" b="1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6" name="cdtText Box 101 Id1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36000" rIns="0" bIns="0"/>
          <a:lstStyle>
            <a:lvl1pPr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ctr">
              <a:defRPr/>
            </a:pPr>
            <a:endParaRPr kumimoji="0" lang="en-US" sz="1100" b="1" smtClean="0">
              <a:solidFill>
                <a:srgbClr val="990000"/>
              </a:solidFill>
            </a:endParaRPr>
          </a:p>
        </p:txBody>
      </p:sp>
      <p:pic>
        <p:nvPicPr>
          <p:cNvPr id="7" name="cdtPicture 10 Id13" descr="SIE_Logo_Layer_Petrol_RGB_A3_76mm.wmf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627063" y="0"/>
            <a:ext cx="1728787" cy="968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cdtText Box 133 Id15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626400" tIns="144000" rIns="3211200" bIns="0" anchor="ctr"/>
          <a:lstStyle/>
          <a:p>
            <a:pPr>
              <a:spcBef>
                <a:spcPct val="50000"/>
              </a:spcBef>
              <a:defRPr/>
            </a:pPr>
            <a:r>
              <a:rPr kumimoji="0" lang="en-US" sz="1000" b="1">
                <a:solidFill>
                  <a:srgbClr val="000000"/>
                </a:solidFill>
              </a:rPr>
              <a:t>© Siemens AG 2015</a:t>
            </a:r>
          </a:p>
        </p:txBody>
      </p:sp>
      <p:sp>
        <p:nvSpPr>
          <p:cNvPr id="9" name="cdtText Box 133 Id12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144000" rIns="482400" bIns="0" anchor="ctr"/>
          <a:lstStyle>
            <a:lvl1pPr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r">
              <a:defRPr/>
            </a:pPr>
            <a:r>
              <a:rPr kumimoji="0" lang="en-US" sz="1000" b="1" smtClean="0">
                <a:solidFill>
                  <a:srgbClr val="000000"/>
                </a:solidFill>
              </a:rPr>
              <a:t>siemens.com</a:t>
            </a:r>
          </a:p>
        </p:txBody>
      </p:sp>
      <p:sp>
        <p:nvSpPr>
          <p:cNvPr id="57350" name="cdtRectangle 115 Id57350"/>
          <p:cNvSpPr>
            <a:spLocks noGrp="1" noChangeArrowheads="1"/>
          </p:cNvSpPr>
          <p:nvPr>
            <p:ph type="ctrTitle"/>
          </p:nvPr>
        </p:nvSpPr>
        <p:spPr bwMode="ltGray">
          <a:xfrm>
            <a:off x="338137" y="2987889"/>
            <a:ext cx="11860212" cy="1266246"/>
          </a:xfrm>
          <a:solidFill>
            <a:srgbClr val="233746">
              <a:alpha val="65000"/>
            </a:srgbClr>
          </a:solidFill>
        </p:spPr>
        <p:txBody>
          <a:bodyPr lIns="270000" tIns="144000" rIns="482400" bIns="50040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338138" y="3860800"/>
            <a:ext cx="11860212" cy="393082"/>
          </a:xfrm>
          <a:noFill/>
          <a:ln w="9525">
            <a:noFill/>
            <a:miter lim="800000"/>
            <a:headEnd/>
            <a:tailEnd/>
          </a:ln>
          <a:extLst>
            <a:ext uri="{909E8E84-426E-40dd-AFC4-6F175D3DCCD1}"/>
          </a:extLst>
        </p:spPr>
        <p:txBody>
          <a:bodyPr lIns="270000" tIns="36000" rIns="482400" bIns="36000" anchor="ctr">
            <a:noAutofit/>
          </a:bodyPr>
          <a:lstStyle>
            <a:lvl1pPr>
              <a:defRPr lang="en-US" sz="2000" dirty="0" smtClean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err="1" smtClean="0"/>
              <a:t>Formatvorlage</a:t>
            </a:r>
            <a:r>
              <a:rPr lang="en-US" dirty="0" smtClean="0"/>
              <a:t> des </a:t>
            </a:r>
            <a:r>
              <a:rPr lang="en-US" dirty="0" err="1" smtClean="0"/>
              <a:t>Untertitelmasters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hapter title (big bar down)" type="title" preserve="1">
  <p:cSld name="Chapter 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Box 13 Id14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27063" y="6613525"/>
            <a:ext cx="11088687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396000" bIns="115200"/>
          <a:lstStyle>
            <a:lvl1pPr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endParaRPr kumimoji="0" lang="ru-RU" sz="1000" smtClean="0">
              <a:solidFill>
                <a:srgbClr val="000000"/>
              </a:solidFill>
            </a:endParaRPr>
          </a:p>
        </p:txBody>
      </p:sp>
      <p:graphicFrame>
        <p:nvGraphicFramePr>
          <p:cNvPr id="5" name="Object 1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5538" name="think-cell Slide" r:id="rId36" imgW="360" imgH="360" progId="">
              <p:embed/>
            </p:oleObj>
          </a:graphicData>
        </a:graphic>
      </p:graphicFrame>
      <p:sp>
        <p:nvSpPr>
          <p:cNvPr id="6" name="cdtRectangle 12 Id15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kumimoji="0" lang="en-US" sz="1800"/>
          </a:p>
        </p:txBody>
      </p:sp>
      <p:pic>
        <p:nvPicPr>
          <p:cNvPr id="7" name="cdtPicture 10 Id10" descr="SIE_Logo_Layer_Petrol_RGB_A3_76mm.wmf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37"/>
          <a:srcRect/>
          <a:stretch>
            <a:fillRect/>
          </a:stretch>
        </p:blipFill>
        <p:spPr bwMode="auto">
          <a:xfrm>
            <a:off x="10275888" y="0"/>
            <a:ext cx="1439862" cy="806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cdtText Box 133 Id16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626400" tIns="144000" rIns="3211200" bIns="0" anchor="ctr"/>
          <a:lstStyle/>
          <a:p>
            <a:pPr>
              <a:spcBef>
                <a:spcPct val="50000"/>
              </a:spcBef>
              <a:defRPr/>
            </a:pPr>
            <a:r>
              <a:rPr kumimoji="0" lang="de-DE" sz="1000" b="1">
                <a:solidFill>
                  <a:srgbClr val="879BAA"/>
                </a:solidFill>
              </a:rPr>
              <a:t>© Siemens AG 2016</a:t>
            </a:r>
          </a:p>
        </p:txBody>
      </p:sp>
      <p:sp>
        <p:nvSpPr>
          <p:cNvPr id="9" name="cdtText Box 101 Id20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36000" rIns="0" bIns="0"/>
          <a:lstStyle>
            <a:lvl1pPr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ctr">
              <a:defRPr/>
            </a:pPr>
            <a:endParaRPr kumimoji="0" lang="en-US" sz="1100" b="1" smtClean="0">
              <a:solidFill>
                <a:srgbClr val="990000"/>
              </a:solidFill>
            </a:endParaRPr>
          </a:p>
        </p:txBody>
      </p:sp>
      <p:cxnSp>
        <p:nvCxnSpPr>
          <p:cNvPr id="10" name="cdtMasterTags_CL1 Id3072"/>
          <p:cNvCxnSpPr>
            <a:cxnSpLocks noChangeShapeType="1"/>
          </p:cNvCxnSpPr>
          <p:nvPr userDrawn="1">
            <p:custDataLst>
              <p:tags r:id="rId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1" name="cdtMasterTags_CL2 Id3073"/>
          <p:cNvCxnSpPr>
            <a:cxnSpLocks noChangeShapeType="1"/>
          </p:cNvCxnSpPr>
          <p:nvPr userDrawn="1">
            <p:custDataLst>
              <p:tags r:id="rId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2" name="cdtMasterTags_CL3 Id3074"/>
          <p:cNvCxnSpPr>
            <a:cxnSpLocks noChangeShapeType="1"/>
          </p:cNvCxnSpPr>
          <p:nvPr userDrawn="1">
            <p:custDataLst>
              <p:tags r:id="rId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3" name="cdtMasterTags_CL4 Id3075"/>
          <p:cNvCxnSpPr>
            <a:cxnSpLocks noChangeShapeType="1"/>
          </p:cNvCxnSpPr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4" name="cdtMasterTags_CL5 Id3076"/>
          <p:cNvCxnSpPr>
            <a:cxnSpLocks noChangeShapeType="1"/>
          </p:cNvCxnSpPr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5" name="cdtMasterTags_CL6 Id3077"/>
          <p:cNvCxnSpPr>
            <a:cxnSpLocks noChangeShapeType="1"/>
          </p:cNvCxnSpPr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6" name="cdtMasterTags_CL7 Id3080"/>
          <p:cNvCxnSpPr>
            <a:cxnSpLocks noChangeShapeType="1"/>
          </p:cNvCxnSpPr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7" name="cdtMasterTags_CL8 Id3081"/>
          <p:cNvCxnSpPr>
            <a:cxnSpLocks noChangeShapeType="1"/>
          </p:cNvCxnSpPr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8" name="cdtMasterTags_CL9 Id3082"/>
          <p:cNvCxnSpPr>
            <a:cxnSpLocks noChangeShapeType="1"/>
          </p:cNvCxnSpPr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9" name="cdtMasterTags_CL10 Id3083"/>
          <p:cNvCxnSpPr>
            <a:cxnSpLocks noChangeShapeType="1"/>
          </p:cNvCxnSpPr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0" name="cdtMasterTags_CL11 Id3084"/>
          <p:cNvCxnSpPr>
            <a:cxnSpLocks noChangeShapeType="1"/>
          </p:cNvCxnSpPr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1" name="cdtMasterTags_CL12 Id3085"/>
          <p:cNvCxnSpPr>
            <a:cxnSpLocks noChangeShapeType="1"/>
          </p:cNvCxnSpPr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2" name="cdtMasterTags_CL13 Id3086"/>
          <p:cNvCxnSpPr>
            <a:cxnSpLocks noChangeShapeType="1"/>
          </p:cNvCxnSpPr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3" name="cdtMasterTags_CL14 Id3087"/>
          <p:cNvCxnSpPr>
            <a:cxnSpLocks noChangeShapeType="1"/>
          </p:cNvCxnSpPr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4" name="cdtMasterTags_CL15 Id3088"/>
          <p:cNvCxnSpPr>
            <a:cxnSpLocks noChangeShapeType="1"/>
          </p:cNvCxnSpPr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5" name="cdtMasterTags_CL16 Id3089"/>
          <p:cNvCxnSpPr>
            <a:cxnSpLocks noChangeShapeType="1"/>
          </p:cNvCxnSpPr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6" name="cdtMasterTags_CL17 Id3090"/>
          <p:cNvCxnSpPr>
            <a:cxnSpLocks noChangeShapeType="1"/>
          </p:cNvCxnSpPr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7" name="cdtMasterTags_CL18 Id3091"/>
          <p:cNvCxnSpPr>
            <a:cxnSpLocks noChangeShapeType="1"/>
          </p:cNvCxnSpPr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8" name="cdtMasterTags_CL19 Id3092"/>
          <p:cNvCxnSpPr>
            <a:cxnSpLocks noChangeShapeType="1"/>
          </p:cNvCxnSpPr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9" name="cdtMasterTags_CL20 Id3093"/>
          <p:cNvCxnSpPr>
            <a:cxnSpLocks noChangeShapeType="1"/>
          </p:cNvCxnSpPr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30" name="cdtMasterTags_CL21 Id3094"/>
          <p:cNvCxnSpPr>
            <a:cxnSpLocks noChangeShapeType="1"/>
          </p:cNvCxnSpPr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31" name="cdtMasterTags_CL22 Id3095"/>
          <p:cNvCxnSpPr>
            <a:cxnSpLocks noChangeShapeType="1"/>
          </p:cNvCxnSpPr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32" name="cdtMasterTags"/>
          <p:cNvCxnSpPr>
            <a:cxnSpLocks noChangeShapeType="1"/>
          </p:cNvCxnSpPr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sp>
        <p:nvSpPr>
          <p:cNvPr id="33" name="cdtTextBox 12 Id17"/>
          <p:cNvSpPr txBox="1">
            <a:spLocks noChangeArrowheads="1"/>
          </p:cNvSpPr>
          <p:nvPr userDrawn="1">
            <p:custDataLst>
              <p:tags r:id="rId30"/>
            </p:custDataLst>
          </p:nvPr>
        </p:nvSpPr>
        <p:spPr bwMode="auto">
          <a:xfrm>
            <a:off x="0" y="6597650"/>
            <a:ext cx="3932238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1908000" tIns="0" rIns="0" bIns="115200"/>
          <a:lstStyle>
            <a:lvl1pPr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  <a:defRPr/>
            </a:pPr>
            <a:endParaRPr kumimoji="0" lang="ru-RU" sz="1000" smtClean="0">
              <a:solidFill>
                <a:srgbClr val="000000"/>
              </a:solidFill>
            </a:endParaRPr>
          </a:p>
        </p:txBody>
      </p:sp>
      <p:sp>
        <p:nvSpPr>
          <p:cNvPr id="34" name="cdtTextBox 11 Id18"/>
          <p:cNvSpPr txBox="1">
            <a:spLocks noChangeArrowheads="1"/>
          </p:cNvSpPr>
          <p:nvPr userDrawn="1">
            <p:custDataLst>
              <p:tags r:id="rId31"/>
            </p:custDataLst>
          </p:nvPr>
        </p:nvSpPr>
        <p:spPr bwMode="auto">
          <a:xfrm>
            <a:off x="0" y="6597650"/>
            <a:ext cx="176530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626400" tIns="0" rIns="0" bIns="115200"/>
          <a:lstStyle/>
          <a:p>
            <a:pPr>
              <a:lnSpc>
                <a:spcPct val="110000"/>
              </a:lnSpc>
              <a:defRPr/>
            </a:pPr>
            <a:r>
              <a:rPr kumimoji="0" lang="de-DE" sz="1000">
                <a:solidFill>
                  <a:srgbClr val="000000"/>
                </a:solidFill>
              </a:rPr>
              <a:t>Page </a:t>
            </a:r>
            <a:fld id="{AFC6FF2F-68BF-4B23-84EC-6870E8369339}" type="slidenum">
              <a:rPr kumimoji="0" lang="de-DE" sz="1000">
                <a:solidFill>
                  <a:srgbClr val="000000"/>
                </a:solidFill>
              </a:rPr>
              <a:pPr>
                <a:lnSpc>
                  <a:spcPct val="110000"/>
                </a:lnSpc>
                <a:defRPr/>
              </a:pPr>
              <a:t>‹#›</a:t>
            </a:fld>
            <a:endParaRPr kumimoji="0" lang="de-DE" sz="1000">
              <a:solidFill>
                <a:srgbClr val="000000"/>
              </a:solidFill>
            </a:endParaRPr>
          </a:p>
        </p:txBody>
      </p:sp>
      <p:sp>
        <p:nvSpPr>
          <p:cNvPr id="35" name="cdtRectangle 15 Id7"/>
          <p:cNvSpPr>
            <a:spLocks noChangeArrowheads="1"/>
          </p:cNvSpPr>
          <p:nvPr userDrawn="1">
            <p:custDataLst>
              <p:tags r:id="rId32"/>
            </p:custDataLst>
          </p:nvPr>
        </p:nvSpPr>
        <p:spPr bwMode="gray">
          <a:xfrm>
            <a:off x="0" y="0"/>
            <a:ext cx="12198350" cy="4149725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kumimoji="0" lang="en-US" sz="1800"/>
          </a:p>
        </p:txBody>
      </p:sp>
      <p:sp>
        <p:nvSpPr>
          <p:cNvPr id="36" name="cdtText Box 101 Id6"/>
          <p:cNvSpPr txBox="1">
            <a:spLocks noChangeArrowheads="1"/>
          </p:cNvSpPr>
          <p:nvPr userDrawn="1">
            <p:custDataLst>
              <p:tags r:id="rId33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36000" rIns="0" bIns="0"/>
          <a:lstStyle>
            <a:lvl1pPr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ctr">
              <a:defRPr/>
            </a:pPr>
            <a:endParaRPr kumimoji="0" lang="en-US" sz="1100" b="1" smtClean="0">
              <a:solidFill>
                <a:srgbClr val="990000"/>
              </a:solidFill>
            </a:endParaRPr>
          </a:p>
        </p:txBody>
      </p:sp>
      <p:pic>
        <p:nvPicPr>
          <p:cNvPr id="37" name="cdtPicture 7 Id8" descr="sie_logo_layer_petrol_rgb"/>
          <p:cNvPicPr>
            <a:picLocks noChangeAspect="1" noChangeArrowheads="1"/>
          </p:cNvPicPr>
          <p:nvPr userDrawn="1">
            <p:custDataLst>
              <p:tags r:id="rId34"/>
            </p:custDataLst>
          </p:nvPr>
        </p:nvPicPr>
        <p:blipFill>
          <a:blip r:embed="rId38"/>
          <a:srcRect/>
          <a:stretch>
            <a:fillRect/>
          </a:stretch>
        </p:blipFill>
        <p:spPr bwMode="auto">
          <a:xfrm>
            <a:off x="10275888" y="0"/>
            <a:ext cx="1439862" cy="804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350" name="cdtRectangle 115 Id57350"/>
          <p:cNvSpPr>
            <a:spLocks noGrp="1" noChangeArrowheads="1"/>
          </p:cNvSpPr>
          <p:nvPr>
            <p:ph type="ctrTitle"/>
          </p:nvPr>
        </p:nvSpPr>
        <p:spPr bwMode="gray">
          <a:xfrm>
            <a:off x="338138" y="4149090"/>
            <a:ext cx="11860212" cy="870014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38138" y="3756008"/>
            <a:ext cx="11860212" cy="393082"/>
          </a:xfrm>
          <a:solidFill>
            <a:srgbClr val="233746">
              <a:alpha val="65000"/>
            </a:srgbClr>
          </a:solidFill>
        </p:spPr>
        <p:txBody>
          <a:bodyPr lIns="270000" tIns="18000" rIns="482400" bIns="36000" anchor="b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hapter title (big bar up)" type="title" preserve="1">
  <p:cSld name="Chapter 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Box 13 Id14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27063" y="6613525"/>
            <a:ext cx="11088687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396000" bIns="115200"/>
          <a:lstStyle>
            <a:lvl1pPr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endParaRPr kumimoji="0" lang="ru-RU" sz="1000" smtClean="0">
              <a:solidFill>
                <a:srgbClr val="000000"/>
              </a:solidFill>
            </a:endParaRPr>
          </a:p>
        </p:txBody>
      </p:sp>
      <p:graphicFrame>
        <p:nvGraphicFramePr>
          <p:cNvPr id="5" name="Object 1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6562" name="think-cell Slide" r:id="rId36" imgW="360" imgH="360" progId="">
              <p:embed/>
            </p:oleObj>
          </a:graphicData>
        </a:graphic>
      </p:graphicFrame>
      <p:sp>
        <p:nvSpPr>
          <p:cNvPr id="6" name="cdtRectangle 12 Id15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kumimoji="0" lang="en-US" sz="1800"/>
          </a:p>
        </p:txBody>
      </p:sp>
      <p:pic>
        <p:nvPicPr>
          <p:cNvPr id="7" name="cdtPicture 10 Id10" descr="SIE_Logo_Layer_Petrol_RGB_A3_76mm.wmf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37"/>
          <a:srcRect/>
          <a:stretch>
            <a:fillRect/>
          </a:stretch>
        </p:blipFill>
        <p:spPr bwMode="auto">
          <a:xfrm>
            <a:off x="10275888" y="0"/>
            <a:ext cx="1439862" cy="806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cdtText Box 133 Id16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626400" tIns="144000" rIns="3211200" bIns="0" anchor="ctr"/>
          <a:lstStyle/>
          <a:p>
            <a:pPr>
              <a:spcBef>
                <a:spcPct val="50000"/>
              </a:spcBef>
              <a:defRPr/>
            </a:pPr>
            <a:r>
              <a:rPr kumimoji="0" lang="de-DE" sz="1000" b="1">
                <a:solidFill>
                  <a:srgbClr val="879BAA"/>
                </a:solidFill>
              </a:rPr>
              <a:t>© Siemens AG 2016</a:t>
            </a:r>
          </a:p>
        </p:txBody>
      </p:sp>
      <p:sp>
        <p:nvSpPr>
          <p:cNvPr id="9" name="cdtText Box 101 Id20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36000" rIns="0" bIns="0"/>
          <a:lstStyle>
            <a:lvl1pPr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ctr">
              <a:defRPr/>
            </a:pPr>
            <a:endParaRPr kumimoji="0" lang="en-US" sz="1100" b="1" smtClean="0">
              <a:solidFill>
                <a:srgbClr val="990000"/>
              </a:solidFill>
            </a:endParaRPr>
          </a:p>
        </p:txBody>
      </p:sp>
      <p:cxnSp>
        <p:nvCxnSpPr>
          <p:cNvPr id="10" name="cdtMasterTags_CL1 Id3072"/>
          <p:cNvCxnSpPr>
            <a:cxnSpLocks noChangeShapeType="1"/>
          </p:cNvCxnSpPr>
          <p:nvPr userDrawn="1">
            <p:custDataLst>
              <p:tags r:id="rId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1" name="cdtMasterTags_CL2 Id3073"/>
          <p:cNvCxnSpPr>
            <a:cxnSpLocks noChangeShapeType="1"/>
          </p:cNvCxnSpPr>
          <p:nvPr userDrawn="1">
            <p:custDataLst>
              <p:tags r:id="rId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2" name="cdtMasterTags_CL3 Id3074"/>
          <p:cNvCxnSpPr>
            <a:cxnSpLocks noChangeShapeType="1"/>
          </p:cNvCxnSpPr>
          <p:nvPr userDrawn="1">
            <p:custDataLst>
              <p:tags r:id="rId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3" name="cdtMasterTags_CL4 Id3075"/>
          <p:cNvCxnSpPr>
            <a:cxnSpLocks noChangeShapeType="1"/>
          </p:cNvCxnSpPr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4" name="cdtMasterTags_CL5 Id3076"/>
          <p:cNvCxnSpPr>
            <a:cxnSpLocks noChangeShapeType="1"/>
          </p:cNvCxnSpPr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5" name="cdtMasterTags_CL6 Id3077"/>
          <p:cNvCxnSpPr>
            <a:cxnSpLocks noChangeShapeType="1"/>
          </p:cNvCxnSpPr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6" name="cdtMasterTags_CL7 Id3080"/>
          <p:cNvCxnSpPr>
            <a:cxnSpLocks noChangeShapeType="1"/>
          </p:cNvCxnSpPr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7" name="cdtMasterTags_CL8 Id3081"/>
          <p:cNvCxnSpPr>
            <a:cxnSpLocks noChangeShapeType="1"/>
          </p:cNvCxnSpPr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8" name="cdtMasterTags_CL9 Id3082"/>
          <p:cNvCxnSpPr>
            <a:cxnSpLocks noChangeShapeType="1"/>
          </p:cNvCxnSpPr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9" name="cdtMasterTags_CL10 Id3083"/>
          <p:cNvCxnSpPr>
            <a:cxnSpLocks noChangeShapeType="1"/>
          </p:cNvCxnSpPr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0" name="cdtMasterTags_CL11 Id3084"/>
          <p:cNvCxnSpPr>
            <a:cxnSpLocks noChangeShapeType="1"/>
          </p:cNvCxnSpPr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1" name="cdtMasterTags_CL12 Id3085"/>
          <p:cNvCxnSpPr>
            <a:cxnSpLocks noChangeShapeType="1"/>
          </p:cNvCxnSpPr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2" name="cdtMasterTags_CL13 Id3086"/>
          <p:cNvCxnSpPr>
            <a:cxnSpLocks noChangeShapeType="1"/>
          </p:cNvCxnSpPr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3" name="cdtMasterTags_CL14 Id3087"/>
          <p:cNvCxnSpPr>
            <a:cxnSpLocks noChangeShapeType="1"/>
          </p:cNvCxnSpPr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4" name="cdtMasterTags_CL15 Id3088"/>
          <p:cNvCxnSpPr>
            <a:cxnSpLocks noChangeShapeType="1"/>
          </p:cNvCxnSpPr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5" name="cdtMasterTags_CL16 Id3089"/>
          <p:cNvCxnSpPr>
            <a:cxnSpLocks noChangeShapeType="1"/>
          </p:cNvCxnSpPr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6" name="cdtMasterTags_CL17 Id3090"/>
          <p:cNvCxnSpPr>
            <a:cxnSpLocks noChangeShapeType="1"/>
          </p:cNvCxnSpPr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7" name="cdtMasterTags_CL18 Id3091"/>
          <p:cNvCxnSpPr>
            <a:cxnSpLocks noChangeShapeType="1"/>
          </p:cNvCxnSpPr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8" name="cdtMasterTags_CL19 Id3092"/>
          <p:cNvCxnSpPr>
            <a:cxnSpLocks noChangeShapeType="1"/>
          </p:cNvCxnSpPr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9" name="cdtMasterTags_CL20 Id3093"/>
          <p:cNvCxnSpPr>
            <a:cxnSpLocks noChangeShapeType="1"/>
          </p:cNvCxnSpPr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30" name="cdtMasterTags_CL21 Id3094"/>
          <p:cNvCxnSpPr>
            <a:cxnSpLocks noChangeShapeType="1"/>
          </p:cNvCxnSpPr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31" name="cdtMasterTags_CL22 Id3095"/>
          <p:cNvCxnSpPr>
            <a:cxnSpLocks noChangeShapeType="1"/>
          </p:cNvCxnSpPr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32" name="cdtMasterTags"/>
          <p:cNvCxnSpPr>
            <a:cxnSpLocks noChangeShapeType="1"/>
          </p:cNvCxnSpPr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sp>
        <p:nvSpPr>
          <p:cNvPr id="33" name="cdtTextBox 12 Id17"/>
          <p:cNvSpPr txBox="1">
            <a:spLocks noChangeArrowheads="1"/>
          </p:cNvSpPr>
          <p:nvPr userDrawn="1">
            <p:custDataLst>
              <p:tags r:id="rId30"/>
            </p:custDataLst>
          </p:nvPr>
        </p:nvSpPr>
        <p:spPr bwMode="auto">
          <a:xfrm>
            <a:off x="0" y="6597650"/>
            <a:ext cx="3932238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1908000" tIns="0" rIns="0" bIns="115200"/>
          <a:lstStyle>
            <a:lvl1pPr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  <a:defRPr/>
            </a:pPr>
            <a:endParaRPr kumimoji="0" lang="ru-RU" sz="1000" smtClean="0">
              <a:solidFill>
                <a:srgbClr val="000000"/>
              </a:solidFill>
            </a:endParaRPr>
          </a:p>
        </p:txBody>
      </p:sp>
      <p:sp>
        <p:nvSpPr>
          <p:cNvPr id="34" name="cdtTextBox 11 Id18"/>
          <p:cNvSpPr txBox="1">
            <a:spLocks noChangeArrowheads="1"/>
          </p:cNvSpPr>
          <p:nvPr userDrawn="1">
            <p:custDataLst>
              <p:tags r:id="rId31"/>
            </p:custDataLst>
          </p:nvPr>
        </p:nvSpPr>
        <p:spPr bwMode="auto">
          <a:xfrm>
            <a:off x="0" y="6597650"/>
            <a:ext cx="176530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626400" tIns="0" rIns="0" bIns="115200"/>
          <a:lstStyle/>
          <a:p>
            <a:pPr>
              <a:lnSpc>
                <a:spcPct val="110000"/>
              </a:lnSpc>
              <a:defRPr/>
            </a:pPr>
            <a:r>
              <a:rPr kumimoji="0" lang="de-DE" sz="1000">
                <a:solidFill>
                  <a:srgbClr val="000000"/>
                </a:solidFill>
              </a:rPr>
              <a:t>Page </a:t>
            </a:r>
            <a:fld id="{403B60CE-816F-45E4-9521-FC60740AE5BC}" type="slidenum">
              <a:rPr kumimoji="0" lang="de-DE" sz="1000">
                <a:solidFill>
                  <a:srgbClr val="000000"/>
                </a:solidFill>
              </a:rPr>
              <a:pPr>
                <a:lnSpc>
                  <a:spcPct val="110000"/>
                </a:lnSpc>
                <a:defRPr/>
              </a:pPr>
              <a:t>‹#›</a:t>
            </a:fld>
            <a:endParaRPr kumimoji="0" lang="de-DE" sz="1000">
              <a:solidFill>
                <a:srgbClr val="000000"/>
              </a:solidFill>
            </a:endParaRPr>
          </a:p>
        </p:txBody>
      </p:sp>
      <p:sp>
        <p:nvSpPr>
          <p:cNvPr id="35" name="cdtRectangle 15 Id7"/>
          <p:cNvSpPr>
            <a:spLocks noChangeArrowheads="1"/>
          </p:cNvSpPr>
          <p:nvPr userDrawn="1">
            <p:custDataLst>
              <p:tags r:id="rId32"/>
            </p:custDataLst>
          </p:nvPr>
        </p:nvSpPr>
        <p:spPr bwMode="gray">
          <a:xfrm>
            <a:off x="0" y="0"/>
            <a:ext cx="12198350" cy="516255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kumimoji="0" lang="en-US" sz="1800"/>
          </a:p>
        </p:txBody>
      </p:sp>
      <p:sp>
        <p:nvSpPr>
          <p:cNvPr id="36" name="cdtText Box 101 Id6"/>
          <p:cNvSpPr txBox="1">
            <a:spLocks noChangeArrowheads="1"/>
          </p:cNvSpPr>
          <p:nvPr userDrawn="1">
            <p:custDataLst>
              <p:tags r:id="rId33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36000" rIns="0" bIns="0"/>
          <a:lstStyle>
            <a:lvl1pPr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ctr">
              <a:defRPr/>
            </a:pPr>
            <a:endParaRPr kumimoji="0" lang="en-US" sz="1100" b="1" smtClean="0">
              <a:solidFill>
                <a:srgbClr val="990000"/>
              </a:solidFill>
            </a:endParaRPr>
          </a:p>
        </p:txBody>
      </p:sp>
      <p:pic>
        <p:nvPicPr>
          <p:cNvPr id="37" name="cdtPicture 7 Id9" descr="sie_logo_layer_petrol_rgb"/>
          <p:cNvPicPr>
            <a:picLocks noChangeAspect="1" noChangeArrowheads="1"/>
          </p:cNvPicPr>
          <p:nvPr userDrawn="1">
            <p:custDataLst>
              <p:tags r:id="rId34"/>
            </p:custDataLst>
          </p:nvPr>
        </p:nvPicPr>
        <p:blipFill>
          <a:blip r:embed="rId38"/>
          <a:srcRect/>
          <a:stretch>
            <a:fillRect/>
          </a:stretch>
        </p:blipFill>
        <p:spPr bwMode="auto">
          <a:xfrm>
            <a:off x="10275888" y="0"/>
            <a:ext cx="1439862" cy="804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350" name="cdtRectangle 115 Id57350"/>
          <p:cNvSpPr>
            <a:spLocks noGrp="1" noChangeArrowheads="1"/>
          </p:cNvSpPr>
          <p:nvPr>
            <p:ph type="ctrTitle"/>
          </p:nvPr>
        </p:nvSpPr>
        <p:spPr bwMode="gray">
          <a:xfrm>
            <a:off x="338138" y="4287202"/>
            <a:ext cx="11860212" cy="870014"/>
          </a:xfrm>
          <a:solidFill>
            <a:srgbClr val="233746">
              <a:alpha val="65000"/>
            </a:srgbClr>
          </a:solidFill>
        </p:spPr>
        <p:txBody>
          <a:bodyPr lIns="270000" tIns="144000" rIns="482400" bIns="10800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38138" y="5157216"/>
            <a:ext cx="11860212" cy="393082"/>
          </a:xfrm>
          <a:solidFill>
            <a:srgbClr val="879BAA"/>
          </a:solidFill>
        </p:spPr>
        <p:txBody>
          <a:bodyPr lIns="270000" tIns="18000" rIns="482400" bIns="36000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 + Index/Contact" preserve="1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dtTextBox 13 Id14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27063" y="6613525"/>
            <a:ext cx="11088687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396000" bIns="115200"/>
          <a:lstStyle>
            <a:lvl1pPr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endParaRPr kumimoji="0" lang="ru-RU" sz="1000" smtClean="0">
              <a:solidFill>
                <a:srgbClr val="000000"/>
              </a:solidFill>
            </a:endParaRPr>
          </a:p>
        </p:txBody>
      </p:sp>
      <p:graphicFrame>
        <p:nvGraphicFramePr>
          <p:cNvPr id="6" name="Object 1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7586" name="think-cell Slide" r:id="rId35" imgW="360" imgH="360" progId="">
              <p:embed/>
            </p:oleObj>
          </a:graphicData>
        </a:graphic>
      </p:graphicFrame>
      <p:sp>
        <p:nvSpPr>
          <p:cNvPr id="7" name="cdtRectangle 12 Id15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kumimoji="0" lang="en-US" sz="1800"/>
          </a:p>
        </p:txBody>
      </p:sp>
      <p:pic>
        <p:nvPicPr>
          <p:cNvPr id="8" name="cdtPicture 10 Id10" descr="SIE_Logo_Layer_Petrol_RGB_A3_76mm.wmf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36"/>
          <a:srcRect/>
          <a:stretch>
            <a:fillRect/>
          </a:stretch>
        </p:blipFill>
        <p:spPr bwMode="auto">
          <a:xfrm>
            <a:off x="10275888" y="0"/>
            <a:ext cx="1439862" cy="806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dtText Box 133 Id16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626400" tIns="144000" rIns="3211200" bIns="0" anchor="ctr"/>
          <a:lstStyle/>
          <a:p>
            <a:pPr>
              <a:spcBef>
                <a:spcPct val="50000"/>
              </a:spcBef>
              <a:defRPr/>
            </a:pPr>
            <a:r>
              <a:rPr kumimoji="0" lang="de-DE" sz="1000" b="1">
                <a:solidFill>
                  <a:srgbClr val="879BAA"/>
                </a:solidFill>
              </a:rPr>
              <a:t>© Siemens AG 2016</a:t>
            </a:r>
          </a:p>
        </p:txBody>
      </p:sp>
      <p:sp>
        <p:nvSpPr>
          <p:cNvPr id="10" name="cdtText Box 101 Id20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36000" rIns="0" bIns="0"/>
          <a:lstStyle>
            <a:lvl1pPr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ctr">
              <a:defRPr/>
            </a:pPr>
            <a:endParaRPr kumimoji="0" lang="en-US" sz="1100" b="1" smtClean="0">
              <a:solidFill>
                <a:srgbClr val="990000"/>
              </a:solidFill>
            </a:endParaRPr>
          </a:p>
        </p:txBody>
      </p:sp>
      <p:cxnSp>
        <p:nvCxnSpPr>
          <p:cNvPr id="12" name="cdtMasterTags_CL1 Id3072"/>
          <p:cNvCxnSpPr>
            <a:cxnSpLocks noChangeShapeType="1"/>
          </p:cNvCxnSpPr>
          <p:nvPr userDrawn="1">
            <p:custDataLst>
              <p:tags r:id="rId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4" name="cdtMasterTags_CL2 Id3073"/>
          <p:cNvCxnSpPr>
            <a:cxnSpLocks noChangeShapeType="1"/>
          </p:cNvCxnSpPr>
          <p:nvPr userDrawn="1">
            <p:custDataLst>
              <p:tags r:id="rId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5" name="cdtMasterTags_CL3 Id3074"/>
          <p:cNvCxnSpPr>
            <a:cxnSpLocks noChangeShapeType="1"/>
          </p:cNvCxnSpPr>
          <p:nvPr userDrawn="1">
            <p:custDataLst>
              <p:tags r:id="rId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6" name="cdtMasterTags_CL4 Id3075"/>
          <p:cNvCxnSpPr>
            <a:cxnSpLocks noChangeShapeType="1"/>
          </p:cNvCxnSpPr>
          <p:nvPr userDrawn="1"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7" name="cdtMasterTags_CL5 Id3076"/>
          <p:cNvCxnSpPr>
            <a:cxnSpLocks noChangeShapeType="1"/>
          </p:cNvCxnSpPr>
          <p:nvPr userDrawn="1"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8" name="cdtMasterTags_CL6 Id3077"/>
          <p:cNvCxnSpPr>
            <a:cxnSpLocks noChangeShapeType="1"/>
          </p:cNvCxnSpPr>
          <p:nvPr userDrawn="1"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9" name="cdtMasterTags_CL7 Id3080"/>
          <p:cNvCxnSpPr>
            <a:cxnSpLocks noChangeShapeType="1"/>
          </p:cNvCxnSpPr>
          <p:nvPr userDrawn="1"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0" name="cdtMasterTags_CL8 Id3081"/>
          <p:cNvCxnSpPr>
            <a:cxnSpLocks noChangeShapeType="1"/>
          </p:cNvCxnSpPr>
          <p:nvPr userDrawn="1"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1" name="cdtMasterTags_CL9 Id3082"/>
          <p:cNvCxnSpPr>
            <a:cxnSpLocks noChangeShapeType="1"/>
          </p:cNvCxnSpPr>
          <p:nvPr userDrawn="1"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2" name="cdtMasterTags_CL10 Id3083"/>
          <p:cNvCxnSpPr>
            <a:cxnSpLocks noChangeShapeType="1"/>
          </p:cNvCxnSpPr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3" name="cdtMasterTags_CL11 Id3084"/>
          <p:cNvCxnSpPr>
            <a:cxnSpLocks noChangeShapeType="1"/>
          </p:cNvCxnSpPr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4" name="cdtMasterTags_CL12 Id3085"/>
          <p:cNvCxnSpPr>
            <a:cxnSpLocks noChangeShapeType="1"/>
          </p:cNvCxnSpPr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5" name="cdtMasterTags_CL13 Id3086"/>
          <p:cNvCxnSpPr>
            <a:cxnSpLocks noChangeShapeType="1"/>
          </p:cNvCxnSpPr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6" name="cdtMasterTags_CL14 Id3087"/>
          <p:cNvCxnSpPr>
            <a:cxnSpLocks noChangeShapeType="1"/>
          </p:cNvCxnSpPr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7" name="cdtMasterTags_CL15 Id3088"/>
          <p:cNvCxnSpPr>
            <a:cxnSpLocks noChangeShapeType="1"/>
          </p:cNvCxnSpPr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8" name="cdtMasterTags_CL16 Id3089"/>
          <p:cNvCxnSpPr>
            <a:cxnSpLocks noChangeShapeType="1"/>
          </p:cNvCxnSpPr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29" name="cdtMasterTags_CL17 Id3090"/>
          <p:cNvCxnSpPr>
            <a:cxnSpLocks noChangeShapeType="1"/>
          </p:cNvCxnSpPr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30" name="cdtMasterTags_CL18 Id3091"/>
          <p:cNvCxnSpPr>
            <a:cxnSpLocks noChangeShapeType="1"/>
          </p:cNvCxnSpPr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31" name="cdtMasterTags_CL19 Id3092"/>
          <p:cNvCxnSpPr>
            <a:cxnSpLocks noChangeShapeType="1"/>
          </p:cNvCxnSpPr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32" name="cdtMasterTags_CL20 Id3093"/>
          <p:cNvCxnSpPr>
            <a:cxnSpLocks noChangeShapeType="1"/>
          </p:cNvCxnSpPr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33" name="cdtMasterTags_CL21 Id3094"/>
          <p:cNvCxnSpPr>
            <a:cxnSpLocks noChangeShapeType="1"/>
          </p:cNvCxnSpPr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34" name="cdtMasterTags_CL22 Id3095"/>
          <p:cNvCxnSpPr>
            <a:cxnSpLocks noChangeShapeType="1"/>
          </p:cNvCxnSpPr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35" name="cdtMasterTags"/>
          <p:cNvCxnSpPr>
            <a:cxnSpLocks noChangeShapeType="1"/>
          </p:cNvCxnSpPr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sp>
        <p:nvSpPr>
          <p:cNvPr id="36" name="cdtTextBox 12 Id17"/>
          <p:cNvSpPr txBox="1">
            <a:spLocks noChangeArrowheads="1"/>
          </p:cNvSpPr>
          <p:nvPr userDrawn="1">
            <p:custDataLst>
              <p:tags r:id="rId30"/>
            </p:custDataLst>
          </p:nvPr>
        </p:nvSpPr>
        <p:spPr bwMode="auto">
          <a:xfrm>
            <a:off x="0" y="6597650"/>
            <a:ext cx="3932238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1908000" tIns="0" rIns="0" bIns="115200"/>
          <a:lstStyle>
            <a:lvl1pPr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  <a:defRPr/>
            </a:pPr>
            <a:endParaRPr kumimoji="0" lang="ru-RU" sz="1000" smtClean="0">
              <a:solidFill>
                <a:srgbClr val="000000"/>
              </a:solidFill>
            </a:endParaRPr>
          </a:p>
        </p:txBody>
      </p:sp>
      <p:sp>
        <p:nvSpPr>
          <p:cNvPr id="37" name="cdtTextBox 11 Id18"/>
          <p:cNvSpPr txBox="1">
            <a:spLocks noChangeArrowheads="1"/>
          </p:cNvSpPr>
          <p:nvPr userDrawn="1">
            <p:custDataLst>
              <p:tags r:id="rId31"/>
            </p:custDataLst>
          </p:nvPr>
        </p:nvSpPr>
        <p:spPr bwMode="auto">
          <a:xfrm>
            <a:off x="0" y="6597650"/>
            <a:ext cx="176530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626400" tIns="0" rIns="0" bIns="115200"/>
          <a:lstStyle/>
          <a:p>
            <a:pPr>
              <a:lnSpc>
                <a:spcPct val="110000"/>
              </a:lnSpc>
              <a:defRPr/>
            </a:pPr>
            <a:r>
              <a:rPr kumimoji="0" lang="de-DE" sz="1000">
                <a:solidFill>
                  <a:srgbClr val="000000"/>
                </a:solidFill>
              </a:rPr>
              <a:t>Page </a:t>
            </a:r>
            <a:fld id="{EE8ECE56-444C-4242-B219-25CAF040300A}" type="slidenum">
              <a:rPr kumimoji="0" lang="de-DE" sz="1000">
                <a:solidFill>
                  <a:srgbClr val="000000"/>
                </a:solidFill>
              </a:rPr>
              <a:pPr>
                <a:lnSpc>
                  <a:spcPct val="110000"/>
                </a:lnSpc>
                <a:defRPr/>
              </a:pPr>
              <a:t>‹#›</a:t>
            </a:fld>
            <a:endParaRPr kumimoji="0" lang="de-DE" sz="1000">
              <a:solidFill>
                <a:srgbClr val="000000"/>
              </a:solidFill>
            </a:endParaRPr>
          </a:p>
        </p:txBody>
      </p:sp>
      <p:sp>
        <p:nvSpPr>
          <p:cNvPr id="38" name="cdtRectangle 2 Id5"/>
          <p:cNvSpPr/>
          <p:nvPr userDrawn="1">
            <p:custDataLst>
              <p:tags r:id="rId32"/>
            </p:custDataLst>
          </p:nvPr>
        </p:nvSpPr>
        <p:spPr bwMode="auto">
          <a:xfrm>
            <a:off x="4659313" y="1412875"/>
            <a:ext cx="7539037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/>
            <a:ext uri="{AF507438-7753-43e0-B8FC-AC1667EBCBE1}"/>
          </a:extLst>
        </p:spPr>
        <p:txBody>
          <a:bodyPr lIns="108000" tIns="54000" rIns="108000" bIns="54000" spcCol="72000" anchor="ctr"/>
          <a:lstStyle/>
          <a:p>
            <a:pPr algn="ctr">
              <a:lnSpc>
                <a:spcPct val="110000"/>
              </a:lnSpc>
              <a:buFont typeface="Wingdings" charset="0"/>
              <a:buNone/>
              <a:defRPr/>
            </a:pPr>
            <a:endParaRPr kumimoji="0" lang="en-US" sz="1800" b="1" dirty="0">
              <a:solidFill>
                <a:schemeClr val="tx1"/>
              </a:solidFill>
              <a:ea typeface="ＭＳ Ｐゴシック" charset="-128"/>
            </a:endParaRPr>
          </a:p>
        </p:txBody>
      </p:sp>
      <p:pic>
        <p:nvPicPr>
          <p:cNvPr id="39" name="Bildplatzhalter 12" descr="Image_IHV_Kontakt.jpg"/>
          <p:cNvPicPr>
            <a:picLocks/>
          </p:cNvPicPr>
          <p:nvPr userDrawn="1">
            <p:custDataLst>
              <p:tags r:id="rId33"/>
            </p:custDataLst>
          </p:nvPr>
        </p:nvPicPr>
        <p:blipFill>
          <a:blip r:embed="rId37"/>
          <a:srcRect/>
          <a:stretch>
            <a:fillRect/>
          </a:stretch>
        </p:blipFill>
        <p:spPr bwMode="ltGray">
          <a:xfrm>
            <a:off x="0" y="1414463"/>
            <a:ext cx="4514850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cdtText Placeholder 12 Id13"/>
          <p:cNvSpPr>
            <a:spLocks noGrp="1"/>
          </p:cNvSpPr>
          <p:nvPr>
            <p:ph type="body" sz="quarter" idx="14"/>
          </p:nvPr>
        </p:nvSpPr>
        <p:spPr bwMode="auto">
          <a:xfrm>
            <a:off x="4658996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GB" smtClean="0"/>
              <a:t>Образец текста</a:t>
            </a:r>
          </a:p>
          <a:p>
            <a:pPr lvl="1"/>
            <a:r>
              <a:rPr lang="en-GB" smtClean="0"/>
              <a:t>Второй уровень</a:t>
            </a:r>
          </a:p>
          <a:p>
            <a:pPr lvl="2"/>
            <a:r>
              <a:rPr lang="en-GB" smtClean="0"/>
              <a:t>Третий уровень</a:t>
            </a:r>
          </a:p>
          <a:p>
            <a:pPr lvl="3"/>
            <a:r>
              <a:rPr lang="en-GB" smtClean="0"/>
              <a:t>Четвертый уровень</a:t>
            </a:r>
          </a:p>
          <a:p>
            <a:pPr lvl="4"/>
            <a:r>
              <a:rPr lang="en-GB" smtClean="0"/>
              <a:t>Пятый уровень</a:t>
            </a:r>
            <a:endParaRPr lang="en-US" dirty="0"/>
          </a:p>
        </p:txBody>
      </p:sp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cdtPicture Placeholder 10 Id11"/>
          <p:cNvSpPr>
            <a:spLocks noGrp="1"/>
          </p:cNvSpPr>
          <p:nvPr>
            <p:ph type="pic" sz="quarter" idx="13"/>
          </p:nvPr>
        </p:nvSpPr>
        <p:spPr>
          <a:xfrm>
            <a:off x="0" y="1412875"/>
            <a:ext cx="4514977" cy="47529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smtClean="0"/>
              <a:t>Чтобы добавить рисунок, перетащите его на заполнитель или щелкните значок</a:t>
            </a:r>
            <a:endParaRPr lang="de-DE" noProof="0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</p:nvPr>
        </p:nvSpPr>
        <p:spPr>
          <a:xfrm>
            <a:off x="627063" y="1412875"/>
            <a:ext cx="3887914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/>
          </p:nvPr>
        </p:nvSpPr>
        <p:spPr bwMode="auto">
          <a:xfrm>
            <a:off x="4658995" y="1412875"/>
            <a:ext cx="7539355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GB" smtClean="0"/>
              <a:t>Образец текста</a:t>
            </a:r>
          </a:p>
          <a:p>
            <a:pPr lvl="1"/>
            <a:r>
              <a:rPr lang="en-GB" smtClean="0"/>
              <a:t>Второй уровень</a:t>
            </a:r>
          </a:p>
          <a:p>
            <a:pPr lvl="2"/>
            <a:r>
              <a:rPr lang="en-GB" smtClean="0"/>
              <a:t>Третий уровень</a:t>
            </a:r>
          </a:p>
          <a:p>
            <a:pPr lvl="3"/>
            <a:r>
              <a:rPr lang="en-GB" smtClean="0"/>
              <a:t>Четвертый уровень</a:t>
            </a:r>
          </a:p>
          <a:p>
            <a:pPr lvl="4"/>
            <a:r>
              <a:rPr lang="en-GB" smtClean="0"/>
              <a:t>Пятый уровень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lvl="0"/>
            <a:r>
              <a:rPr lang="de-DE" dirty="0" smtClean="0"/>
              <a:t>Titelmasterformat durch Klicken bearbeiten</a:t>
            </a:r>
            <a:endParaRPr lang="en-US" noProof="0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9" Type="http://schemas.openxmlformats.org/officeDocument/2006/relationships/tags" Target="../tags/tag1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1.xml"/><Relationship Id="rId42" Type="http://schemas.openxmlformats.org/officeDocument/2006/relationships/tags" Target="../tags/tag19.xml"/><Relationship Id="rId47" Type="http://schemas.openxmlformats.org/officeDocument/2006/relationships/tags" Target="../tags/tag24.xml"/><Relationship Id="rId50" Type="http://schemas.openxmlformats.org/officeDocument/2006/relationships/tags" Target="../tags/tag2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33" Type="http://schemas.openxmlformats.org/officeDocument/2006/relationships/tags" Target="../tags/tag10.xml"/><Relationship Id="rId38" Type="http://schemas.openxmlformats.org/officeDocument/2006/relationships/tags" Target="../tags/tag15.xml"/><Relationship Id="rId46" Type="http://schemas.openxmlformats.org/officeDocument/2006/relationships/tags" Target="../tags/tag2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6.xml"/><Relationship Id="rId41" Type="http://schemas.openxmlformats.org/officeDocument/2006/relationships/tags" Target="../tags/tag1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32" Type="http://schemas.openxmlformats.org/officeDocument/2006/relationships/tags" Target="../tags/tag9.xml"/><Relationship Id="rId37" Type="http://schemas.openxmlformats.org/officeDocument/2006/relationships/tags" Target="../tags/tag14.xml"/><Relationship Id="rId40" Type="http://schemas.openxmlformats.org/officeDocument/2006/relationships/tags" Target="../tags/tag17.xml"/><Relationship Id="rId45" Type="http://schemas.openxmlformats.org/officeDocument/2006/relationships/tags" Target="../tags/tag22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tags" Target="../tags/tag5.xml"/><Relationship Id="rId36" Type="http://schemas.openxmlformats.org/officeDocument/2006/relationships/tags" Target="../tags/tag13.xml"/><Relationship Id="rId49" Type="http://schemas.openxmlformats.org/officeDocument/2006/relationships/tags" Target="../tags/tag2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8.xml"/><Relationship Id="rId44" Type="http://schemas.openxmlformats.org/officeDocument/2006/relationships/tags" Target="../tags/tag21.xml"/><Relationship Id="rId52" Type="http://schemas.openxmlformats.org/officeDocument/2006/relationships/tags" Target="../tags/tag2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4.xml"/><Relationship Id="rId30" Type="http://schemas.openxmlformats.org/officeDocument/2006/relationships/tags" Target="../tags/tag7.xml"/><Relationship Id="rId35" Type="http://schemas.openxmlformats.org/officeDocument/2006/relationships/tags" Target="../tags/tag12.xml"/><Relationship Id="rId43" Type="http://schemas.openxmlformats.org/officeDocument/2006/relationships/tags" Target="../tags/tag20.xml"/><Relationship Id="rId48" Type="http://schemas.openxmlformats.org/officeDocument/2006/relationships/tags" Target="../tags/tag25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cdtTextBox 13 Id14"/>
          <p:cNvSpPr txBox="1">
            <a:spLocks noChangeArrowheads="1"/>
          </p:cNvSpPr>
          <p:nvPr userDrawn="1">
            <p:custDataLst>
              <p:tags r:id="rId25"/>
            </p:custDataLst>
          </p:nvPr>
        </p:nvSpPr>
        <p:spPr bwMode="auto">
          <a:xfrm>
            <a:off x="627063" y="6613525"/>
            <a:ext cx="11088687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396000" bIns="115200"/>
          <a:lstStyle>
            <a:lvl1pPr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defRPr/>
            </a:pPr>
            <a:endParaRPr kumimoji="0" lang="ru-RU" sz="1000" smtClean="0">
              <a:solidFill>
                <a:srgbClr val="000000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6" name="think-cell Slide" r:id="rId53" imgW="360" imgH="360" progId="">
              <p:embed/>
            </p:oleObj>
          </a:graphicData>
        </a:graphic>
      </p:graphicFrame>
      <p:sp>
        <p:nvSpPr>
          <p:cNvPr id="1028" name="cdtRectangle 12 Id15"/>
          <p:cNvSpPr>
            <a:spLocks noChangeArrowheads="1"/>
          </p:cNvSpPr>
          <p:nvPr userDrawn="1">
            <p:custDataLst>
              <p:tags r:id="rId26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kumimoji="0" lang="en-US" sz="1800"/>
          </a:p>
        </p:txBody>
      </p:sp>
      <p:sp>
        <p:nvSpPr>
          <p:cNvPr id="1030" name="cdtRectangle 115 Id3078"/>
          <p:cNvSpPr>
            <a:spLocks noGrp="1" noChangeArrowheads="1"/>
          </p:cNvSpPr>
          <p:nvPr>
            <p:ph type="title"/>
            <p:custDataLst>
              <p:tags r:id="rId27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masterformat durch Klicken bearbeiten</a:t>
            </a:r>
          </a:p>
        </p:txBody>
      </p:sp>
      <p:sp>
        <p:nvSpPr>
          <p:cNvPr id="1031" name="cdtRectangle 116 Id3079"/>
          <p:cNvSpPr>
            <a:spLocks noGrp="1" noChangeArrowheads="1"/>
          </p:cNvSpPr>
          <p:nvPr>
            <p:ph type="body" idx="1"/>
            <p:custDataLst>
              <p:tags r:id="rId28"/>
            </p:custDataLst>
          </p:nvPr>
        </p:nvSpPr>
        <p:spPr bwMode="auto">
          <a:xfrm>
            <a:off x="627063" y="1412875"/>
            <a:ext cx="8208962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3" name="cdtText Box 101 Id20"/>
          <p:cNvSpPr txBox="1">
            <a:spLocks noChangeArrowheads="1"/>
          </p:cNvSpPr>
          <p:nvPr userDrawn="1">
            <p:custDataLst>
              <p:tags r:id="rId29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36000" rIns="0" bIns="0"/>
          <a:lstStyle>
            <a:lvl1pPr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spcBef>
                <a:spcPct val="50000"/>
              </a:spcBef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fontAlgn="base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ctr">
              <a:defRPr/>
            </a:pPr>
            <a:endParaRPr kumimoji="0" lang="en-US" sz="1100" b="1" smtClean="0">
              <a:solidFill>
                <a:srgbClr val="990000"/>
              </a:solidFill>
            </a:endParaRPr>
          </a:p>
        </p:txBody>
      </p:sp>
      <p:cxnSp>
        <p:nvCxnSpPr>
          <p:cNvPr id="3" name="cdtMasterTags_CL1 Id3072"/>
          <p:cNvCxnSpPr>
            <a:cxnSpLocks noChangeShapeType="1"/>
          </p:cNvCxnSpPr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034" name="cdtMasterTags_CL2 Id3073"/>
          <p:cNvCxnSpPr>
            <a:cxnSpLocks noChangeShapeType="1"/>
          </p:cNvCxnSpPr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035" name="cdtMasterTags_CL3 Id3074"/>
          <p:cNvCxnSpPr>
            <a:cxnSpLocks noChangeShapeType="1"/>
          </p:cNvCxnSpPr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036" name="cdtMasterTags_CL4 Id3075"/>
          <p:cNvCxnSpPr>
            <a:cxnSpLocks noChangeShapeType="1"/>
          </p:cNvCxnSpPr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037" name="cdtMasterTags_CL5 Id3076"/>
          <p:cNvCxnSpPr>
            <a:cxnSpLocks noChangeShapeType="1"/>
          </p:cNvCxnSpPr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038" name="cdtMasterTags_CL6 Id3077"/>
          <p:cNvCxnSpPr>
            <a:cxnSpLocks noChangeShapeType="1"/>
          </p:cNvCxnSpPr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039" name="cdtMasterTags_CL7 Id3080"/>
          <p:cNvCxnSpPr>
            <a:cxnSpLocks noChangeShapeType="1"/>
          </p:cNvCxnSpPr>
          <p:nvPr userDrawn="1"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040" name="cdtMasterTags_CL8 Id3081"/>
          <p:cNvCxnSpPr>
            <a:cxnSpLocks noChangeShapeType="1"/>
          </p:cNvCxnSpPr>
          <p:nvPr userDrawn="1"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041" name="cdtMasterTags_CL9 Id3082"/>
          <p:cNvCxnSpPr>
            <a:cxnSpLocks noChangeShapeType="1"/>
          </p:cNvCxnSpPr>
          <p:nvPr userDrawn="1"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042" name="cdtMasterTags_CL10 Id3083"/>
          <p:cNvCxnSpPr>
            <a:cxnSpLocks noChangeShapeType="1"/>
          </p:cNvCxnSpPr>
          <p:nvPr userDrawn="1"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043" name="cdtMasterTags_CL11 Id3084"/>
          <p:cNvCxnSpPr>
            <a:cxnSpLocks noChangeShapeType="1"/>
          </p:cNvCxnSpPr>
          <p:nvPr userDrawn="1"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044" name="cdtMasterTags_CL12 Id3085"/>
          <p:cNvCxnSpPr>
            <a:cxnSpLocks noChangeShapeType="1"/>
          </p:cNvCxnSpPr>
          <p:nvPr userDrawn="1"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045" name="cdtMasterTags_CL13 Id3086"/>
          <p:cNvCxnSpPr>
            <a:cxnSpLocks noChangeShapeType="1"/>
          </p:cNvCxnSpPr>
          <p:nvPr userDrawn="1"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046" name="cdtMasterTags_CL14 Id3087"/>
          <p:cNvCxnSpPr>
            <a:cxnSpLocks noChangeShapeType="1"/>
          </p:cNvCxnSpPr>
          <p:nvPr userDrawn="1"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047" name="cdtMasterTags_CL15 Id3088"/>
          <p:cNvCxnSpPr>
            <a:cxnSpLocks noChangeShapeType="1"/>
          </p:cNvCxnSpPr>
          <p:nvPr userDrawn="1"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048" name="cdtMasterTags_CL16 Id3089"/>
          <p:cNvCxnSpPr>
            <a:cxnSpLocks noChangeShapeType="1"/>
          </p:cNvCxnSpPr>
          <p:nvPr userDrawn="1"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049" name="cdtMasterTags_CL17 Id3090"/>
          <p:cNvCxnSpPr>
            <a:cxnSpLocks noChangeShapeType="1"/>
          </p:cNvCxnSpPr>
          <p:nvPr userDrawn="1"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050" name="cdtMasterTags_CL18 Id3091"/>
          <p:cNvCxnSpPr>
            <a:cxnSpLocks noChangeShapeType="1"/>
          </p:cNvCxnSpPr>
          <p:nvPr userDrawn="1"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051" name="cdtMasterTags_CL19 Id3092"/>
          <p:cNvCxnSpPr>
            <a:cxnSpLocks noChangeShapeType="1"/>
          </p:cNvCxnSpPr>
          <p:nvPr userDrawn="1"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052" name="cdtMasterTags_CL20 Id3093"/>
          <p:cNvCxnSpPr>
            <a:cxnSpLocks noChangeShapeType="1"/>
          </p:cNvCxnSpPr>
          <p:nvPr userDrawn="1"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053" name="cdtMasterTags_CL21 Id3094"/>
          <p:cNvCxnSpPr>
            <a:cxnSpLocks noChangeShapeType="1"/>
          </p:cNvCxnSpPr>
          <p:nvPr userDrawn="1"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054" name="cdtMasterTags_CL22 Id3095"/>
          <p:cNvCxnSpPr>
            <a:cxnSpLocks noChangeShapeType="1"/>
          </p:cNvCxnSpPr>
          <p:nvPr userDrawn="1"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cxnSp>
        <p:nvCxnSpPr>
          <p:cNvPr id="1055" name="cdtMasterTags"/>
          <p:cNvCxnSpPr>
            <a:cxnSpLocks noChangeShapeType="1"/>
          </p:cNvCxnSpPr>
          <p:nvPr userDrawn="1"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  <p:sldLayoutId id="2147483993" r:id="rId2"/>
    <p:sldLayoutId id="2147483994" r:id="rId3"/>
    <p:sldLayoutId id="2147483995" r:id="rId4"/>
    <p:sldLayoutId id="2147483996" r:id="rId5"/>
    <p:sldLayoutId id="2147483997" r:id="rId6"/>
    <p:sldLayoutId id="2147483998" r:id="rId7"/>
    <p:sldLayoutId id="2147483977" r:id="rId8"/>
    <p:sldLayoutId id="2147483978" r:id="rId9"/>
    <p:sldLayoutId id="2147483979" r:id="rId10"/>
    <p:sldLayoutId id="2147483980" r:id="rId11"/>
    <p:sldLayoutId id="2147483981" r:id="rId12"/>
    <p:sldLayoutId id="2147483982" r:id="rId13"/>
    <p:sldLayoutId id="2147483983" r:id="rId14"/>
    <p:sldLayoutId id="2147483984" r:id="rId15"/>
    <p:sldLayoutId id="2147483985" r:id="rId16"/>
    <p:sldLayoutId id="2147483986" r:id="rId17"/>
    <p:sldLayoutId id="2147483987" r:id="rId18"/>
    <p:sldLayoutId id="2147483988" r:id="rId19"/>
    <p:sldLayoutId id="2147483989" r:id="rId20"/>
    <p:sldLayoutId id="2147483990" r:id="rId21"/>
    <p:sldLayoutId id="2147483991" r:id="rId2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pitchFamily="34" charset="0"/>
          <a:ea typeface="Arial" charset="0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342900" indent="-342900" algn="l" rtl="0" eaLnBrk="0" fontAlgn="base" hangingPunct="0">
        <a:spcBef>
          <a:spcPts val="300"/>
        </a:spcBef>
        <a:spcAft>
          <a:spcPct val="0"/>
        </a:spcAft>
        <a:buClr>
          <a:schemeClr val="accent1"/>
        </a:buClr>
        <a:buFont typeface="Arial" pitchFamily="34" charset="0"/>
        <a:defRPr kumimoji="1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179388" indent="-177800" algn="l" rtl="0" eaLnBrk="0" fontAlgn="base" hangingPunct="0">
        <a:spcBef>
          <a:spcPts val="300"/>
        </a:spcBef>
        <a:spcAft>
          <a:spcPct val="0"/>
        </a:spcAft>
        <a:buClr>
          <a:schemeClr val="accent1"/>
        </a:buClr>
        <a:buChar char="•"/>
        <a:defRPr kumimoji="1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358775" indent="-177800" algn="l" rtl="0" eaLnBrk="0" fontAlgn="base" hangingPunct="0">
        <a:spcBef>
          <a:spcPts val="300"/>
        </a:spcBef>
        <a:spcAft>
          <a:spcPct val="0"/>
        </a:spcAft>
        <a:buClr>
          <a:schemeClr val="accent1"/>
        </a:buClr>
        <a:buChar char="•"/>
        <a:defRPr kumimoji="1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538163" indent="-177800" algn="l" rtl="0" eaLnBrk="0" fontAlgn="base" hangingPunct="0">
        <a:spcBef>
          <a:spcPts val="300"/>
        </a:spcBef>
        <a:spcAft>
          <a:spcPct val="0"/>
        </a:spcAft>
        <a:buClr>
          <a:schemeClr val="accent1"/>
        </a:buClr>
        <a:buChar char="•"/>
        <a:defRPr kumimoji="1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4pPr>
      <a:lvl5pPr marL="717550" indent="-177800" algn="l" rtl="0" eaLnBrk="0" fontAlgn="base" hangingPunct="0">
        <a:spcBef>
          <a:spcPts val="300"/>
        </a:spcBef>
        <a:spcAft>
          <a:spcPct val="0"/>
        </a:spcAft>
        <a:buClr>
          <a:schemeClr val="accent1"/>
        </a:buClr>
        <a:buChar char="•"/>
        <a:defRPr kumimoji="1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53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52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54.xml"/></Relationships>
</file>

<file path=ppt/slides/_rels/slide12.xml.rels><?xml version="1.0" encoding="UTF-8" standalone="yes"?>
<Relationships xmlns="http://schemas.openxmlformats.org/package/2006/relationships"><Relationship Id="rId117" Type="http://schemas.openxmlformats.org/officeDocument/2006/relationships/tags" Target="../tags/tag270.xml"/><Relationship Id="rId21" Type="http://schemas.openxmlformats.org/officeDocument/2006/relationships/tags" Target="../tags/tag174.xml"/><Relationship Id="rId42" Type="http://schemas.openxmlformats.org/officeDocument/2006/relationships/tags" Target="../tags/tag195.xml"/><Relationship Id="rId63" Type="http://schemas.openxmlformats.org/officeDocument/2006/relationships/tags" Target="../tags/tag216.xml"/><Relationship Id="rId84" Type="http://schemas.openxmlformats.org/officeDocument/2006/relationships/tags" Target="../tags/tag237.xml"/><Relationship Id="rId138" Type="http://schemas.openxmlformats.org/officeDocument/2006/relationships/tags" Target="../tags/tag291.xml"/><Relationship Id="rId159" Type="http://schemas.openxmlformats.org/officeDocument/2006/relationships/tags" Target="../tags/tag312.xml"/><Relationship Id="rId170" Type="http://schemas.openxmlformats.org/officeDocument/2006/relationships/tags" Target="../tags/tag323.xml"/><Relationship Id="rId191" Type="http://schemas.openxmlformats.org/officeDocument/2006/relationships/tags" Target="../tags/tag344.xml"/><Relationship Id="rId205" Type="http://schemas.openxmlformats.org/officeDocument/2006/relationships/tags" Target="../tags/tag358.xml"/><Relationship Id="rId226" Type="http://schemas.openxmlformats.org/officeDocument/2006/relationships/tags" Target="../tags/tag379.xml"/><Relationship Id="rId247" Type="http://schemas.openxmlformats.org/officeDocument/2006/relationships/tags" Target="../tags/tag400.xml"/><Relationship Id="rId107" Type="http://schemas.openxmlformats.org/officeDocument/2006/relationships/tags" Target="../tags/tag260.xml"/><Relationship Id="rId268" Type="http://schemas.openxmlformats.org/officeDocument/2006/relationships/image" Target="../media/image21.png"/><Relationship Id="rId11" Type="http://schemas.openxmlformats.org/officeDocument/2006/relationships/tags" Target="../tags/tag164.xml"/><Relationship Id="rId32" Type="http://schemas.openxmlformats.org/officeDocument/2006/relationships/tags" Target="../tags/tag185.xml"/><Relationship Id="rId53" Type="http://schemas.openxmlformats.org/officeDocument/2006/relationships/tags" Target="../tags/tag206.xml"/><Relationship Id="rId74" Type="http://schemas.openxmlformats.org/officeDocument/2006/relationships/tags" Target="../tags/tag227.xml"/><Relationship Id="rId128" Type="http://schemas.openxmlformats.org/officeDocument/2006/relationships/tags" Target="../tags/tag281.xml"/><Relationship Id="rId149" Type="http://schemas.openxmlformats.org/officeDocument/2006/relationships/tags" Target="../tags/tag302.xml"/><Relationship Id="rId5" Type="http://schemas.openxmlformats.org/officeDocument/2006/relationships/tags" Target="../tags/tag158.xml"/><Relationship Id="rId95" Type="http://schemas.openxmlformats.org/officeDocument/2006/relationships/tags" Target="../tags/tag248.xml"/><Relationship Id="rId160" Type="http://schemas.openxmlformats.org/officeDocument/2006/relationships/tags" Target="../tags/tag313.xml"/><Relationship Id="rId181" Type="http://schemas.openxmlformats.org/officeDocument/2006/relationships/tags" Target="../tags/tag334.xml"/><Relationship Id="rId216" Type="http://schemas.openxmlformats.org/officeDocument/2006/relationships/tags" Target="../tags/tag369.xml"/><Relationship Id="rId237" Type="http://schemas.openxmlformats.org/officeDocument/2006/relationships/tags" Target="../tags/tag390.xml"/><Relationship Id="rId258" Type="http://schemas.openxmlformats.org/officeDocument/2006/relationships/slideLayout" Target="../slideLayouts/slideLayout9.xml"/><Relationship Id="rId22" Type="http://schemas.openxmlformats.org/officeDocument/2006/relationships/tags" Target="../tags/tag175.xml"/><Relationship Id="rId43" Type="http://schemas.openxmlformats.org/officeDocument/2006/relationships/tags" Target="../tags/tag196.xml"/><Relationship Id="rId64" Type="http://schemas.openxmlformats.org/officeDocument/2006/relationships/tags" Target="../tags/tag217.xml"/><Relationship Id="rId118" Type="http://schemas.openxmlformats.org/officeDocument/2006/relationships/tags" Target="../tags/tag271.xml"/><Relationship Id="rId139" Type="http://schemas.openxmlformats.org/officeDocument/2006/relationships/tags" Target="../tags/tag292.xml"/><Relationship Id="rId85" Type="http://schemas.openxmlformats.org/officeDocument/2006/relationships/tags" Target="../tags/tag238.xml"/><Relationship Id="rId150" Type="http://schemas.openxmlformats.org/officeDocument/2006/relationships/tags" Target="../tags/tag303.xml"/><Relationship Id="rId171" Type="http://schemas.openxmlformats.org/officeDocument/2006/relationships/tags" Target="../tags/tag324.xml"/><Relationship Id="rId192" Type="http://schemas.openxmlformats.org/officeDocument/2006/relationships/tags" Target="../tags/tag345.xml"/><Relationship Id="rId206" Type="http://schemas.openxmlformats.org/officeDocument/2006/relationships/tags" Target="../tags/tag359.xml"/><Relationship Id="rId227" Type="http://schemas.openxmlformats.org/officeDocument/2006/relationships/tags" Target="../tags/tag380.xml"/><Relationship Id="rId248" Type="http://schemas.openxmlformats.org/officeDocument/2006/relationships/tags" Target="../tags/tag401.xml"/><Relationship Id="rId269" Type="http://schemas.openxmlformats.org/officeDocument/2006/relationships/image" Target="../media/image22.png"/><Relationship Id="rId12" Type="http://schemas.openxmlformats.org/officeDocument/2006/relationships/tags" Target="../tags/tag165.xml"/><Relationship Id="rId33" Type="http://schemas.openxmlformats.org/officeDocument/2006/relationships/tags" Target="../tags/tag186.xml"/><Relationship Id="rId108" Type="http://schemas.openxmlformats.org/officeDocument/2006/relationships/tags" Target="../tags/tag261.xml"/><Relationship Id="rId129" Type="http://schemas.openxmlformats.org/officeDocument/2006/relationships/tags" Target="../tags/tag282.xml"/><Relationship Id="rId54" Type="http://schemas.openxmlformats.org/officeDocument/2006/relationships/tags" Target="../tags/tag207.xml"/><Relationship Id="rId75" Type="http://schemas.openxmlformats.org/officeDocument/2006/relationships/tags" Target="../tags/tag228.xml"/><Relationship Id="rId96" Type="http://schemas.openxmlformats.org/officeDocument/2006/relationships/tags" Target="../tags/tag249.xml"/><Relationship Id="rId140" Type="http://schemas.openxmlformats.org/officeDocument/2006/relationships/tags" Target="../tags/tag293.xml"/><Relationship Id="rId161" Type="http://schemas.openxmlformats.org/officeDocument/2006/relationships/tags" Target="../tags/tag314.xml"/><Relationship Id="rId182" Type="http://schemas.openxmlformats.org/officeDocument/2006/relationships/tags" Target="../tags/tag335.xml"/><Relationship Id="rId217" Type="http://schemas.openxmlformats.org/officeDocument/2006/relationships/tags" Target="../tags/tag370.xml"/><Relationship Id="rId6" Type="http://schemas.openxmlformats.org/officeDocument/2006/relationships/tags" Target="../tags/tag159.xml"/><Relationship Id="rId238" Type="http://schemas.openxmlformats.org/officeDocument/2006/relationships/tags" Target="../tags/tag391.xml"/><Relationship Id="rId259" Type="http://schemas.openxmlformats.org/officeDocument/2006/relationships/notesSlide" Target="../notesSlides/notesSlide12.xml"/><Relationship Id="rId23" Type="http://schemas.openxmlformats.org/officeDocument/2006/relationships/tags" Target="../tags/tag176.xml"/><Relationship Id="rId119" Type="http://schemas.openxmlformats.org/officeDocument/2006/relationships/tags" Target="../tags/tag272.xml"/><Relationship Id="rId270" Type="http://schemas.openxmlformats.org/officeDocument/2006/relationships/image" Target="../media/image23.png"/><Relationship Id="rId44" Type="http://schemas.openxmlformats.org/officeDocument/2006/relationships/tags" Target="../tags/tag197.xml"/><Relationship Id="rId60" Type="http://schemas.openxmlformats.org/officeDocument/2006/relationships/tags" Target="../tags/tag213.xml"/><Relationship Id="rId65" Type="http://schemas.openxmlformats.org/officeDocument/2006/relationships/tags" Target="../tags/tag218.xml"/><Relationship Id="rId81" Type="http://schemas.openxmlformats.org/officeDocument/2006/relationships/tags" Target="../tags/tag234.xml"/><Relationship Id="rId86" Type="http://schemas.openxmlformats.org/officeDocument/2006/relationships/tags" Target="../tags/tag239.xml"/><Relationship Id="rId130" Type="http://schemas.openxmlformats.org/officeDocument/2006/relationships/tags" Target="../tags/tag283.xml"/><Relationship Id="rId135" Type="http://schemas.openxmlformats.org/officeDocument/2006/relationships/tags" Target="../tags/tag288.xml"/><Relationship Id="rId151" Type="http://schemas.openxmlformats.org/officeDocument/2006/relationships/tags" Target="../tags/tag304.xml"/><Relationship Id="rId156" Type="http://schemas.openxmlformats.org/officeDocument/2006/relationships/tags" Target="../tags/tag309.xml"/><Relationship Id="rId177" Type="http://schemas.openxmlformats.org/officeDocument/2006/relationships/tags" Target="../tags/tag330.xml"/><Relationship Id="rId198" Type="http://schemas.openxmlformats.org/officeDocument/2006/relationships/tags" Target="../tags/tag351.xml"/><Relationship Id="rId172" Type="http://schemas.openxmlformats.org/officeDocument/2006/relationships/tags" Target="../tags/tag325.xml"/><Relationship Id="rId193" Type="http://schemas.openxmlformats.org/officeDocument/2006/relationships/tags" Target="../tags/tag346.xml"/><Relationship Id="rId202" Type="http://schemas.openxmlformats.org/officeDocument/2006/relationships/tags" Target="../tags/tag355.xml"/><Relationship Id="rId207" Type="http://schemas.openxmlformats.org/officeDocument/2006/relationships/tags" Target="../tags/tag360.xml"/><Relationship Id="rId223" Type="http://schemas.openxmlformats.org/officeDocument/2006/relationships/tags" Target="../tags/tag376.xml"/><Relationship Id="rId228" Type="http://schemas.openxmlformats.org/officeDocument/2006/relationships/tags" Target="../tags/tag381.xml"/><Relationship Id="rId244" Type="http://schemas.openxmlformats.org/officeDocument/2006/relationships/tags" Target="../tags/tag397.xml"/><Relationship Id="rId249" Type="http://schemas.openxmlformats.org/officeDocument/2006/relationships/tags" Target="../tags/tag402.xml"/><Relationship Id="rId13" Type="http://schemas.openxmlformats.org/officeDocument/2006/relationships/tags" Target="../tags/tag166.xml"/><Relationship Id="rId18" Type="http://schemas.openxmlformats.org/officeDocument/2006/relationships/tags" Target="../tags/tag171.xml"/><Relationship Id="rId39" Type="http://schemas.openxmlformats.org/officeDocument/2006/relationships/tags" Target="../tags/tag192.xml"/><Relationship Id="rId109" Type="http://schemas.openxmlformats.org/officeDocument/2006/relationships/tags" Target="../tags/tag262.xml"/><Relationship Id="rId260" Type="http://schemas.openxmlformats.org/officeDocument/2006/relationships/oleObject" Target="../embeddings/oleObject15.bin"/><Relationship Id="rId265" Type="http://schemas.openxmlformats.org/officeDocument/2006/relationships/image" Target="../media/image18.png"/><Relationship Id="rId34" Type="http://schemas.openxmlformats.org/officeDocument/2006/relationships/tags" Target="../tags/tag187.xml"/><Relationship Id="rId50" Type="http://schemas.openxmlformats.org/officeDocument/2006/relationships/tags" Target="../tags/tag203.xml"/><Relationship Id="rId55" Type="http://schemas.openxmlformats.org/officeDocument/2006/relationships/tags" Target="../tags/tag208.xml"/><Relationship Id="rId76" Type="http://schemas.openxmlformats.org/officeDocument/2006/relationships/tags" Target="../tags/tag229.xml"/><Relationship Id="rId97" Type="http://schemas.openxmlformats.org/officeDocument/2006/relationships/tags" Target="../tags/tag250.xml"/><Relationship Id="rId104" Type="http://schemas.openxmlformats.org/officeDocument/2006/relationships/tags" Target="../tags/tag257.xml"/><Relationship Id="rId120" Type="http://schemas.openxmlformats.org/officeDocument/2006/relationships/tags" Target="../tags/tag273.xml"/><Relationship Id="rId125" Type="http://schemas.openxmlformats.org/officeDocument/2006/relationships/tags" Target="../tags/tag278.xml"/><Relationship Id="rId141" Type="http://schemas.openxmlformats.org/officeDocument/2006/relationships/tags" Target="../tags/tag294.xml"/><Relationship Id="rId146" Type="http://schemas.openxmlformats.org/officeDocument/2006/relationships/tags" Target="../tags/tag299.xml"/><Relationship Id="rId167" Type="http://schemas.openxmlformats.org/officeDocument/2006/relationships/tags" Target="../tags/tag320.xml"/><Relationship Id="rId188" Type="http://schemas.openxmlformats.org/officeDocument/2006/relationships/tags" Target="../tags/tag341.xml"/><Relationship Id="rId7" Type="http://schemas.openxmlformats.org/officeDocument/2006/relationships/tags" Target="../tags/tag160.xml"/><Relationship Id="rId71" Type="http://schemas.openxmlformats.org/officeDocument/2006/relationships/tags" Target="../tags/tag224.xml"/><Relationship Id="rId92" Type="http://schemas.openxmlformats.org/officeDocument/2006/relationships/tags" Target="../tags/tag245.xml"/><Relationship Id="rId162" Type="http://schemas.openxmlformats.org/officeDocument/2006/relationships/tags" Target="../tags/tag315.xml"/><Relationship Id="rId183" Type="http://schemas.openxmlformats.org/officeDocument/2006/relationships/tags" Target="../tags/tag336.xml"/><Relationship Id="rId213" Type="http://schemas.openxmlformats.org/officeDocument/2006/relationships/tags" Target="../tags/tag366.xml"/><Relationship Id="rId218" Type="http://schemas.openxmlformats.org/officeDocument/2006/relationships/tags" Target="../tags/tag371.xml"/><Relationship Id="rId234" Type="http://schemas.openxmlformats.org/officeDocument/2006/relationships/tags" Target="../tags/tag387.xml"/><Relationship Id="rId239" Type="http://schemas.openxmlformats.org/officeDocument/2006/relationships/tags" Target="../tags/tag392.xml"/><Relationship Id="rId2" Type="http://schemas.openxmlformats.org/officeDocument/2006/relationships/tags" Target="../tags/tag155.xml"/><Relationship Id="rId29" Type="http://schemas.openxmlformats.org/officeDocument/2006/relationships/tags" Target="../tags/tag182.xml"/><Relationship Id="rId250" Type="http://schemas.openxmlformats.org/officeDocument/2006/relationships/tags" Target="../tags/tag403.xml"/><Relationship Id="rId255" Type="http://schemas.openxmlformats.org/officeDocument/2006/relationships/tags" Target="../tags/tag408.xml"/><Relationship Id="rId271" Type="http://schemas.openxmlformats.org/officeDocument/2006/relationships/image" Target="../media/image24.png"/><Relationship Id="rId24" Type="http://schemas.openxmlformats.org/officeDocument/2006/relationships/tags" Target="../tags/tag177.xml"/><Relationship Id="rId40" Type="http://schemas.openxmlformats.org/officeDocument/2006/relationships/tags" Target="../tags/tag193.xml"/><Relationship Id="rId45" Type="http://schemas.openxmlformats.org/officeDocument/2006/relationships/tags" Target="../tags/tag198.xml"/><Relationship Id="rId66" Type="http://schemas.openxmlformats.org/officeDocument/2006/relationships/tags" Target="../tags/tag219.xml"/><Relationship Id="rId87" Type="http://schemas.openxmlformats.org/officeDocument/2006/relationships/tags" Target="../tags/tag240.xml"/><Relationship Id="rId110" Type="http://schemas.openxmlformats.org/officeDocument/2006/relationships/tags" Target="../tags/tag263.xml"/><Relationship Id="rId115" Type="http://schemas.openxmlformats.org/officeDocument/2006/relationships/tags" Target="../tags/tag268.xml"/><Relationship Id="rId131" Type="http://schemas.openxmlformats.org/officeDocument/2006/relationships/tags" Target="../tags/tag284.xml"/><Relationship Id="rId136" Type="http://schemas.openxmlformats.org/officeDocument/2006/relationships/tags" Target="../tags/tag289.xml"/><Relationship Id="rId157" Type="http://schemas.openxmlformats.org/officeDocument/2006/relationships/tags" Target="../tags/tag310.xml"/><Relationship Id="rId178" Type="http://schemas.openxmlformats.org/officeDocument/2006/relationships/tags" Target="../tags/tag331.xml"/><Relationship Id="rId61" Type="http://schemas.openxmlformats.org/officeDocument/2006/relationships/tags" Target="../tags/tag214.xml"/><Relationship Id="rId82" Type="http://schemas.openxmlformats.org/officeDocument/2006/relationships/tags" Target="../tags/tag235.xml"/><Relationship Id="rId152" Type="http://schemas.openxmlformats.org/officeDocument/2006/relationships/tags" Target="../tags/tag305.xml"/><Relationship Id="rId173" Type="http://schemas.openxmlformats.org/officeDocument/2006/relationships/tags" Target="../tags/tag326.xml"/><Relationship Id="rId194" Type="http://schemas.openxmlformats.org/officeDocument/2006/relationships/tags" Target="../tags/tag347.xml"/><Relationship Id="rId199" Type="http://schemas.openxmlformats.org/officeDocument/2006/relationships/tags" Target="../tags/tag352.xml"/><Relationship Id="rId203" Type="http://schemas.openxmlformats.org/officeDocument/2006/relationships/tags" Target="../tags/tag356.xml"/><Relationship Id="rId208" Type="http://schemas.openxmlformats.org/officeDocument/2006/relationships/tags" Target="../tags/tag361.xml"/><Relationship Id="rId229" Type="http://schemas.openxmlformats.org/officeDocument/2006/relationships/tags" Target="../tags/tag382.xml"/><Relationship Id="rId19" Type="http://schemas.openxmlformats.org/officeDocument/2006/relationships/tags" Target="../tags/tag172.xml"/><Relationship Id="rId224" Type="http://schemas.openxmlformats.org/officeDocument/2006/relationships/tags" Target="../tags/tag377.xml"/><Relationship Id="rId240" Type="http://schemas.openxmlformats.org/officeDocument/2006/relationships/tags" Target="../tags/tag393.xml"/><Relationship Id="rId245" Type="http://schemas.openxmlformats.org/officeDocument/2006/relationships/tags" Target="../tags/tag398.xml"/><Relationship Id="rId261" Type="http://schemas.openxmlformats.org/officeDocument/2006/relationships/image" Target="../media/image14.png"/><Relationship Id="rId266" Type="http://schemas.openxmlformats.org/officeDocument/2006/relationships/image" Target="../media/image19.png"/><Relationship Id="rId14" Type="http://schemas.openxmlformats.org/officeDocument/2006/relationships/tags" Target="../tags/tag167.xml"/><Relationship Id="rId30" Type="http://schemas.openxmlformats.org/officeDocument/2006/relationships/tags" Target="../tags/tag183.xml"/><Relationship Id="rId35" Type="http://schemas.openxmlformats.org/officeDocument/2006/relationships/tags" Target="../tags/tag188.xml"/><Relationship Id="rId56" Type="http://schemas.openxmlformats.org/officeDocument/2006/relationships/tags" Target="../tags/tag209.xml"/><Relationship Id="rId77" Type="http://schemas.openxmlformats.org/officeDocument/2006/relationships/tags" Target="../tags/tag230.xml"/><Relationship Id="rId100" Type="http://schemas.openxmlformats.org/officeDocument/2006/relationships/tags" Target="../tags/tag253.xml"/><Relationship Id="rId105" Type="http://schemas.openxmlformats.org/officeDocument/2006/relationships/tags" Target="../tags/tag258.xml"/><Relationship Id="rId126" Type="http://schemas.openxmlformats.org/officeDocument/2006/relationships/tags" Target="../tags/tag279.xml"/><Relationship Id="rId147" Type="http://schemas.openxmlformats.org/officeDocument/2006/relationships/tags" Target="../tags/tag300.xml"/><Relationship Id="rId168" Type="http://schemas.openxmlformats.org/officeDocument/2006/relationships/tags" Target="../tags/tag321.xml"/><Relationship Id="rId8" Type="http://schemas.openxmlformats.org/officeDocument/2006/relationships/tags" Target="../tags/tag161.xml"/><Relationship Id="rId51" Type="http://schemas.openxmlformats.org/officeDocument/2006/relationships/tags" Target="../tags/tag204.xml"/><Relationship Id="rId72" Type="http://schemas.openxmlformats.org/officeDocument/2006/relationships/tags" Target="../tags/tag225.xml"/><Relationship Id="rId93" Type="http://schemas.openxmlformats.org/officeDocument/2006/relationships/tags" Target="../tags/tag246.xml"/><Relationship Id="rId98" Type="http://schemas.openxmlformats.org/officeDocument/2006/relationships/tags" Target="../tags/tag251.xml"/><Relationship Id="rId121" Type="http://schemas.openxmlformats.org/officeDocument/2006/relationships/tags" Target="../tags/tag274.xml"/><Relationship Id="rId142" Type="http://schemas.openxmlformats.org/officeDocument/2006/relationships/tags" Target="../tags/tag295.xml"/><Relationship Id="rId163" Type="http://schemas.openxmlformats.org/officeDocument/2006/relationships/tags" Target="../tags/tag316.xml"/><Relationship Id="rId184" Type="http://schemas.openxmlformats.org/officeDocument/2006/relationships/tags" Target="../tags/tag337.xml"/><Relationship Id="rId189" Type="http://schemas.openxmlformats.org/officeDocument/2006/relationships/tags" Target="../tags/tag342.xml"/><Relationship Id="rId219" Type="http://schemas.openxmlformats.org/officeDocument/2006/relationships/tags" Target="../tags/tag372.xml"/><Relationship Id="rId3" Type="http://schemas.openxmlformats.org/officeDocument/2006/relationships/tags" Target="../tags/tag156.xml"/><Relationship Id="rId214" Type="http://schemas.openxmlformats.org/officeDocument/2006/relationships/tags" Target="../tags/tag367.xml"/><Relationship Id="rId230" Type="http://schemas.openxmlformats.org/officeDocument/2006/relationships/tags" Target="../tags/tag383.xml"/><Relationship Id="rId235" Type="http://schemas.openxmlformats.org/officeDocument/2006/relationships/tags" Target="../tags/tag388.xml"/><Relationship Id="rId251" Type="http://schemas.openxmlformats.org/officeDocument/2006/relationships/tags" Target="../tags/tag404.xml"/><Relationship Id="rId256" Type="http://schemas.openxmlformats.org/officeDocument/2006/relationships/tags" Target="../tags/tag409.xml"/><Relationship Id="rId25" Type="http://schemas.openxmlformats.org/officeDocument/2006/relationships/tags" Target="../tags/tag178.xml"/><Relationship Id="rId46" Type="http://schemas.openxmlformats.org/officeDocument/2006/relationships/tags" Target="../tags/tag199.xml"/><Relationship Id="rId67" Type="http://schemas.openxmlformats.org/officeDocument/2006/relationships/tags" Target="../tags/tag220.xml"/><Relationship Id="rId116" Type="http://schemas.openxmlformats.org/officeDocument/2006/relationships/tags" Target="../tags/tag269.xml"/><Relationship Id="rId137" Type="http://schemas.openxmlformats.org/officeDocument/2006/relationships/tags" Target="../tags/tag290.xml"/><Relationship Id="rId158" Type="http://schemas.openxmlformats.org/officeDocument/2006/relationships/tags" Target="../tags/tag311.xml"/><Relationship Id="rId272" Type="http://schemas.openxmlformats.org/officeDocument/2006/relationships/image" Target="../media/image25.png"/><Relationship Id="rId20" Type="http://schemas.openxmlformats.org/officeDocument/2006/relationships/tags" Target="../tags/tag173.xml"/><Relationship Id="rId41" Type="http://schemas.openxmlformats.org/officeDocument/2006/relationships/tags" Target="../tags/tag194.xml"/><Relationship Id="rId62" Type="http://schemas.openxmlformats.org/officeDocument/2006/relationships/tags" Target="../tags/tag215.xml"/><Relationship Id="rId83" Type="http://schemas.openxmlformats.org/officeDocument/2006/relationships/tags" Target="../tags/tag236.xml"/><Relationship Id="rId88" Type="http://schemas.openxmlformats.org/officeDocument/2006/relationships/tags" Target="../tags/tag241.xml"/><Relationship Id="rId111" Type="http://schemas.openxmlformats.org/officeDocument/2006/relationships/tags" Target="../tags/tag264.xml"/><Relationship Id="rId132" Type="http://schemas.openxmlformats.org/officeDocument/2006/relationships/tags" Target="../tags/tag285.xml"/><Relationship Id="rId153" Type="http://schemas.openxmlformats.org/officeDocument/2006/relationships/tags" Target="../tags/tag306.xml"/><Relationship Id="rId174" Type="http://schemas.openxmlformats.org/officeDocument/2006/relationships/tags" Target="../tags/tag327.xml"/><Relationship Id="rId179" Type="http://schemas.openxmlformats.org/officeDocument/2006/relationships/tags" Target="../tags/tag332.xml"/><Relationship Id="rId195" Type="http://schemas.openxmlformats.org/officeDocument/2006/relationships/tags" Target="../tags/tag348.xml"/><Relationship Id="rId209" Type="http://schemas.openxmlformats.org/officeDocument/2006/relationships/tags" Target="../tags/tag362.xml"/><Relationship Id="rId190" Type="http://schemas.openxmlformats.org/officeDocument/2006/relationships/tags" Target="../tags/tag343.xml"/><Relationship Id="rId204" Type="http://schemas.openxmlformats.org/officeDocument/2006/relationships/tags" Target="../tags/tag357.xml"/><Relationship Id="rId220" Type="http://schemas.openxmlformats.org/officeDocument/2006/relationships/tags" Target="../tags/tag373.xml"/><Relationship Id="rId225" Type="http://schemas.openxmlformats.org/officeDocument/2006/relationships/tags" Target="../tags/tag378.xml"/><Relationship Id="rId241" Type="http://schemas.openxmlformats.org/officeDocument/2006/relationships/tags" Target="../tags/tag394.xml"/><Relationship Id="rId246" Type="http://schemas.openxmlformats.org/officeDocument/2006/relationships/tags" Target="../tags/tag399.xml"/><Relationship Id="rId267" Type="http://schemas.openxmlformats.org/officeDocument/2006/relationships/image" Target="../media/image20.jpeg"/><Relationship Id="rId15" Type="http://schemas.openxmlformats.org/officeDocument/2006/relationships/tags" Target="../tags/tag168.xml"/><Relationship Id="rId36" Type="http://schemas.openxmlformats.org/officeDocument/2006/relationships/tags" Target="../tags/tag189.xml"/><Relationship Id="rId57" Type="http://schemas.openxmlformats.org/officeDocument/2006/relationships/tags" Target="../tags/tag210.xml"/><Relationship Id="rId106" Type="http://schemas.openxmlformats.org/officeDocument/2006/relationships/tags" Target="../tags/tag259.xml"/><Relationship Id="rId127" Type="http://schemas.openxmlformats.org/officeDocument/2006/relationships/tags" Target="../tags/tag280.xml"/><Relationship Id="rId262" Type="http://schemas.openxmlformats.org/officeDocument/2006/relationships/image" Target="../media/image15.png"/><Relationship Id="rId10" Type="http://schemas.openxmlformats.org/officeDocument/2006/relationships/tags" Target="../tags/tag163.xml"/><Relationship Id="rId31" Type="http://schemas.openxmlformats.org/officeDocument/2006/relationships/tags" Target="../tags/tag184.xml"/><Relationship Id="rId52" Type="http://schemas.openxmlformats.org/officeDocument/2006/relationships/tags" Target="../tags/tag205.xml"/><Relationship Id="rId73" Type="http://schemas.openxmlformats.org/officeDocument/2006/relationships/tags" Target="../tags/tag226.xml"/><Relationship Id="rId78" Type="http://schemas.openxmlformats.org/officeDocument/2006/relationships/tags" Target="../tags/tag231.xml"/><Relationship Id="rId94" Type="http://schemas.openxmlformats.org/officeDocument/2006/relationships/tags" Target="../tags/tag247.xml"/><Relationship Id="rId99" Type="http://schemas.openxmlformats.org/officeDocument/2006/relationships/tags" Target="../tags/tag252.xml"/><Relationship Id="rId101" Type="http://schemas.openxmlformats.org/officeDocument/2006/relationships/tags" Target="../tags/tag254.xml"/><Relationship Id="rId122" Type="http://schemas.openxmlformats.org/officeDocument/2006/relationships/tags" Target="../tags/tag275.xml"/><Relationship Id="rId143" Type="http://schemas.openxmlformats.org/officeDocument/2006/relationships/tags" Target="../tags/tag296.xml"/><Relationship Id="rId148" Type="http://schemas.openxmlformats.org/officeDocument/2006/relationships/tags" Target="../tags/tag301.xml"/><Relationship Id="rId164" Type="http://schemas.openxmlformats.org/officeDocument/2006/relationships/tags" Target="../tags/tag317.xml"/><Relationship Id="rId169" Type="http://schemas.openxmlformats.org/officeDocument/2006/relationships/tags" Target="../tags/tag322.xml"/><Relationship Id="rId185" Type="http://schemas.openxmlformats.org/officeDocument/2006/relationships/tags" Target="../tags/tag338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80" Type="http://schemas.openxmlformats.org/officeDocument/2006/relationships/tags" Target="../tags/tag333.xml"/><Relationship Id="rId210" Type="http://schemas.openxmlformats.org/officeDocument/2006/relationships/tags" Target="../tags/tag363.xml"/><Relationship Id="rId215" Type="http://schemas.openxmlformats.org/officeDocument/2006/relationships/tags" Target="../tags/tag368.xml"/><Relationship Id="rId236" Type="http://schemas.openxmlformats.org/officeDocument/2006/relationships/tags" Target="../tags/tag389.xml"/><Relationship Id="rId257" Type="http://schemas.openxmlformats.org/officeDocument/2006/relationships/tags" Target="../tags/tag410.xml"/><Relationship Id="rId26" Type="http://schemas.openxmlformats.org/officeDocument/2006/relationships/tags" Target="../tags/tag179.xml"/><Relationship Id="rId231" Type="http://schemas.openxmlformats.org/officeDocument/2006/relationships/tags" Target="../tags/tag384.xml"/><Relationship Id="rId252" Type="http://schemas.openxmlformats.org/officeDocument/2006/relationships/tags" Target="../tags/tag405.xml"/><Relationship Id="rId273" Type="http://schemas.openxmlformats.org/officeDocument/2006/relationships/image" Target="../media/image26.jpeg"/><Relationship Id="rId47" Type="http://schemas.openxmlformats.org/officeDocument/2006/relationships/tags" Target="../tags/tag200.xml"/><Relationship Id="rId68" Type="http://schemas.openxmlformats.org/officeDocument/2006/relationships/tags" Target="../tags/tag221.xml"/><Relationship Id="rId89" Type="http://schemas.openxmlformats.org/officeDocument/2006/relationships/tags" Target="../tags/tag242.xml"/><Relationship Id="rId112" Type="http://schemas.openxmlformats.org/officeDocument/2006/relationships/tags" Target="../tags/tag265.xml"/><Relationship Id="rId133" Type="http://schemas.openxmlformats.org/officeDocument/2006/relationships/tags" Target="../tags/tag286.xml"/><Relationship Id="rId154" Type="http://schemas.openxmlformats.org/officeDocument/2006/relationships/tags" Target="../tags/tag307.xml"/><Relationship Id="rId175" Type="http://schemas.openxmlformats.org/officeDocument/2006/relationships/tags" Target="../tags/tag328.xml"/><Relationship Id="rId196" Type="http://schemas.openxmlformats.org/officeDocument/2006/relationships/tags" Target="../tags/tag349.xml"/><Relationship Id="rId200" Type="http://schemas.openxmlformats.org/officeDocument/2006/relationships/tags" Target="../tags/tag353.xml"/><Relationship Id="rId16" Type="http://schemas.openxmlformats.org/officeDocument/2006/relationships/tags" Target="../tags/tag169.xml"/><Relationship Id="rId221" Type="http://schemas.openxmlformats.org/officeDocument/2006/relationships/tags" Target="../tags/tag374.xml"/><Relationship Id="rId242" Type="http://schemas.openxmlformats.org/officeDocument/2006/relationships/tags" Target="../tags/tag395.xml"/><Relationship Id="rId263" Type="http://schemas.openxmlformats.org/officeDocument/2006/relationships/image" Target="../media/image16.png"/><Relationship Id="rId37" Type="http://schemas.openxmlformats.org/officeDocument/2006/relationships/tags" Target="../tags/tag190.xml"/><Relationship Id="rId58" Type="http://schemas.openxmlformats.org/officeDocument/2006/relationships/tags" Target="../tags/tag211.xml"/><Relationship Id="rId79" Type="http://schemas.openxmlformats.org/officeDocument/2006/relationships/tags" Target="../tags/tag232.xml"/><Relationship Id="rId102" Type="http://schemas.openxmlformats.org/officeDocument/2006/relationships/tags" Target="../tags/tag255.xml"/><Relationship Id="rId123" Type="http://schemas.openxmlformats.org/officeDocument/2006/relationships/tags" Target="../tags/tag276.xml"/><Relationship Id="rId144" Type="http://schemas.openxmlformats.org/officeDocument/2006/relationships/tags" Target="../tags/tag297.xml"/><Relationship Id="rId90" Type="http://schemas.openxmlformats.org/officeDocument/2006/relationships/tags" Target="../tags/tag243.xml"/><Relationship Id="rId165" Type="http://schemas.openxmlformats.org/officeDocument/2006/relationships/tags" Target="../tags/tag318.xml"/><Relationship Id="rId186" Type="http://schemas.openxmlformats.org/officeDocument/2006/relationships/tags" Target="../tags/tag339.xml"/><Relationship Id="rId211" Type="http://schemas.openxmlformats.org/officeDocument/2006/relationships/tags" Target="../tags/tag364.xml"/><Relationship Id="rId232" Type="http://schemas.openxmlformats.org/officeDocument/2006/relationships/tags" Target="../tags/tag385.xml"/><Relationship Id="rId253" Type="http://schemas.openxmlformats.org/officeDocument/2006/relationships/tags" Target="../tags/tag406.xml"/><Relationship Id="rId27" Type="http://schemas.openxmlformats.org/officeDocument/2006/relationships/tags" Target="../tags/tag180.xml"/><Relationship Id="rId48" Type="http://schemas.openxmlformats.org/officeDocument/2006/relationships/tags" Target="../tags/tag201.xml"/><Relationship Id="rId69" Type="http://schemas.openxmlformats.org/officeDocument/2006/relationships/tags" Target="../tags/tag222.xml"/><Relationship Id="rId113" Type="http://schemas.openxmlformats.org/officeDocument/2006/relationships/tags" Target="../tags/tag266.xml"/><Relationship Id="rId134" Type="http://schemas.openxmlformats.org/officeDocument/2006/relationships/tags" Target="../tags/tag287.xml"/><Relationship Id="rId80" Type="http://schemas.openxmlformats.org/officeDocument/2006/relationships/tags" Target="../tags/tag233.xml"/><Relationship Id="rId155" Type="http://schemas.openxmlformats.org/officeDocument/2006/relationships/tags" Target="../tags/tag308.xml"/><Relationship Id="rId176" Type="http://schemas.openxmlformats.org/officeDocument/2006/relationships/tags" Target="../tags/tag329.xml"/><Relationship Id="rId197" Type="http://schemas.openxmlformats.org/officeDocument/2006/relationships/tags" Target="../tags/tag350.xml"/><Relationship Id="rId201" Type="http://schemas.openxmlformats.org/officeDocument/2006/relationships/tags" Target="../tags/tag354.xml"/><Relationship Id="rId222" Type="http://schemas.openxmlformats.org/officeDocument/2006/relationships/tags" Target="../tags/tag375.xml"/><Relationship Id="rId243" Type="http://schemas.openxmlformats.org/officeDocument/2006/relationships/tags" Target="../tags/tag396.xml"/><Relationship Id="rId264" Type="http://schemas.openxmlformats.org/officeDocument/2006/relationships/image" Target="../media/image17.png"/><Relationship Id="rId17" Type="http://schemas.openxmlformats.org/officeDocument/2006/relationships/tags" Target="../tags/tag170.xml"/><Relationship Id="rId38" Type="http://schemas.openxmlformats.org/officeDocument/2006/relationships/tags" Target="../tags/tag191.xml"/><Relationship Id="rId59" Type="http://schemas.openxmlformats.org/officeDocument/2006/relationships/tags" Target="../tags/tag212.xml"/><Relationship Id="rId103" Type="http://schemas.openxmlformats.org/officeDocument/2006/relationships/tags" Target="../tags/tag256.xml"/><Relationship Id="rId124" Type="http://schemas.openxmlformats.org/officeDocument/2006/relationships/tags" Target="../tags/tag277.xml"/><Relationship Id="rId70" Type="http://schemas.openxmlformats.org/officeDocument/2006/relationships/tags" Target="../tags/tag223.xml"/><Relationship Id="rId91" Type="http://schemas.openxmlformats.org/officeDocument/2006/relationships/tags" Target="../tags/tag244.xml"/><Relationship Id="rId145" Type="http://schemas.openxmlformats.org/officeDocument/2006/relationships/tags" Target="../tags/tag298.xml"/><Relationship Id="rId166" Type="http://schemas.openxmlformats.org/officeDocument/2006/relationships/tags" Target="../tags/tag319.xml"/><Relationship Id="rId187" Type="http://schemas.openxmlformats.org/officeDocument/2006/relationships/tags" Target="../tags/tag340.xml"/><Relationship Id="rId1" Type="http://schemas.openxmlformats.org/officeDocument/2006/relationships/vmlDrawing" Target="../drawings/vmlDrawing15.vml"/><Relationship Id="rId212" Type="http://schemas.openxmlformats.org/officeDocument/2006/relationships/tags" Target="../tags/tag365.xml"/><Relationship Id="rId233" Type="http://schemas.openxmlformats.org/officeDocument/2006/relationships/tags" Target="../tags/tag386.xml"/><Relationship Id="rId254" Type="http://schemas.openxmlformats.org/officeDocument/2006/relationships/tags" Target="../tags/tag407.xml"/><Relationship Id="rId28" Type="http://schemas.openxmlformats.org/officeDocument/2006/relationships/tags" Target="../tags/tag181.xml"/><Relationship Id="rId49" Type="http://schemas.openxmlformats.org/officeDocument/2006/relationships/tags" Target="../tags/tag202.xml"/><Relationship Id="rId114" Type="http://schemas.openxmlformats.org/officeDocument/2006/relationships/tags" Target="../tags/tag26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417.xml"/><Relationship Id="rId13" Type="http://schemas.openxmlformats.org/officeDocument/2006/relationships/tags" Target="../tags/tag422.xml"/><Relationship Id="rId18" Type="http://schemas.openxmlformats.org/officeDocument/2006/relationships/oleObject" Target="../embeddings/oleObject16.bin"/><Relationship Id="rId3" Type="http://schemas.openxmlformats.org/officeDocument/2006/relationships/tags" Target="../tags/tag412.xml"/><Relationship Id="rId7" Type="http://schemas.openxmlformats.org/officeDocument/2006/relationships/tags" Target="../tags/tag416.xml"/><Relationship Id="rId12" Type="http://schemas.openxmlformats.org/officeDocument/2006/relationships/tags" Target="../tags/tag421.xml"/><Relationship Id="rId17" Type="http://schemas.openxmlformats.org/officeDocument/2006/relationships/notesSlide" Target="../notesSlides/notesSlide13.xml"/><Relationship Id="rId2" Type="http://schemas.openxmlformats.org/officeDocument/2006/relationships/tags" Target="../tags/tag411.xml"/><Relationship Id="rId16" Type="http://schemas.openxmlformats.org/officeDocument/2006/relationships/slideLayout" Target="../slideLayouts/slideLayout10.xml"/><Relationship Id="rId1" Type="http://schemas.openxmlformats.org/officeDocument/2006/relationships/vmlDrawing" Target="../drawings/vmlDrawing16.vml"/><Relationship Id="rId6" Type="http://schemas.openxmlformats.org/officeDocument/2006/relationships/tags" Target="../tags/tag415.xml"/><Relationship Id="rId11" Type="http://schemas.openxmlformats.org/officeDocument/2006/relationships/tags" Target="../tags/tag420.xml"/><Relationship Id="rId5" Type="http://schemas.openxmlformats.org/officeDocument/2006/relationships/tags" Target="../tags/tag414.xml"/><Relationship Id="rId15" Type="http://schemas.openxmlformats.org/officeDocument/2006/relationships/tags" Target="../tags/tag424.xml"/><Relationship Id="rId10" Type="http://schemas.openxmlformats.org/officeDocument/2006/relationships/tags" Target="../tags/tag419.xml"/><Relationship Id="rId19" Type="http://schemas.openxmlformats.org/officeDocument/2006/relationships/image" Target="../media/image27.jpeg"/><Relationship Id="rId4" Type="http://schemas.openxmlformats.org/officeDocument/2006/relationships/tags" Target="../tags/tag413.xml"/><Relationship Id="rId9" Type="http://schemas.openxmlformats.org/officeDocument/2006/relationships/tags" Target="../tags/tag418.xml"/><Relationship Id="rId14" Type="http://schemas.openxmlformats.org/officeDocument/2006/relationships/tags" Target="../tags/tag42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431.xml"/><Relationship Id="rId13" Type="http://schemas.openxmlformats.org/officeDocument/2006/relationships/tags" Target="../tags/tag436.xml"/><Relationship Id="rId18" Type="http://schemas.openxmlformats.org/officeDocument/2006/relationships/tags" Target="../tags/tag441.xml"/><Relationship Id="rId26" Type="http://schemas.openxmlformats.org/officeDocument/2006/relationships/image" Target="../media/image32.jpeg"/><Relationship Id="rId3" Type="http://schemas.openxmlformats.org/officeDocument/2006/relationships/tags" Target="../tags/tag426.xml"/><Relationship Id="rId21" Type="http://schemas.openxmlformats.org/officeDocument/2006/relationships/oleObject" Target="../embeddings/oleObject17.bin"/><Relationship Id="rId7" Type="http://schemas.openxmlformats.org/officeDocument/2006/relationships/tags" Target="../tags/tag430.xml"/><Relationship Id="rId12" Type="http://schemas.openxmlformats.org/officeDocument/2006/relationships/tags" Target="../tags/tag435.xml"/><Relationship Id="rId17" Type="http://schemas.openxmlformats.org/officeDocument/2006/relationships/tags" Target="../tags/tag440.xml"/><Relationship Id="rId25" Type="http://schemas.openxmlformats.org/officeDocument/2006/relationships/image" Target="../media/image31.jpeg"/><Relationship Id="rId2" Type="http://schemas.openxmlformats.org/officeDocument/2006/relationships/tags" Target="../tags/tag425.xml"/><Relationship Id="rId16" Type="http://schemas.openxmlformats.org/officeDocument/2006/relationships/tags" Target="../tags/tag439.xml"/><Relationship Id="rId20" Type="http://schemas.openxmlformats.org/officeDocument/2006/relationships/notesSlide" Target="../notesSlides/notesSlide14.xml"/><Relationship Id="rId1" Type="http://schemas.openxmlformats.org/officeDocument/2006/relationships/vmlDrawing" Target="../drawings/vmlDrawing17.vml"/><Relationship Id="rId6" Type="http://schemas.openxmlformats.org/officeDocument/2006/relationships/tags" Target="../tags/tag429.xml"/><Relationship Id="rId11" Type="http://schemas.openxmlformats.org/officeDocument/2006/relationships/tags" Target="../tags/tag434.xml"/><Relationship Id="rId24" Type="http://schemas.openxmlformats.org/officeDocument/2006/relationships/image" Target="../media/image30.jpeg"/><Relationship Id="rId5" Type="http://schemas.openxmlformats.org/officeDocument/2006/relationships/tags" Target="../tags/tag428.xml"/><Relationship Id="rId15" Type="http://schemas.openxmlformats.org/officeDocument/2006/relationships/tags" Target="../tags/tag438.xml"/><Relationship Id="rId23" Type="http://schemas.openxmlformats.org/officeDocument/2006/relationships/image" Target="../media/image29.jpeg"/><Relationship Id="rId28" Type="http://schemas.openxmlformats.org/officeDocument/2006/relationships/image" Target="../media/image34.jpeg"/><Relationship Id="rId10" Type="http://schemas.openxmlformats.org/officeDocument/2006/relationships/tags" Target="../tags/tag433.xml"/><Relationship Id="rId19" Type="http://schemas.openxmlformats.org/officeDocument/2006/relationships/slideLayout" Target="../slideLayouts/slideLayout10.xml"/><Relationship Id="rId4" Type="http://schemas.openxmlformats.org/officeDocument/2006/relationships/tags" Target="../tags/tag427.xml"/><Relationship Id="rId9" Type="http://schemas.openxmlformats.org/officeDocument/2006/relationships/tags" Target="../tags/tag432.xml"/><Relationship Id="rId14" Type="http://schemas.openxmlformats.org/officeDocument/2006/relationships/tags" Target="../tags/tag437.xml"/><Relationship Id="rId22" Type="http://schemas.openxmlformats.org/officeDocument/2006/relationships/image" Target="../media/image28.jpeg"/><Relationship Id="rId27" Type="http://schemas.openxmlformats.org/officeDocument/2006/relationships/image" Target="../media/image33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42.xml"/><Relationship Id="rId1" Type="http://schemas.openxmlformats.org/officeDocument/2006/relationships/vmlDrawing" Target="../drawings/vmlDrawing18.vml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9.jpeg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0.png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45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14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1.png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7" Type="http://schemas.openxmlformats.org/officeDocument/2006/relationships/oleObject" Target="../embeddings/oleObject12.bin"/><Relationship Id="rId2" Type="http://schemas.openxmlformats.org/officeDocument/2006/relationships/tags" Target="../tags/tag148.xml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15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2.png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el 1"/>
          <p:cNvSpPr>
            <a:spLocks noGrp="1"/>
          </p:cNvSpPr>
          <p:nvPr>
            <p:ph type="ctrTitle"/>
          </p:nvPr>
        </p:nvSpPr>
        <p:spPr>
          <a:xfrm>
            <a:off x="0" y="395784"/>
            <a:ext cx="12198350" cy="6462216"/>
          </a:xfrm>
        </p:spPr>
        <p:txBody>
          <a:bodyPr/>
          <a:lstStyle/>
          <a:p>
            <a:pPr eaLnBrk="1" hangingPunct="1"/>
            <a:r>
              <a:rPr lang="ru-RU" sz="3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Инновационные кластеры и Индустрия 4.0: в цифровой экономике: </a:t>
            </a:r>
            <a:r>
              <a:rPr lang="ru-RU" sz="3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/>
            </a:r>
            <a:br>
              <a:rPr lang="ru-RU" sz="3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</a:br>
            <a:r>
              <a:rPr lang="ru-RU" sz="3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сущность</a:t>
            </a:r>
            <a:r>
              <a:rPr lang="ru-RU" sz="3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, перспективы развития</a:t>
            </a:r>
            <a:br>
              <a:rPr lang="ru-RU" sz="3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</a:br>
            <a:r>
              <a:rPr lang="ru-RU" sz="3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ЧАСТЬ </a:t>
            </a:r>
            <a:r>
              <a:rPr lang="ru-RU" sz="3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3</a:t>
            </a:r>
            <a:br>
              <a:rPr lang="ru-RU" sz="3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</a:br>
            <a:r>
              <a:rPr lang="ru-RU" sz="3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Бабкин А.В. </a:t>
            </a:r>
            <a:endParaRPr lang="de-DE" sz="3200" dirty="0"/>
          </a:p>
        </p:txBody>
      </p:sp>
      <p:sp>
        <p:nvSpPr>
          <p:cNvPr id="26627" name="Untertitel 2"/>
          <p:cNvSpPr>
            <a:spLocks noGrp="1"/>
          </p:cNvSpPr>
          <p:nvPr>
            <p:ph type="subTitle" idx="1"/>
          </p:nvPr>
        </p:nvSpPr>
        <p:spPr>
          <a:xfrm>
            <a:off x="338138" y="354842"/>
            <a:ext cx="11860212" cy="45719"/>
          </a:xfrm>
          <a:solidFill>
            <a:srgbClr val="233746">
              <a:alpha val="65097"/>
            </a:srgbClr>
          </a:solidFill>
        </p:spPr>
        <p:txBody>
          <a:bodyPr/>
          <a:lstStyle/>
          <a:p>
            <a:pPr marL="0" indent="0" eaLnBrk="1" hangingPunct="1"/>
            <a:endParaRPr kumimoji="0" lang="ru-RU" dirty="0"/>
          </a:p>
        </p:txBody>
      </p:sp>
      <p:sp>
        <p:nvSpPr>
          <p:cNvPr id="26628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ts val="300"/>
              </a:spcBef>
            </a:pPr>
            <a:endParaRPr kumimoji="0" lang="ru-RU" sz="100">
              <a:solidFill>
                <a:srgbClr val="FFFFFF"/>
              </a:solidFill>
            </a:endParaRPr>
          </a:p>
        </p:txBody>
      </p:sp>
    </p:spTree>
    <p:custDataLst>
      <p:tags r:id="rId1"/>
    </p:custData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el 1"/>
          <p:cNvSpPr>
            <a:spLocks noGrp="1"/>
          </p:cNvSpPr>
          <p:nvPr>
            <p:ph type="ctrTitle"/>
          </p:nvPr>
        </p:nvSpPr>
        <p:spPr>
          <a:xfrm>
            <a:off x="0" y="1"/>
            <a:ext cx="12198350" cy="6249988"/>
          </a:xfrm>
        </p:spPr>
        <p:txBody>
          <a:bodyPr/>
          <a:lstStyle/>
          <a:p>
            <a:pPr eaLnBrk="1" hangingPunct="1"/>
            <a:r>
              <a:rPr lang="ru-RU"/>
              <a:t>На пути к Индустрии </a:t>
            </a:r>
            <a:r>
              <a:rPr lang="de-DE"/>
              <a:t>4.0 –</a:t>
            </a:r>
            <a:br>
              <a:rPr lang="de-DE"/>
            </a:br>
            <a:r>
              <a:rPr lang="ru-RU"/>
              <a:t>Цифровое предприятие в инновационной экономике</a:t>
            </a:r>
            <a:endParaRPr lang="de-DE"/>
          </a:p>
        </p:txBody>
      </p:sp>
      <p:sp>
        <p:nvSpPr>
          <p:cNvPr id="27651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ts val="300"/>
              </a:spcBef>
            </a:pPr>
            <a:endParaRPr lang="ru-RU" sz="100">
              <a:solidFill>
                <a:srgbClr val="FFFFFF"/>
              </a:solidFill>
            </a:endParaRPr>
          </a:p>
        </p:txBody>
      </p:sp>
      <p:sp>
        <p:nvSpPr>
          <p:cNvPr id="27652" name="Подзаголовок 4"/>
          <p:cNvSpPr>
            <a:spLocks noGrp="1"/>
          </p:cNvSpPr>
          <p:nvPr>
            <p:ph type="subTitle" idx="1"/>
          </p:nvPr>
        </p:nvSpPr>
        <p:spPr>
          <a:xfrm>
            <a:off x="338138" y="3756025"/>
            <a:ext cx="11860212" cy="393700"/>
          </a:xfrm>
          <a:solidFill>
            <a:srgbClr val="233746">
              <a:alpha val="65097"/>
            </a:srgbClr>
          </a:solidFill>
        </p:spPr>
        <p:txBody>
          <a:bodyPr/>
          <a:lstStyle/>
          <a:p>
            <a:pPr eaLnBrk="1" hangingPunct="1"/>
            <a:endParaRPr lang="ru-RU"/>
          </a:p>
        </p:txBody>
      </p:sp>
      <p:sp>
        <p:nvSpPr>
          <p:cNvPr id="27653" name="TextBox 2"/>
          <p:cNvSpPr txBox="1">
            <a:spLocks noChangeArrowheads="1"/>
          </p:cNvSpPr>
          <p:nvPr/>
        </p:nvSpPr>
        <p:spPr bwMode="auto">
          <a:xfrm>
            <a:off x="1831975" y="471488"/>
            <a:ext cx="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ts val="300"/>
              </a:spcBef>
            </a:pPr>
            <a:endParaRPr lang="ru-RU" sz="1200">
              <a:solidFill>
                <a:schemeClr val="tx1"/>
              </a:solidFill>
            </a:endParaRPr>
          </a:p>
        </p:txBody>
      </p:sp>
    </p:spTree>
    <p:custDataLst>
      <p:tags r:id="rId1"/>
    </p:custData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kt 7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338" name="think-cell Slide" r:id="rId7" imgW="360" imgH="360" progId="">
              <p:embed/>
            </p:oleObj>
          </a:graphicData>
        </a:graphic>
      </p:graphicFrame>
      <p:sp>
        <p:nvSpPr>
          <p:cNvPr id="14339" name="Ellipse 3"/>
          <p:cNvSpPr>
            <a:spLocks/>
          </p:cNvSpPr>
          <p:nvPr/>
        </p:nvSpPr>
        <p:spPr bwMode="auto">
          <a:xfrm>
            <a:off x="0" y="1408113"/>
            <a:ext cx="4532313" cy="4694237"/>
          </a:xfrm>
          <a:custGeom>
            <a:avLst/>
            <a:gdLst>
              <a:gd name="T0" fmla="*/ 20132968 w 2040567"/>
              <a:gd name="T1" fmla="*/ 0 h 2113077"/>
              <a:gd name="T2" fmla="*/ 22362121 w 2040567"/>
              <a:gd name="T3" fmla="*/ 7911158 h 2113077"/>
              <a:gd name="T4" fmla="*/ 7113599 w 2040567"/>
              <a:gd name="T5" fmla="*/ 23165351 h 2113077"/>
              <a:gd name="T6" fmla="*/ 0 w 2040567"/>
              <a:gd name="T7" fmla="*/ 21398836 h 2113077"/>
              <a:gd name="T8" fmla="*/ 0 60000 65536"/>
              <a:gd name="T9" fmla="*/ 0 60000 65536"/>
              <a:gd name="T10" fmla="*/ 0 60000 65536"/>
              <a:gd name="T11" fmla="*/ 0 60000 65536"/>
              <a:gd name="T12" fmla="*/ 0 w 2040567"/>
              <a:gd name="T13" fmla="*/ 0 h 2113077"/>
              <a:gd name="T14" fmla="*/ 2040567 w 2040567"/>
              <a:gd name="T15" fmla="*/ 2113077 h 211307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040567" h="2113077">
                <a:moveTo>
                  <a:pt x="1837155" y="0"/>
                </a:moveTo>
                <a:cubicBezTo>
                  <a:pt x="1966730" y="209749"/>
                  <a:pt x="2040567" y="457068"/>
                  <a:pt x="2040567" y="721633"/>
                </a:cubicBezTo>
                <a:cubicBezTo>
                  <a:pt x="2040567" y="1490106"/>
                  <a:pt x="1417596" y="2113077"/>
                  <a:pt x="649123" y="2113077"/>
                </a:cubicBezTo>
                <a:cubicBezTo>
                  <a:pt x="414562" y="2113077"/>
                  <a:pt x="193556" y="2055038"/>
                  <a:pt x="0" y="1951940"/>
                </a:cubicBezTo>
              </a:path>
            </a:pathLst>
          </a:custGeom>
          <a:noFill/>
          <a:ln w="19050">
            <a:solidFill>
              <a:srgbClr val="55A0B9"/>
            </a:solidFill>
            <a:round/>
            <a:headEnd/>
            <a:tailEnd/>
          </a:ln>
        </p:spPr>
        <p:txBody>
          <a:bodyPr lIns="108000" tIns="54000" rIns="108000" bIns="54000" anchor="ctr"/>
          <a:lstStyle/>
          <a:p>
            <a:endParaRPr lang="ru-RU"/>
          </a:p>
        </p:txBody>
      </p:sp>
      <p:sp>
        <p:nvSpPr>
          <p:cNvPr id="14340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Индустрия </a:t>
            </a:r>
            <a:r>
              <a:rPr lang="en-US" smtClean="0"/>
              <a:t>4.0 –</a:t>
            </a:r>
            <a:r>
              <a:rPr lang="ru-RU" smtClean="0"/>
              <a:t> проект будущего, отражающий видение промышленного производства после 2025 г.</a:t>
            </a:r>
            <a:endParaRPr lang="en-US" smtClean="0"/>
          </a:p>
        </p:txBody>
      </p:sp>
      <p:pic>
        <p:nvPicPr>
          <p:cNvPr id="14341" name="Grafik 5"/>
          <p:cNvPicPr>
            <a:picLocks/>
          </p:cNvPicPr>
          <p:nvPr/>
        </p:nvPicPr>
        <p:blipFill>
          <a:blip r:embed="rId8"/>
          <a:srcRect/>
          <a:stretch>
            <a:fillRect/>
          </a:stretch>
        </p:blipFill>
        <p:spPr bwMode="gray">
          <a:xfrm>
            <a:off x="274638" y="2320925"/>
            <a:ext cx="3649662" cy="2352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42" name="Rectangle 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373688" y="4384675"/>
            <a:ext cx="6342062" cy="16922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6213" indent="-176213">
              <a:spcAft>
                <a:spcPts val="1200"/>
              </a:spcAft>
              <a:buClr>
                <a:srgbClr val="006487"/>
              </a:buClr>
              <a:buFont typeface="Wingdings" pitchFamily="2" charset="2"/>
              <a:buNone/>
              <a:tabLst>
                <a:tab pos="88900" algn="l"/>
                <a:tab pos="631825" algn="l"/>
                <a:tab pos="981075" algn="l"/>
              </a:tabLst>
            </a:pPr>
            <a:r>
              <a:rPr lang="ru-RU" sz="2000" b="1">
                <a:solidFill>
                  <a:srgbClr val="006487"/>
                </a:solidFill>
              </a:rPr>
              <a:t>Ключевые сферы исследований</a:t>
            </a:r>
            <a:endParaRPr lang="en-US" sz="2000" b="1">
              <a:solidFill>
                <a:srgbClr val="006487"/>
              </a:solidFill>
            </a:endParaRPr>
          </a:p>
          <a:p>
            <a:pPr marL="227013" lvl="1" indent="-227013">
              <a:buClr>
                <a:schemeClr val="accent1"/>
              </a:buClr>
              <a:buSzPct val="100000"/>
              <a:buFont typeface="Arial" pitchFamily="34" charset="0"/>
              <a:buChar char="•"/>
              <a:tabLst>
                <a:tab pos="88900" algn="l"/>
                <a:tab pos="631825" algn="l"/>
                <a:tab pos="981075" algn="l"/>
              </a:tabLst>
            </a:pPr>
            <a:r>
              <a:rPr lang="ru-RU" sz="1600">
                <a:solidFill>
                  <a:schemeClr val="tx1"/>
                </a:solidFill>
              </a:rPr>
              <a:t>Горизонтальная интеграция с партнерами, предоставляющими дополнительные возможности</a:t>
            </a:r>
            <a:endParaRPr lang="en-US" sz="1600">
              <a:solidFill>
                <a:schemeClr val="tx1"/>
              </a:solidFill>
            </a:endParaRPr>
          </a:p>
          <a:p>
            <a:pPr marL="227013" lvl="1" indent="-227013">
              <a:buClr>
                <a:schemeClr val="accent1"/>
              </a:buClr>
              <a:buSzPct val="100000"/>
              <a:buFont typeface="Arial" pitchFamily="34" charset="0"/>
              <a:buChar char="•"/>
              <a:tabLst>
                <a:tab pos="88900" algn="l"/>
                <a:tab pos="631825" algn="l"/>
                <a:tab pos="981075" algn="l"/>
              </a:tabLst>
            </a:pPr>
            <a:r>
              <a:rPr lang="ru-RU" sz="1600">
                <a:solidFill>
                  <a:schemeClr val="tx1"/>
                </a:solidFill>
              </a:rPr>
              <a:t>Комплексный инжиниринг на протяжении всей цепочки создания добавленной стоимости</a:t>
            </a:r>
            <a:endParaRPr lang="en-US" sz="1600">
              <a:solidFill>
                <a:schemeClr val="tx1"/>
              </a:solidFill>
            </a:endParaRPr>
          </a:p>
          <a:p>
            <a:pPr marL="227013" lvl="1" indent="-227013">
              <a:buClr>
                <a:schemeClr val="accent1"/>
              </a:buClr>
              <a:buSzPct val="100000"/>
              <a:buFont typeface="Arial" pitchFamily="34" charset="0"/>
              <a:buChar char="•"/>
              <a:tabLst>
                <a:tab pos="88900" algn="l"/>
                <a:tab pos="631825" algn="l"/>
                <a:tab pos="981075" algn="l"/>
              </a:tabLst>
            </a:pPr>
            <a:r>
              <a:rPr lang="ru-RU" sz="1600">
                <a:solidFill>
                  <a:schemeClr val="tx1"/>
                </a:solidFill>
              </a:rPr>
              <a:t>Вертикальная интеграция и сетевые системы производства</a:t>
            </a: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4343" name="Rectangle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373688" y="1412875"/>
            <a:ext cx="6342062" cy="21859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6213" indent="-176213">
              <a:spcAft>
                <a:spcPts val="1200"/>
              </a:spcAft>
              <a:buClr>
                <a:srgbClr val="006487"/>
              </a:buClr>
              <a:buFont typeface="Wingdings" pitchFamily="2" charset="2"/>
              <a:buNone/>
              <a:tabLst>
                <a:tab pos="88900" algn="l"/>
                <a:tab pos="631825" algn="l"/>
                <a:tab pos="981075" algn="l"/>
              </a:tabLst>
            </a:pPr>
            <a:r>
              <a:rPr lang="ru-RU" sz="2000" b="1">
                <a:solidFill>
                  <a:srgbClr val="006487"/>
                </a:solidFill>
              </a:rPr>
              <a:t>Индустрия </a:t>
            </a:r>
            <a:r>
              <a:rPr lang="en-US" sz="2000" b="1">
                <a:solidFill>
                  <a:srgbClr val="006487"/>
                </a:solidFill>
              </a:rPr>
              <a:t>4.0 …</a:t>
            </a:r>
          </a:p>
          <a:p>
            <a:pPr marL="176213" indent="-176213">
              <a:buClr>
                <a:schemeClr val="accent1"/>
              </a:buClr>
              <a:buFont typeface="Arial" pitchFamily="34" charset="0"/>
              <a:buChar char="•"/>
              <a:tabLst>
                <a:tab pos="88900" algn="l"/>
                <a:tab pos="631825" algn="l"/>
                <a:tab pos="981075" algn="l"/>
              </a:tabLst>
            </a:pPr>
            <a:r>
              <a:rPr lang="ru-RU" sz="1600">
                <a:solidFill>
                  <a:schemeClr val="tx1"/>
                </a:solidFill>
              </a:rPr>
              <a:t>Представляет собой новый уровень организации и контроля всей цепочки создания добавленной стоимости на протяжении жизненного цикла продуктов</a:t>
            </a:r>
            <a:endParaRPr lang="en-US" sz="1600">
              <a:solidFill>
                <a:schemeClr val="tx1"/>
              </a:solidFill>
            </a:endParaRPr>
          </a:p>
          <a:p>
            <a:pPr marL="176213" indent="-176213">
              <a:buClr>
                <a:schemeClr val="accent1"/>
              </a:buClr>
              <a:buFont typeface="Arial" pitchFamily="34" charset="0"/>
              <a:buChar char="•"/>
              <a:tabLst>
                <a:tab pos="88900" algn="l"/>
                <a:tab pos="631825" algn="l"/>
                <a:tab pos="981075" algn="l"/>
              </a:tabLst>
            </a:pPr>
            <a:r>
              <a:rPr lang="ru-RU" sz="1600">
                <a:solidFill>
                  <a:schemeClr val="tx1"/>
                </a:solidFill>
              </a:rPr>
              <a:t>Лучше адаптирована к индивидуальным запросам заказчика</a:t>
            </a:r>
          </a:p>
          <a:p>
            <a:pPr marL="176213" indent="-176213">
              <a:buClr>
                <a:schemeClr val="accent1"/>
              </a:buClr>
              <a:buFont typeface="Arial" pitchFamily="34" charset="0"/>
              <a:buChar char="•"/>
              <a:tabLst>
                <a:tab pos="88900" algn="l"/>
                <a:tab pos="631825" algn="l"/>
                <a:tab pos="981075" algn="l"/>
              </a:tabLst>
            </a:pPr>
            <a:r>
              <a:rPr lang="ru-RU" sz="1600">
                <a:solidFill>
                  <a:schemeClr val="tx1"/>
                </a:solidFill>
              </a:rPr>
              <a:t>Включает все этапы: от идеи и заказа до разработки и производства</a:t>
            </a:r>
            <a:r>
              <a:rPr lang="en-US" sz="1600">
                <a:solidFill>
                  <a:schemeClr val="tx1"/>
                </a:solidFill>
              </a:rPr>
              <a:t>, </a:t>
            </a:r>
            <a:r>
              <a:rPr lang="ru-RU" sz="1600">
                <a:solidFill>
                  <a:schemeClr val="tx1"/>
                </a:solidFill>
              </a:rPr>
              <a:t>поставки продукта конечному заказчику</a:t>
            </a:r>
            <a:r>
              <a:rPr lang="en-US" sz="1600">
                <a:solidFill>
                  <a:schemeClr val="tx1"/>
                </a:solidFill>
              </a:rPr>
              <a:t>, </a:t>
            </a:r>
            <a:r>
              <a:rPr lang="ru-RU" sz="1600">
                <a:solidFill>
                  <a:schemeClr val="tx1"/>
                </a:solidFill>
              </a:rPr>
              <a:t>включая услуги по утилизации и смежные услуги</a:t>
            </a:r>
            <a:endParaRPr lang="en-US" sz="1600" b="1">
              <a:solidFill>
                <a:schemeClr val="tx1"/>
              </a:solidFill>
            </a:endParaRPr>
          </a:p>
        </p:txBody>
      </p:sp>
      <p:cxnSp>
        <p:nvCxnSpPr>
          <p:cNvPr id="14344" name="Gerade Verbindung 12"/>
          <p:cNvCxnSpPr>
            <a:cxnSpLocks noChangeShapeType="1"/>
          </p:cNvCxnSpPr>
          <p:nvPr/>
        </p:nvCxnSpPr>
        <p:spPr bwMode="gray">
          <a:xfrm flipH="1">
            <a:off x="4276725" y="1774825"/>
            <a:ext cx="743902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 type="oval" w="lg" len="lg"/>
          </a:ln>
        </p:spPr>
      </p:cxnSp>
      <p:cxnSp>
        <p:nvCxnSpPr>
          <p:cNvPr id="14345" name="Gerade Verbindung 14"/>
          <p:cNvCxnSpPr>
            <a:cxnSpLocks noChangeShapeType="1"/>
          </p:cNvCxnSpPr>
          <p:nvPr/>
        </p:nvCxnSpPr>
        <p:spPr bwMode="gray">
          <a:xfrm flipH="1">
            <a:off x="3990975" y="4779963"/>
            <a:ext cx="772477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 type="oval" w="lg" len="lg"/>
          </a:ln>
        </p:spPr>
      </p:cxnSp>
      <p:sp>
        <p:nvSpPr>
          <p:cNvPr id="14346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ts val="300"/>
              </a:spcBef>
            </a:pPr>
            <a:endParaRPr lang="ru-RU" sz="100">
              <a:solidFill>
                <a:srgbClr val="FFFFFF"/>
              </a:solidFill>
            </a:endParaRPr>
          </a:p>
        </p:txBody>
      </p:sp>
    </p:spTree>
    <p:custDataLst>
      <p:tags r:id="rId2"/>
    </p:custData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2" hidden="1"/>
          <p:cNvGraphicFramePr>
            <a:graphicFrameLocks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p:oleObj spid="_x0000_s15362" name="think-cell Slide" r:id="rId260" imgW="360" imgH="360" progId="">
              <p:embed/>
            </p:oleObj>
          </a:graphicData>
        </a:graphic>
      </p:graphicFrame>
      <p:grpSp>
        <p:nvGrpSpPr>
          <p:cNvPr id="15363" name="Gruppieren 1"/>
          <p:cNvGrpSpPr>
            <a:grpSpLocks/>
          </p:cNvGrpSpPr>
          <p:nvPr/>
        </p:nvGrpSpPr>
        <p:grpSpPr bwMode="auto">
          <a:xfrm>
            <a:off x="1331913" y="1331913"/>
            <a:ext cx="9656762" cy="4951412"/>
            <a:chOff x="1384385" y="1394942"/>
            <a:chExt cx="9656649" cy="4951264"/>
          </a:xfrm>
        </p:grpSpPr>
        <p:sp>
          <p:nvSpPr>
            <p:cNvPr id="15444" name="Freeform 298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8291400" y="2979059"/>
              <a:ext cx="864406" cy="376258"/>
            </a:xfrm>
            <a:custGeom>
              <a:avLst/>
              <a:gdLst>
                <a:gd name="T0" fmla="*/ 0 w 246"/>
                <a:gd name="T1" fmla="*/ 2147483647 h 102"/>
                <a:gd name="T2" fmla="*/ 2147483647 w 246"/>
                <a:gd name="T3" fmla="*/ 2147483647 h 102"/>
                <a:gd name="T4" fmla="*/ 2147483647 w 246"/>
                <a:gd name="T5" fmla="*/ 2147483647 h 102"/>
                <a:gd name="T6" fmla="*/ 2147483647 w 246"/>
                <a:gd name="T7" fmla="*/ 2147483647 h 102"/>
                <a:gd name="T8" fmla="*/ 2147483647 w 246"/>
                <a:gd name="T9" fmla="*/ 2147483647 h 102"/>
                <a:gd name="T10" fmla="*/ 2147483647 w 246"/>
                <a:gd name="T11" fmla="*/ 2147483647 h 102"/>
                <a:gd name="T12" fmla="*/ 2147483647 w 246"/>
                <a:gd name="T13" fmla="*/ 2147483647 h 102"/>
                <a:gd name="T14" fmla="*/ 2147483647 w 246"/>
                <a:gd name="T15" fmla="*/ 2147483647 h 102"/>
                <a:gd name="T16" fmla="*/ 2147483647 w 246"/>
                <a:gd name="T17" fmla="*/ 2147483647 h 102"/>
                <a:gd name="T18" fmla="*/ 2147483647 w 246"/>
                <a:gd name="T19" fmla="*/ 0 h 102"/>
                <a:gd name="T20" fmla="*/ 2147483647 w 246"/>
                <a:gd name="T21" fmla="*/ 2147483647 h 102"/>
                <a:gd name="T22" fmla="*/ 2147483647 w 246"/>
                <a:gd name="T23" fmla="*/ 2147483647 h 102"/>
                <a:gd name="T24" fmla="*/ 2147483647 w 246"/>
                <a:gd name="T25" fmla="*/ 2147483647 h 102"/>
                <a:gd name="T26" fmla="*/ 2147483647 w 246"/>
                <a:gd name="T27" fmla="*/ 2147483647 h 102"/>
                <a:gd name="T28" fmla="*/ 2147483647 w 246"/>
                <a:gd name="T29" fmla="*/ 2147483647 h 102"/>
                <a:gd name="T30" fmla="*/ 2147483647 w 246"/>
                <a:gd name="T31" fmla="*/ 2147483647 h 102"/>
                <a:gd name="T32" fmla="*/ 2147483647 w 246"/>
                <a:gd name="T33" fmla="*/ 2147483647 h 102"/>
                <a:gd name="T34" fmla="*/ 2147483647 w 246"/>
                <a:gd name="T35" fmla="*/ 2147483647 h 102"/>
                <a:gd name="T36" fmla="*/ 2147483647 w 246"/>
                <a:gd name="T37" fmla="*/ 2147483647 h 102"/>
                <a:gd name="T38" fmla="*/ 2147483647 w 246"/>
                <a:gd name="T39" fmla="*/ 2147483647 h 102"/>
                <a:gd name="T40" fmla="*/ 2147483647 w 246"/>
                <a:gd name="T41" fmla="*/ 2147483647 h 102"/>
                <a:gd name="T42" fmla="*/ 2147483647 w 246"/>
                <a:gd name="T43" fmla="*/ 2147483647 h 102"/>
                <a:gd name="T44" fmla="*/ 2147483647 w 246"/>
                <a:gd name="T45" fmla="*/ 2147483647 h 102"/>
                <a:gd name="T46" fmla="*/ 2147483647 w 246"/>
                <a:gd name="T47" fmla="*/ 2147483647 h 102"/>
                <a:gd name="T48" fmla="*/ 2147483647 w 246"/>
                <a:gd name="T49" fmla="*/ 2147483647 h 102"/>
                <a:gd name="T50" fmla="*/ 2147483647 w 246"/>
                <a:gd name="T51" fmla="*/ 2147483647 h 102"/>
                <a:gd name="T52" fmla="*/ 2147483647 w 246"/>
                <a:gd name="T53" fmla="*/ 2147483647 h 102"/>
                <a:gd name="T54" fmla="*/ 2147483647 w 246"/>
                <a:gd name="T55" fmla="*/ 2147483647 h 102"/>
                <a:gd name="T56" fmla="*/ 2147483647 w 246"/>
                <a:gd name="T57" fmla="*/ 2147483647 h 102"/>
                <a:gd name="T58" fmla="*/ 2147483647 w 246"/>
                <a:gd name="T59" fmla="*/ 2147483647 h 102"/>
                <a:gd name="T60" fmla="*/ 2147483647 w 246"/>
                <a:gd name="T61" fmla="*/ 2147483647 h 102"/>
                <a:gd name="T62" fmla="*/ 2147483647 w 246"/>
                <a:gd name="T63" fmla="*/ 2147483647 h 102"/>
                <a:gd name="T64" fmla="*/ 2147483647 w 246"/>
                <a:gd name="T65" fmla="*/ 2147483647 h 102"/>
                <a:gd name="T66" fmla="*/ 2147483647 w 246"/>
                <a:gd name="T67" fmla="*/ 2147483647 h 102"/>
                <a:gd name="T68" fmla="*/ 2147483647 w 246"/>
                <a:gd name="T69" fmla="*/ 2147483647 h 102"/>
                <a:gd name="T70" fmla="*/ 2147483647 w 246"/>
                <a:gd name="T71" fmla="*/ 2147483647 h 102"/>
                <a:gd name="T72" fmla="*/ 2147483647 w 246"/>
                <a:gd name="T73" fmla="*/ 2147483647 h 102"/>
                <a:gd name="T74" fmla="*/ 2147483647 w 246"/>
                <a:gd name="T75" fmla="*/ 2147483647 h 102"/>
                <a:gd name="T76" fmla="*/ 2147483647 w 246"/>
                <a:gd name="T77" fmla="*/ 2147483647 h 102"/>
                <a:gd name="T78" fmla="*/ 2147483647 w 246"/>
                <a:gd name="T79" fmla="*/ 2147483647 h 102"/>
                <a:gd name="T80" fmla="*/ 2147483647 w 246"/>
                <a:gd name="T81" fmla="*/ 2147483647 h 102"/>
                <a:gd name="T82" fmla="*/ 2147483647 w 246"/>
                <a:gd name="T83" fmla="*/ 2147483647 h 102"/>
                <a:gd name="T84" fmla="*/ 2147483647 w 246"/>
                <a:gd name="T85" fmla="*/ 2147483647 h 102"/>
                <a:gd name="T86" fmla="*/ 2147483647 w 246"/>
                <a:gd name="T87" fmla="*/ 2147483647 h 102"/>
                <a:gd name="T88" fmla="*/ 2147483647 w 246"/>
                <a:gd name="T89" fmla="*/ 2147483647 h 102"/>
                <a:gd name="T90" fmla="*/ 0 w 246"/>
                <a:gd name="T91" fmla="*/ 2147483647 h 1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46"/>
                <a:gd name="T139" fmla="*/ 0 h 102"/>
                <a:gd name="T140" fmla="*/ 246 w 246"/>
                <a:gd name="T141" fmla="*/ 102 h 10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46" h="102">
                  <a:moveTo>
                    <a:pt x="0" y="31"/>
                  </a:move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14" y="23"/>
                    <a:pt x="16" y="21"/>
                  </a:cubicBezTo>
                  <a:cubicBezTo>
                    <a:pt x="19" y="20"/>
                    <a:pt x="28" y="17"/>
                    <a:pt x="32" y="16"/>
                  </a:cubicBezTo>
                  <a:cubicBezTo>
                    <a:pt x="35" y="15"/>
                    <a:pt x="46" y="14"/>
                    <a:pt x="46" y="15"/>
                  </a:cubicBezTo>
                  <a:cubicBezTo>
                    <a:pt x="47" y="16"/>
                    <a:pt x="50" y="19"/>
                    <a:pt x="52" y="21"/>
                  </a:cubicBezTo>
                  <a:cubicBezTo>
                    <a:pt x="54" y="23"/>
                    <a:pt x="66" y="23"/>
                    <a:pt x="70" y="24"/>
                  </a:cubicBezTo>
                  <a:cubicBezTo>
                    <a:pt x="74" y="25"/>
                    <a:pt x="76" y="23"/>
                    <a:pt x="79" y="21"/>
                  </a:cubicBezTo>
                  <a:cubicBezTo>
                    <a:pt x="81" y="19"/>
                    <a:pt x="77" y="12"/>
                    <a:pt x="77" y="10"/>
                  </a:cubicBezTo>
                  <a:cubicBezTo>
                    <a:pt x="77" y="7"/>
                    <a:pt x="82" y="0"/>
                    <a:pt x="84" y="0"/>
                  </a:cubicBezTo>
                  <a:cubicBezTo>
                    <a:pt x="86" y="1"/>
                    <a:pt x="109" y="6"/>
                    <a:pt x="109" y="8"/>
                  </a:cubicBezTo>
                  <a:cubicBezTo>
                    <a:pt x="110" y="10"/>
                    <a:pt x="109" y="12"/>
                    <a:pt x="110" y="15"/>
                  </a:cubicBezTo>
                  <a:cubicBezTo>
                    <a:pt x="111" y="17"/>
                    <a:pt x="118" y="20"/>
                    <a:pt x="122" y="20"/>
                  </a:cubicBezTo>
                  <a:cubicBezTo>
                    <a:pt x="125" y="20"/>
                    <a:pt x="132" y="17"/>
                    <a:pt x="135" y="17"/>
                  </a:cubicBezTo>
                  <a:cubicBezTo>
                    <a:pt x="137" y="18"/>
                    <a:pt x="149" y="20"/>
                    <a:pt x="151" y="21"/>
                  </a:cubicBezTo>
                  <a:cubicBezTo>
                    <a:pt x="153" y="21"/>
                    <a:pt x="155" y="27"/>
                    <a:pt x="157" y="28"/>
                  </a:cubicBezTo>
                  <a:cubicBezTo>
                    <a:pt x="160" y="30"/>
                    <a:pt x="174" y="30"/>
                    <a:pt x="178" y="30"/>
                  </a:cubicBezTo>
                  <a:cubicBezTo>
                    <a:pt x="183" y="29"/>
                    <a:pt x="189" y="28"/>
                    <a:pt x="195" y="23"/>
                  </a:cubicBezTo>
                  <a:cubicBezTo>
                    <a:pt x="200" y="18"/>
                    <a:pt x="208" y="21"/>
                    <a:pt x="211" y="21"/>
                  </a:cubicBezTo>
                  <a:cubicBezTo>
                    <a:pt x="219" y="24"/>
                    <a:pt x="219" y="24"/>
                    <a:pt x="219" y="24"/>
                  </a:cubicBezTo>
                  <a:cubicBezTo>
                    <a:pt x="219" y="25"/>
                    <a:pt x="209" y="39"/>
                    <a:pt x="210" y="40"/>
                  </a:cubicBezTo>
                  <a:cubicBezTo>
                    <a:pt x="210" y="41"/>
                    <a:pt x="213" y="45"/>
                    <a:pt x="214" y="45"/>
                  </a:cubicBezTo>
                  <a:cubicBezTo>
                    <a:pt x="215" y="45"/>
                    <a:pt x="221" y="45"/>
                    <a:pt x="223" y="45"/>
                  </a:cubicBezTo>
                  <a:cubicBezTo>
                    <a:pt x="224" y="45"/>
                    <a:pt x="229" y="41"/>
                    <a:pt x="232" y="41"/>
                  </a:cubicBezTo>
                  <a:cubicBezTo>
                    <a:pt x="235" y="41"/>
                    <a:pt x="242" y="46"/>
                    <a:pt x="244" y="48"/>
                  </a:cubicBezTo>
                  <a:cubicBezTo>
                    <a:pt x="246" y="50"/>
                    <a:pt x="246" y="54"/>
                    <a:pt x="245" y="54"/>
                  </a:cubicBezTo>
                  <a:cubicBezTo>
                    <a:pt x="245" y="55"/>
                    <a:pt x="244" y="57"/>
                    <a:pt x="243" y="57"/>
                  </a:cubicBezTo>
                  <a:cubicBezTo>
                    <a:pt x="242" y="58"/>
                    <a:pt x="238" y="53"/>
                    <a:pt x="236" y="53"/>
                  </a:cubicBezTo>
                  <a:cubicBezTo>
                    <a:pt x="234" y="53"/>
                    <a:pt x="227" y="55"/>
                    <a:pt x="226" y="55"/>
                  </a:cubicBezTo>
                  <a:cubicBezTo>
                    <a:pt x="224" y="56"/>
                    <a:pt x="216" y="63"/>
                    <a:pt x="215" y="64"/>
                  </a:cubicBezTo>
                  <a:cubicBezTo>
                    <a:pt x="214" y="66"/>
                    <a:pt x="203" y="70"/>
                    <a:pt x="200" y="72"/>
                  </a:cubicBezTo>
                  <a:cubicBezTo>
                    <a:pt x="196" y="73"/>
                    <a:pt x="189" y="69"/>
                    <a:pt x="186" y="69"/>
                  </a:cubicBezTo>
                  <a:cubicBezTo>
                    <a:pt x="183" y="69"/>
                    <a:pt x="181" y="72"/>
                    <a:pt x="179" y="75"/>
                  </a:cubicBezTo>
                  <a:cubicBezTo>
                    <a:pt x="178" y="78"/>
                    <a:pt x="183" y="79"/>
                    <a:pt x="183" y="82"/>
                  </a:cubicBezTo>
                  <a:cubicBezTo>
                    <a:pt x="184" y="85"/>
                    <a:pt x="172" y="91"/>
                    <a:pt x="168" y="93"/>
                  </a:cubicBezTo>
                  <a:cubicBezTo>
                    <a:pt x="165" y="95"/>
                    <a:pt x="151" y="95"/>
                    <a:pt x="149" y="95"/>
                  </a:cubicBezTo>
                  <a:cubicBezTo>
                    <a:pt x="146" y="95"/>
                    <a:pt x="132" y="101"/>
                    <a:pt x="129" y="102"/>
                  </a:cubicBezTo>
                  <a:cubicBezTo>
                    <a:pt x="126" y="102"/>
                    <a:pt x="102" y="94"/>
                    <a:pt x="100" y="92"/>
                  </a:cubicBezTo>
                  <a:cubicBezTo>
                    <a:pt x="98" y="91"/>
                    <a:pt x="64" y="92"/>
                    <a:pt x="64" y="91"/>
                  </a:cubicBezTo>
                  <a:cubicBezTo>
                    <a:pt x="64" y="90"/>
                    <a:pt x="57" y="79"/>
                    <a:pt x="54" y="77"/>
                  </a:cubicBezTo>
                  <a:cubicBezTo>
                    <a:pt x="52" y="75"/>
                    <a:pt x="44" y="71"/>
                    <a:pt x="41" y="70"/>
                  </a:cubicBezTo>
                  <a:cubicBezTo>
                    <a:pt x="39" y="70"/>
                    <a:pt x="26" y="69"/>
                    <a:pt x="23" y="67"/>
                  </a:cubicBezTo>
                  <a:cubicBezTo>
                    <a:pt x="20" y="64"/>
                    <a:pt x="23" y="61"/>
                    <a:pt x="24" y="58"/>
                  </a:cubicBezTo>
                  <a:cubicBezTo>
                    <a:pt x="24" y="55"/>
                    <a:pt x="18" y="45"/>
                    <a:pt x="16" y="43"/>
                  </a:cubicBezTo>
                  <a:cubicBezTo>
                    <a:pt x="14" y="41"/>
                    <a:pt x="7" y="41"/>
                    <a:pt x="5" y="40"/>
                  </a:cubicBezTo>
                  <a:cubicBezTo>
                    <a:pt x="3" y="38"/>
                    <a:pt x="0" y="31"/>
                    <a:pt x="0" y="3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116" name="Freeform 299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7904171" y="2918896"/>
              <a:ext cx="1644631" cy="1103279"/>
            </a:xfrm>
            <a:custGeom>
              <a:avLst/>
              <a:gdLst>
                <a:gd name="T0" fmla="*/ 2147483647 w 468"/>
                <a:gd name="T1" fmla="*/ 2147483647 h 298"/>
                <a:gd name="T2" fmla="*/ 2147483647 w 468"/>
                <a:gd name="T3" fmla="*/ 2147483647 h 298"/>
                <a:gd name="T4" fmla="*/ 2147483647 w 468"/>
                <a:gd name="T5" fmla="*/ 2147483647 h 298"/>
                <a:gd name="T6" fmla="*/ 2147483647 w 468"/>
                <a:gd name="T7" fmla="*/ 2147483647 h 298"/>
                <a:gd name="T8" fmla="*/ 2147483647 w 468"/>
                <a:gd name="T9" fmla="*/ 2147483647 h 298"/>
                <a:gd name="T10" fmla="*/ 2147483647 w 468"/>
                <a:gd name="T11" fmla="*/ 2147483647 h 298"/>
                <a:gd name="T12" fmla="*/ 2147483647 w 468"/>
                <a:gd name="T13" fmla="*/ 2147483647 h 298"/>
                <a:gd name="T14" fmla="*/ 2147483647 w 468"/>
                <a:gd name="T15" fmla="*/ 2147483647 h 298"/>
                <a:gd name="T16" fmla="*/ 2147483647 w 468"/>
                <a:gd name="T17" fmla="*/ 2147483647 h 298"/>
                <a:gd name="T18" fmla="*/ 2147483647 w 468"/>
                <a:gd name="T19" fmla="*/ 2147483647 h 298"/>
                <a:gd name="T20" fmla="*/ 2147483647 w 468"/>
                <a:gd name="T21" fmla="*/ 2147483647 h 298"/>
                <a:gd name="T22" fmla="*/ 2147483647 w 468"/>
                <a:gd name="T23" fmla="*/ 2147483647 h 298"/>
                <a:gd name="T24" fmla="*/ 2147483647 w 468"/>
                <a:gd name="T25" fmla="*/ 2147483647 h 298"/>
                <a:gd name="T26" fmla="*/ 2147483647 w 468"/>
                <a:gd name="T27" fmla="*/ 2147483647 h 298"/>
                <a:gd name="T28" fmla="*/ 2147483647 w 468"/>
                <a:gd name="T29" fmla="*/ 2147483647 h 298"/>
                <a:gd name="T30" fmla="*/ 2147483647 w 468"/>
                <a:gd name="T31" fmla="*/ 2147483647 h 298"/>
                <a:gd name="T32" fmla="*/ 2147483647 w 468"/>
                <a:gd name="T33" fmla="*/ 2147483647 h 298"/>
                <a:gd name="T34" fmla="*/ 2147483647 w 468"/>
                <a:gd name="T35" fmla="*/ 2147483647 h 298"/>
                <a:gd name="T36" fmla="*/ 2147483647 w 468"/>
                <a:gd name="T37" fmla="*/ 2147483647 h 298"/>
                <a:gd name="T38" fmla="*/ 2147483647 w 468"/>
                <a:gd name="T39" fmla="*/ 2147483647 h 298"/>
                <a:gd name="T40" fmla="*/ 2147483647 w 468"/>
                <a:gd name="T41" fmla="*/ 2147483647 h 298"/>
                <a:gd name="T42" fmla="*/ 2147483647 w 468"/>
                <a:gd name="T43" fmla="*/ 2147483647 h 298"/>
                <a:gd name="T44" fmla="*/ 2147483647 w 468"/>
                <a:gd name="T45" fmla="*/ 2147483647 h 298"/>
                <a:gd name="T46" fmla="*/ 2147483647 w 468"/>
                <a:gd name="T47" fmla="*/ 2147483647 h 298"/>
                <a:gd name="T48" fmla="*/ 2147483647 w 468"/>
                <a:gd name="T49" fmla="*/ 2147483647 h 298"/>
                <a:gd name="T50" fmla="*/ 2147483647 w 468"/>
                <a:gd name="T51" fmla="*/ 2147483647 h 298"/>
                <a:gd name="T52" fmla="*/ 2147483647 w 468"/>
                <a:gd name="T53" fmla="*/ 2147483647 h 298"/>
                <a:gd name="T54" fmla="*/ 2147483647 w 468"/>
                <a:gd name="T55" fmla="*/ 2147483647 h 298"/>
                <a:gd name="T56" fmla="*/ 2147483647 w 468"/>
                <a:gd name="T57" fmla="*/ 2147483647 h 298"/>
                <a:gd name="T58" fmla="*/ 2147483647 w 468"/>
                <a:gd name="T59" fmla="*/ 2147483647 h 298"/>
                <a:gd name="T60" fmla="*/ 2147483647 w 468"/>
                <a:gd name="T61" fmla="*/ 2147483647 h 298"/>
                <a:gd name="T62" fmla="*/ 2147483647 w 468"/>
                <a:gd name="T63" fmla="*/ 2147483647 h 298"/>
                <a:gd name="T64" fmla="*/ 2147483647 w 468"/>
                <a:gd name="T65" fmla="*/ 2147483647 h 298"/>
                <a:gd name="T66" fmla="*/ 2147483647 w 468"/>
                <a:gd name="T67" fmla="*/ 2147483647 h 298"/>
                <a:gd name="T68" fmla="*/ 2147483647 w 468"/>
                <a:gd name="T69" fmla="*/ 2147483647 h 298"/>
                <a:gd name="T70" fmla="*/ 2147483647 w 468"/>
                <a:gd name="T71" fmla="*/ 2147483647 h 298"/>
                <a:gd name="T72" fmla="*/ 2147483647 w 468"/>
                <a:gd name="T73" fmla="*/ 2147483647 h 298"/>
                <a:gd name="T74" fmla="*/ 2147483647 w 468"/>
                <a:gd name="T75" fmla="*/ 2147483647 h 298"/>
                <a:gd name="T76" fmla="*/ 2147483647 w 468"/>
                <a:gd name="T77" fmla="*/ 2147483647 h 298"/>
                <a:gd name="T78" fmla="*/ 2147483647 w 468"/>
                <a:gd name="T79" fmla="*/ 2147483647 h 298"/>
                <a:gd name="T80" fmla="*/ 2147483647 w 468"/>
                <a:gd name="T81" fmla="*/ 2147483647 h 298"/>
                <a:gd name="T82" fmla="*/ 2147483647 w 468"/>
                <a:gd name="T83" fmla="*/ 2147483647 h 298"/>
                <a:gd name="T84" fmla="*/ 2147483647 w 468"/>
                <a:gd name="T85" fmla="*/ 2147483647 h 298"/>
                <a:gd name="T86" fmla="*/ 2147483647 w 468"/>
                <a:gd name="T87" fmla="*/ 2147483647 h 298"/>
                <a:gd name="T88" fmla="*/ 2147483647 w 468"/>
                <a:gd name="T89" fmla="*/ 2147483647 h 298"/>
                <a:gd name="T90" fmla="*/ 2147483647 w 468"/>
                <a:gd name="T91" fmla="*/ 2147483647 h 298"/>
                <a:gd name="T92" fmla="*/ 2147483647 w 468"/>
                <a:gd name="T93" fmla="*/ 2147483647 h 298"/>
                <a:gd name="T94" fmla="*/ 2147483647 w 468"/>
                <a:gd name="T95" fmla="*/ 2147483647 h 298"/>
                <a:gd name="T96" fmla="*/ 2147483647 w 468"/>
                <a:gd name="T97" fmla="*/ 2147483647 h 298"/>
                <a:gd name="T98" fmla="*/ 2147483647 w 468"/>
                <a:gd name="T99" fmla="*/ 2147483647 h 298"/>
                <a:gd name="T100" fmla="*/ 2147483647 w 468"/>
                <a:gd name="T101" fmla="*/ 2147483647 h 298"/>
                <a:gd name="T102" fmla="*/ 2147483647 w 468"/>
                <a:gd name="T103" fmla="*/ 2147483647 h 298"/>
                <a:gd name="T104" fmla="*/ 2147483647 w 468"/>
                <a:gd name="T105" fmla="*/ 2147483647 h 298"/>
                <a:gd name="T106" fmla="*/ 2147483647 w 468"/>
                <a:gd name="T107" fmla="*/ 2147483647 h 298"/>
                <a:gd name="T108" fmla="*/ 2147483647 w 468"/>
                <a:gd name="T109" fmla="*/ 2147483647 h 298"/>
                <a:gd name="T110" fmla="*/ 2147483647 w 468"/>
                <a:gd name="T111" fmla="*/ 2147483647 h 298"/>
                <a:gd name="T112" fmla="*/ 2147483647 w 468"/>
                <a:gd name="T113" fmla="*/ 2147483647 h 298"/>
                <a:gd name="T114" fmla="*/ 2147483647 w 468"/>
                <a:gd name="T115" fmla="*/ 2147483647 h 298"/>
                <a:gd name="T116" fmla="*/ 2147483647 w 468"/>
                <a:gd name="T117" fmla="*/ 2147483647 h 29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68"/>
                <a:gd name="T178" fmla="*/ 0 h 298"/>
                <a:gd name="T179" fmla="*/ 468 w 468"/>
                <a:gd name="T180" fmla="*/ 298 h 29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68" h="298">
                  <a:moveTo>
                    <a:pt x="2" y="136"/>
                  </a:moveTo>
                  <a:cubicBezTo>
                    <a:pt x="4" y="134"/>
                    <a:pt x="13" y="127"/>
                    <a:pt x="15" y="127"/>
                  </a:cubicBezTo>
                  <a:cubicBezTo>
                    <a:pt x="17" y="127"/>
                    <a:pt x="17" y="130"/>
                    <a:pt x="18" y="130"/>
                  </a:cubicBezTo>
                  <a:cubicBezTo>
                    <a:pt x="19" y="131"/>
                    <a:pt x="22" y="131"/>
                    <a:pt x="24" y="130"/>
                  </a:cubicBezTo>
                  <a:cubicBezTo>
                    <a:pt x="26" y="129"/>
                    <a:pt x="24" y="123"/>
                    <a:pt x="26" y="123"/>
                  </a:cubicBezTo>
                  <a:cubicBezTo>
                    <a:pt x="28" y="123"/>
                    <a:pt x="34" y="123"/>
                    <a:pt x="37" y="122"/>
                  </a:cubicBezTo>
                  <a:cubicBezTo>
                    <a:pt x="40" y="121"/>
                    <a:pt x="50" y="116"/>
                    <a:pt x="51" y="114"/>
                  </a:cubicBezTo>
                  <a:cubicBezTo>
                    <a:pt x="52" y="113"/>
                    <a:pt x="52" y="113"/>
                    <a:pt x="52" y="112"/>
                  </a:cubicBezTo>
                  <a:cubicBezTo>
                    <a:pt x="53" y="108"/>
                    <a:pt x="54" y="103"/>
                    <a:pt x="54" y="102"/>
                  </a:cubicBezTo>
                  <a:cubicBezTo>
                    <a:pt x="54" y="101"/>
                    <a:pt x="51" y="86"/>
                    <a:pt x="51" y="86"/>
                  </a:cubicBezTo>
                  <a:cubicBezTo>
                    <a:pt x="51" y="86"/>
                    <a:pt x="65" y="82"/>
                    <a:pt x="66" y="82"/>
                  </a:cubicBezTo>
                  <a:cubicBezTo>
                    <a:pt x="68" y="82"/>
                    <a:pt x="74" y="65"/>
                    <a:pt x="74" y="65"/>
                  </a:cubicBezTo>
                  <a:cubicBezTo>
                    <a:pt x="74" y="65"/>
                    <a:pt x="88" y="68"/>
                    <a:pt x="91" y="67"/>
                  </a:cubicBezTo>
                  <a:cubicBezTo>
                    <a:pt x="94" y="65"/>
                    <a:pt x="92" y="55"/>
                    <a:pt x="94" y="54"/>
                  </a:cubicBezTo>
                  <a:cubicBezTo>
                    <a:pt x="96" y="53"/>
                    <a:pt x="98" y="53"/>
                    <a:pt x="99" y="52"/>
                  </a:cubicBezTo>
                  <a:cubicBezTo>
                    <a:pt x="105" y="45"/>
                    <a:pt x="105" y="45"/>
                    <a:pt x="105" y="45"/>
                  </a:cubicBezTo>
                  <a:cubicBezTo>
                    <a:pt x="107" y="46"/>
                    <a:pt x="110" y="47"/>
                    <a:pt x="110" y="47"/>
                  </a:cubicBezTo>
                  <a:cubicBezTo>
                    <a:pt x="110" y="47"/>
                    <a:pt x="113" y="54"/>
                    <a:pt x="115" y="56"/>
                  </a:cubicBezTo>
                  <a:cubicBezTo>
                    <a:pt x="117" y="57"/>
                    <a:pt x="124" y="57"/>
                    <a:pt x="126" y="59"/>
                  </a:cubicBezTo>
                  <a:cubicBezTo>
                    <a:pt x="128" y="61"/>
                    <a:pt x="134" y="71"/>
                    <a:pt x="134" y="74"/>
                  </a:cubicBezTo>
                  <a:cubicBezTo>
                    <a:pt x="133" y="77"/>
                    <a:pt x="130" y="80"/>
                    <a:pt x="133" y="83"/>
                  </a:cubicBezTo>
                  <a:cubicBezTo>
                    <a:pt x="136" y="85"/>
                    <a:pt x="149" y="86"/>
                    <a:pt x="151" y="86"/>
                  </a:cubicBezTo>
                  <a:cubicBezTo>
                    <a:pt x="154" y="87"/>
                    <a:pt x="162" y="91"/>
                    <a:pt x="164" y="93"/>
                  </a:cubicBezTo>
                  <a:cubicBezTo>
                    <a:pt x="167" y="95"/>
                    <a:pt x="174" y="106"/>
                    <a:pt x="174" y="107"/>
                  </a:cubicBezTo>
                  <a:cubicBezTo>
                    <a:pt x="174" y="108"/>
                    <a:pt x="208" y="107"/>
                    <a:pt x="210" y="108"/>
                  </a:cubicBezTo>
                  <a:cubicBezTo>
                    <a:pt x="212" y="110"/>
                    <a:pt x="236" y="118"/>
                    <a:pt x="239" y="118"/>
                  </a:cubicBezTo>
                  <a:cubicBezTo>
                    <a:pt x="242" y="117"/>
                    <a:pt x="256" y="111"/>
                    <a:pt x="259" y="111"/>
                  </a:cubicBezTo>
                  <a:cubicBezTo>
                    <a:pt x="261" y="111"/>
                    <a:pt x="275" y="111"/>
                    <a:pt x="278" y="109"/>
                  </a:cubicBezTo>
                  <a:cubicBezTo>
                    <a:pt x="282" y="107"/>
                    <a:pt x="294" y="101"/>
                    <a:pt x="293" y="98"/>
                  </a:cubicBezTo>
                  <a:cubicBezTo>
                    <a:pt x="293" y="95"/>
                    <a:pt x="288" y="94"/>
                    <a:pt x="289" y="91"/>
                  </a:cubicBezTo>
                  <a:cubicBezTo>
                    <a:pt x="291" y="88"/>
                    <a:pt x="293" y="85"/>
                    <a:pt x="296" y="85"/>
                  </a:cubicBezTo>
                  <a:cubicBezTo>
                    <a:pt x="299" y="85"/>
                    <a:pt x="306" y="89"/>
                    <a:pt x="310" y="88"/>
                  </a:cubicBezTo>
                  <a:cubicBezTo>
                    <a:pt x="313" y="86"/>
                    <a:pt x="324" y="82"/>
                    <a:pt x="325" y="80"/>
                  </a:cubicBezTo>
                  <a:cubicBezTo>
                    <a:pt x="326" y="79"/>
                    <a:pt x="334" y="72"/>
                    <a:pt x="336" y="71"/>
                  </a:cubicBezTo>
                  <a:cubicBezTo>
                    <a:pt x="337" y="71"/>
                    <a:pt x="344" y="69"/>
                    <a:pt x="346" y="69"/>
                  </a:cubicBezTo>
                  <a:cubicBezTo>
                    <a:pt x="348" y="69"/>
                    <a:pt x="352" y="74"/>
                    <a:pt x="353" y="73"/>
                  </a:cubicBezTo>
                  <a:cubicBezTo>
                    <a:pt x="354" y="73"/>
                    <a:pt x="355" y="71"/>
                    <a:pt x="355" y="70"/>
                  </a:cubicBezTo>
                  <a:cubicBezTo>
                    <a:pt x="356" y="70"/>
                    <a:pt x="356" y="66"/>
                    <a:pt x="354" y="64"/>
                  </a:cubicBezTo>
                  <a:cubicBezTo>
                    <a:pt x="352" y="62"/>
                    <a:pt x="345" y="57"/>
                    <a:pt x="342" y="57"/>
                  </a:cubicBezTo>
                  <a:cubicBezTo>
                    <a:pt x="339" y="57"/>
                    <a:pt x="334" y="61"/>
                    <a:pt x="333" y="61"/>
                  </a:cubicBezTo>
                  <a:cubicBezTo>
                    <a:pt x="331" y="61"/>
                    <a:pt x="325" y="61"/>
                    <a:pt x="324" y="61"/>
                  </a:cubicBezTo>
                  <a:cubicBezTo>
                    <a:pt x="323" y="61"/>
                    <a:pt x="320" y="57"/>
                    <a:pt x="320" y="56"/>
                  </a:cubicBezTo>
                  <a:cubicBezTo>
                    <a:pt x="319" y="55"/>
                    <a:pt x="329" y="41"/>
                    <a:pt x="329" y="40"/>
                  </a:cubicBezTo>
                  <a:cubicBezTo>
                    <a:pt x="330" y="40"/>
                    <a:pt x="340" y="43"/>
                    <a:pt x="341" y="42"/>
                  </a:cubicBezTo>
                  <a:cubicBezTo>
                    <a:pt x="342" y="41"/>
                    <a:pt x="349" y="37"/>
                    <a:pt x="350" y="35"/>
                  </a:cubicBezTo>
                  <a:cubicBezTo>
                    <a:pt x="350" y="33"/>
                    <a:pt x="357" y="24"/>
                    <a:pt x="359" y="21"/>
                  </a:cubicBezTo>
                  <a:cubicBezTo>
                    <a:pt x="361" y="18"/>
                    <a:pt x="361" y="15"/>
                    <a:pt x="360" y="14"/>
                  </a:cubicBezTo>
                  <a:cubicBezTo>
                    <a:pt x="360" y="13"/>
                    <a:pt x="354" y="13"/>
                    <a:pt x="354" y="11"/>
                  </a:cubicBezTo>
                  <a:cubicBezTo>
                    <a:pt x="354" y="9"/>
                    <a:pt x="358" y="5"/>
                    <a:pt x="362" y="4"/>
                  </a:cubicBezTo>
                  <a:cubicBezTo>
                    <a:pt x="365" y="3"/>
                    <a:pt x="381" y="0"/>
                    <a:pt x="385" y="3"/>
                  </a:cubicBezTo>
                  <a:cubicBezTo>
                    <a:pt x="390" y="6"/>
                    <a:pt x="399" y="7"/>
                    <a:pt x="400" y="9"/>
                  </a:cubicBezTo>
                  <a:cubicBezTo>
                    <a:pt x="402" y="11"/>
                    <a:pt x="411" y="33"/>
                    <a:pt x="412" y="35"/>
                  </a:cubicBezTo>
                  <a:cubicBezTo>
                    <a:pt x="412" y="38"/>
                    <a:pt x="412" y="40"/>
                    <a:pt x="415" y="42"/>
                  </a:cubicBezTo>
                  <a:cubicBezTo>
                    <a:pt x="418" y="44"/>
                    <a:pt x="432" y="46"/>
                    <a:pt x="434" y="48"/>
                  </a:cubicBezTo>
                  <a:cubicBezTo>
                    <a:pt x="436" y="50"/>
                    <a:pt x="439" y="61"/>
                    <a:pt x="440" y="61"/>
                  </a:cubicBezTo>
                  <a:cubicBezTo>
                    <a:pt x="441" y="61"/>
                    <a:pt x="449" y="61"/>
                    <a:pt x="451" y="60"/>
                  </a:cubicBezTo>
                  <a:cubicBezTo>
                    <a:pt x="453" y="58"/>
                    <a:pt x="464" y="51"/>
                    <a:pt x="466" y="54"/>
                  </a:cubicBezTo>
                  <a:cubicBezTo>
                    <a:pt x="468" y="56"/>
                    <a:pt x="468" y="60"/>
                    <a:pt x="468" y="61"/>
                  </a:cubicBezTo>
                  <a:cubicBezTo>
                    <a:pt x="467" y="63"/>
                    <a:pt x="462" y="69"/>
                    <a:pt x="462" y="71"/>
                  </a:cubicBezTo>
                  <a:cubicBezTo>
                    <a:pt x="461" y="74"/>
                    <a:pt x="457" y="86"/>
                    <a:pt x="456" y="86"/>
                  </a:cubicBezTo>
                  <a:cubicBezTo>
                    <a:pt x="456" y="86"/>
                    <a:pt x="447" y="84"/>
                    <a:pt x="444" y="85"/>
                  </a:cubicBezTo>
                  <a:cubicBezTo>
                    <a:pt x="442" y="86"/>
                    <a:pt x="437" y="87"/>
                    <a:pt x="439" y="89"/>
                  </a:cubicBezTo>
                  <a:cubicBezTo>
                    <a:pt x="440" y="91"/>
                    <a:pt x="439" y="103"/>
                    <a:pt x="437" y="104"/>
                  </a:cubicBezTo>
                  <a:cubicBezTo>
                    <a:pt x="437" y="104"/>
                    <a:pt x="435" y="104"/>
                    <a:pt x="434" y="105"/>
                  </a:cubicBezTo>
                  <a:cubicBezTo>
                    <a:pt x="433" y="105"/>
                    <a:pt x="432" y="105"/>
                    <a:pt x="431" y="105"/>
                  </a:cubicBezTo>
                  <a:cubicBezTo>
                    <a:pt x="428" y="106"/>
                    <a:pt x="426" y="111"/>
                    <a:pt x="425" y="112"/>
                  </a:cubicBezTo>
                  <a:cubicBezTo>
                    <a:pt x="423" y="112"/>
                    <a:pt x="418" y="114"/>
                    <a:pt x="417" y="115"/>
                  </a:cubicBezTo>
                  <a:cubicBezTo>
                    <a:pt x="416" y="116"/>
                    <a:pt x="418" y="119"/>
                    <a:pt x="415" y="119"/>
                  </a:cubicBezTo>
                  <a:cubicBezTo>
                    <a:pt x="413" y="119"/>
                    <a:pt x="408" y="116"/>
                    <a:pt x="405" y="118"/>
                  </a:cubicBezTo>
                  <a:cubicBezTo>
                    <a:pt x="402" y="120"/>
                    <a:pt x="400" y="125"/>
                    <a:pt x="398" y="126"/>
                  </a:cubicBezTo>
                  <a:cubicBezTo>
                    <a:pt x="396" y="127"/>
                    <a:pt x="390" y="130"/>
                    <a:pt x="390" y="131"/>
                  </a:cubicBezTo>
                  <a:cubicBezTo>
                    <a:pt x="388" y="134"/>
                    <a:pt x="388" y="134"/>
                    <a:pt x="388" y="134"/>
                  </a:cubicBezTo>
                  <a:cubicBezTo>
                    <a:pt x="387" y="134"/>
                    <a:pt x="387" y="134"/>
                    <a:pt x="386" y="134"/>
                  </a:cubicBezTo>
                  <a:cubicBezTo>
                    <a:pt x="384" y="134"/>
                    <a:pt x="376" y="139"/>
                    <a:pt x="373" y="141"/>
                  </a:cubicBezTo>
                  <a:cubicBezTo>
                    <a:pt x="371" y="142"/>
                    <a:pt x="367" y="141"/>
                    <a:pt x="366" y="139"/>
                  </a:cubicBezTo>
                  <a:cubicBezTo>
                    <a:pt x="366" y="137"/>
                    <a:pt x="370" y="131"/>
                    <a:pt x="371" y="130"/>
                  </a:cubicBezTo>
                  <a:cubicBezTo>
                    <a:pt x="372" y="129"/>
                    <a:pt x="373" y="127"/>
                    <a:pt x="370" y="125"/>
                  </a:cubicBezTo>
                  <a:cubicBezTo>
                    <a:pt x="367" y="123"/>
                    <a:pt x="362" y="125"/>
                    <a:pt x="361" y="126"/>
                  </a:cubicBezTo>
                  <a:cubicBezTo>
                    <a:pt x="359" y="128"/>
                    <a:pt x="352" y="136"/>
                    <a:pt x="350" y="138"/>
                  </a:cubicBezTo>
                  <a:cubicBezTo>
                    <a:pt x="348" y="140"/>
                    <a:pt x="343" y="140"/>
                    <a:pt x="341" y="140"/>
                  </a:cubicBezTo>
                  <a:cubicBezTo>
                    <a:pt x="339" y="139"/>
                    <a:pt x="335" y="142"/>
                    <a:pt x="335" y="145"/>
                  </a:cubicBezTo>
                  <a:cubicBezTo>
                    <a:pt x="335" y="148"/>
                    <a:pt x="339" y="150"/>
                    <a:pt x="341" y="150"/>
                  </a:cubicBezTo>
                  <a:cubicBezTo>
                    <a:pt x="344" y="150"/>
                    <a:pt x="345" y="149"/>
                    <a:pt x="347" y="149"/>
                  </a:cubicBezTo>
                  <a:cubicBezTo>
                    <a:pt x="348" y="149"/>
                    <a:pt x="347" y="156"/>
                    <a:pt x="348" y="157"/>
                  </a:cubicBezTo>
                  <a:cubicBezTo>
                    <a:pt x="349" y="158"/>
                    <a:pt x="353" y="159"/>
                    <a:pt x="355" y="158"/>
                  </a:cubicBezTo>
                  <a:cubicBezTo>
                    <a:pt x="356" y="156"/>
                    <a:pt x="359" y="153"/>
                    <a:pt x="360" y="152"/>
                  </a:cubicBezTo>
                  <a:cubicBezTo>
                    <a:pt x="362" y="151"/>
                    <a:pt x="374" y="155"/>
                    <a:pt x="375" y="155"/>
                  </a:cubicBezTo>
                  <a:cubicBezTo>
                    <a:pt x="377" y="156"/>
                    <a:pt x="374" y="159"/>
                    <a:pt x="374" y="161"/>
                  </a:cubicBezTo>
                  <a:cubicBezTo>
                    <a:pt x="374" y="162"/>
                    <a:pt x="366" y="162"/>
                    <a:pt x="363" y="164"/>
                  </a:cubicBezTo>
                  <a:cubicBezTo>
                    <a:pt x="359" y="167"/>
                    <a:pt x="348" y="176"/>
                    <a:pt x="350" y="178"/>
                  </a:cubicBezTo>
                  <a:cubicBezTo>
                    <a:pt x="352" y="180"/>
                    <a:pt x="357" y="182"/>
                    <a:pt x="358" y="184"/>
                  </a:cubicBezTo>
                  <a:cubicBezTo>
                    <a:pt x="359" y="186"/>
                    <a:pt x="362" y="193"/>
                    <a:pt x="362" y="195"/>
                  </a:cubicBezTo>
                  <a:cubicBezTo>
                    <a:pt x="363" y="197"/>
                    <a:pt x="369" y="202"/>
                    <a:pt x="369" y="204"/>
                  </a:cubicBezTo>
                  <a:cubicBezTo>
                    <a:pt x="369" y="207"/>
                    <a:pt x="370" y="210"/>
                    <a:pt x="369" y="211"/>
                  </a:cubicBezTo>
                  <a:cubicBezTo>
                    <a:pt x="369" y="212"/>
                    <a:pt x="359" y="216"/>
                    <a:pt x="359" y="217"/>
                  </a:cubicBezTo>
                  <a:cubicBezTo>
                    <a:pt x="359" y="218"/>
                    <a:pt x="372" y="218"/>
                    <a:pt x="372" y="220"/>
                  </a:cubicBezTo>
                  <a:cubicBezTo>
                    <a:pt x="372" y="222"/>
                    <a:pt x="370" y="226"/>
                    <a:pt x="369" y="229"/>
                  </a:cubicBezTo>
                  <a:cubicBezTo>
                    <a:pt x="367" y="231"/>
                    <a:pt x="360" y="239"/>
                    <a:pt x="358" y="242"/>
                  </a:cubicBezTo>
                  <a:cubicBezTo>
                    <a:pt x="357" y="244"/>
                    <a:pt x="353" y="245"/>
                    <a:pt x="353" y="248"/>
                  </a:cubicBezTo>
                  <a:cubicBezTo>
                    <a:pt x="353" y="250"/>
                    <a:pt x="354" y="255"/>
                    <a:pt x="353" y="256"/>
                  </a:cubicBezTo>
                  <a:cubicBezTo>
                    <a:pt x="351" y="257"/>
                    <a:pt x="344" y="262"/>
                    <a:pt x="342" y="264"/>
                  </a:cubicBezTo>
                  <a:cubicBezTo>
                    <a:pt x="340" y="266"/>
                    <a:pt x="331" y="273"/>
                    <a:pt x="330" y="274"/>
                  </a:cubicBezTo>
                  <a:cubicBezTo>
                    <a:pt x="329" y="276"/>
                    <a:pt x="321" y="280"/>
                    <a:pt x="318" y="280"/>
                  </a:cubicBezTo>
                  <a:cubicBezTo>
                    <a:pt x="314" y="280"/>
                    <a:pt x="311" y="282"/>
                    <a:pt x="309" y="280"/>
                  </a:cubicBezTo>
                  <a:cubicBezTo>
                    <a:pt x="307" y="277"/>
                    <a:pt x="305" y="281"/>
                    <a:pt x="304" y="283"/>
                  </a:cubicBezTo>
                  <a:cubicBezTo>
                    <a:pt x="303" y="285"/>
                    <a:pt x="302" y="287"/>
                    <a:pt x="299" y="287"/>
                  </a:cubicBezTo>
                  <a:cubicBezTo>
                    <a:pt x="296" y="287"/>
                    <a:pt x="286" y="288"/>
                    <a:pt x="284" y="289"/>
                  </a:cubicBezTo>
                  <a:cubicBezTo>
                    <a:pt x="283" y="291"/>
                    <a:pt x="281" y="291"/>
                    <a:pt x="282" y="294"/>
                  </a:cubicBezTo>
                  <a:cubicBezTo>
                    <a:pt x="283" y="296"/>
                    <a:pt x="283" y="298"/>
                    <a:pt x="280" y="298"/>
                  </a:cubicBezTo>
                  <a:cubicBezTo>
                    <a:pt x="278" y="298"/>
                    <a:pt x="278" y="298"/>
                    <a:pt x="277" y="297"/>
                  </a:cubicBezTo>
                  <a:cubicBezTo>
                    <a:pt x="277" y="295"/>
                    <a:pt x="277" y="290"/>
                    <a:pt x="276" y="289"/>
                  </a:cubicBezTo>
                  <a:cubicBezTo>
                    <a:pt x="275" y="287"/>
                    <a:pt x="268" y="286"/>
                    <a:pt x="266" y="287"/>
                  </a:cubicBezTo>
                  <a:cubicBezTo>
                    <a:pt x="265" y="287"/>
                    <a:pt x="264" y="288"/>
                    <a:pt x="263" y="289"/>
                  </a:cubicBezTo>
                  <a:cubicBezTo>
                    <a:pt x="263" y="289"/>
                    <a:pt x="254" y="284"/>
                    <a:pt x="253" y="284"/>
                  </a:cubicBezTo>
                  <a:cubicBezTo>
                    <a:pt x="252" y="283"/>
                    <a:pt x="256" y="279"/>
                    <a:pt x="254" y="278"/>
                  </a:cubicBezTo>
                  <a:cubicBezTo>
                    <a:pt x="252" y="277"/>
                    <a:pt x="249" y="277"/>
                    <a:pt x="247" y="277"/>
                  </a:cubicBezTo>
                  <a:cubicBezTo>
                    <a:pt x="246" y="276"/>
                    <a:pt x="243" y="275"/>
                    <a:pt x="242" y="275"/>
                  </a:cubicBezTo>
                  <a:cubicBezTo>
                    <a:pt x="241" y="276"/>
                    <a:pt x="227" y="280"/>
                    <a:pt x="225" y="280"/>
                  </a:cubicBezTo>
                  <a:cubicBezTo>
                    <a:pt x="225" y="280"/>
                    <a:pt x="223" y="281"/>
                    <a:pt x="221" y="281"/>
                  </a:cubicBezTo>
                  <a:cubicBezTo>
                    <a:pt x="219" y="281"/>
                    <a:pt x="217" y="281"/>
                    <a:pt x="216" y="282"/>
                  </a:cubicBezTo>
                  <a:cubicBezTo>
                    <a:pt x="215" y="282"/>
                    <a:pt x="216" y="290"/>
                    <a:pt x="215" y="291"/>
                  </a:cubicBezTo>
                  <a:cubicBezTo>
                    <a:pt x="214" y="291"/>
                    <a:pt x="213" y="289"/>
                    <a:pt x="212" y="289"/>
                  </a:cubicBezTo>
                  <a:cubicBezTo>
                    <a:pt x="211" y="289"/>
                    <a:pt x="211" y="289"/>
                    <a:pt x="210" y="290"/>
                  </a:cubicBezTo>
                  <a:cubicBezTo>
                    <a:pt x="207" y="286"/>
                    <a:pt x="207" y="286"/>
                    <a:pt x="207" y="286"/>
                  </a:cubicBezTo>
                  <a:cubicBezTo>
                    <a:pt x="207" y="286"/>
                    <a:pt x="204" y="286"/>
                    <a:pt x="203" y="286"/>
                  </a:cubicBezTo>
                  <a:cubicBezTo>
                    <a:pt x="201" y="286"/>
                    <a:pt x="199" y="285"/>
                    <a:pt x="197" y="283"/>
                  </a:cubicBezTo>
                  <a:cubicBezTo>
                    <a:pt x="195" y="281"/>
                    <a:pt x="200" y="277"/>
                    <a:pt x="198" y="276"/>
                  </a:cubicBezTo>
                  <a:cubicBezTo>
                    <a:pt x="197" y="275"/>
                    <a:pt x="193" y="272"/>
                    <a:pt x="193" y="271"/>
                  </a:cubicBezTo>
                  <a:cubicBezTo>
                    <a:pt x="193" y="269"/>
                    <a:pt x="192" y="268"/>
                    <a:pt x="190" y="268"/>
                  </a:cubicBezTo>
                  <a:cubicBezTo>
                    <a:pt x="189" y="268"/>
                    <a:pt x="186" y="270"/>
                    <a:pt x="184" y="269"/>
                  </a:cubicBezTo>
                  <a:cubicBezTo>
                    <a:pt x="183" y="268"/>
                    <a:pt x="183" y="265"/>
                    <a:pt x="184" y="263"/>
                  </a:cubicBezTo>
                  <a:cubicBezTo>
                    <a:pt x="185" y="260"/>
                    <a:pt x="192" y="255"/>
                    <a:pt x="192" y="253"/>
                  </a:cubicBezTo>
                  <a:cubicBezTo>
                    <a:pt x="193" y="251"/>
                    <a:pt x="194" y="241"/>
                    <a:pt x="193" y="239"/>
                  </a:cubicBezTo>
                  <a:cubicBezTo>
                    <a:pt x="192" y="238"/>
                    <a:pt x="191" y="239"/>
                    <a:pt x="189" y="238"/>
                  </a:cubicBezTo>
                  <a:cubicBezTo>
                    <a:pt x="188" y="237"/>
                    <a:pt x="188" y="233"/>
                    <a:pt x="185" y="232"/>
                  </a:cubicBezTo>
                  <a:cubicBezTo>
                    <a:pt x="183" y="232"/>
                    <a:pt x="182" y="234"/>
                    <a:pt x="181" y="234"/>
                  </a:cubicBezTo>
                  <a:cubicBezTo>
                    <a:pt x="179" y="234"/>
                    <a:pt x="175" y="234"/>
                    <a:pt x="174" y="233"/>
                  </a:cubicBezTo>
                  <a:cubicBezTo>
                    <a:pt x="173" y="232"/>
                    <a:pt x="175" y="226"/>
                    <a:pt x="173" y="225"/>
                  </a:cubicBezTo>
                  <a:cubicBezTo>
                    <a:pt x="172" y="224"/>
                    <a:pt x="167" y="227"/>
                    <a:pt x="165" y="226"/>
                  </a:cubicBezTo>
                  <a:cubicBezTo>
                    <a:pt x="163" y="225"/>
                    <a:pt x="162" y="225"/>
                    <a:pt x="160" y="226"/>
                  </a:cubicBezTo>
                  <a:cubicBezTo>
                    <a:pt x="158" y="227"/>
                    <a:pt x="154" y="232"/>
                    <a:pt x="151" y="233"/>
                  </a:cubicBezTo>
                  <a:cubicBezTo>
                    <a:pt x="149" y="233"/>
                    <a:pt x="144" y="236"/>
                    <a:pt x="142" y="237"/>
                  </a:cubicBezTo>
                  <a:cubicBezTo>
                    <a:pt x="141" y="237"/>
                    <a:pt x="140" y="238"/>
                    <a:pt x="140" y="238"/>
                  </a:cubicBezTo>
                  <a:cubicBezTo>
                    <a:pt x="138" y="237"/>
                    <a:pt x="138" y="234"/>
                    <a:pt x="137" y="234"/>
                  </a:cubicBezTo>
                  <a:cubicBezTo>
                    <a:pt x="135" y="234"/>
                    <a:pt x="130" y="233"/>
                    <a:pt x="128" y="233"/>
                  </a:cubicBezTo>
                  <a:cubicBezTo>
                    <a:pt x="126" y="233"/>
                    <a:pt x="122" y="234"/>
                    <a:pt x="121" y="236"/>
                  </a:cubicBezTo>
                  <a:cubicBezTo>
                    <a:pt x="120" y="237"/>
                    <a:pt x="120" y="241"/>
                    <a:pt x="118" y="240"/>
                  </a:cubicBezTo>
                  <a:cubicBezTo>
                    <a:pt x="116" y="239"/>
                    <a:pt x="118" y="235"/>
                    <a:pt x="116" y="234"/>
                  </a:cubicBezTo>
                  <a:cubicBezTo>
                    <a:pt x="113" y="234"/>
                    <a:pt x="114" y="237"/>
                    <a:pt x="110" y="237"/>
                  </a:cubicBezTo>
                  <a:cubicBezTo>
                    <a:pt x="105" y="237"/>
                    <a:pt x="101" y="236"/>
                    <a:pt x="97" y="235"/>
                  </a:cubicBezTo>
                  <a:cubicBezTo>
                    <a:pt x="94" y="234"/>
                    <a:pt x="89" y="233"/>
                    <a:pt x="86" y="231"/>
                  </a:cubicBezTo>
                  <a:cubicBezTo>
                    <a:pt x="83" y="229"/>
                    <a:pt x="81" y="225"/>
                    <a:pt x="81" y="225"/>
                  </a:cubicBezTo>
                  <a:cubicBezTo>
                    <a:pt x="75" y="224"/>
                    <a:pt x="75" y="224"/>
                    <a:pt x="75" y="224"/>
                  </a:cubicBezTo>
                  <a:cubicBezTo>
                    <a:pt x="75" y="224"/>
                    <a:pt x="72" y="221"/>
                    <a:pt x="70" y="220"/>
                  </a:cubicBezTo>
                  <a:cubicBezTo>
                    <a:pt x="68" y="219"/>
                    <a:pt x="65" y="215"/>
                    <a:pt x="65" y="215"/>
                  </a:cubicBezTo>
                  <a:cubicBezTo>
                    <a:pt x="60" y="215"/>
                    <a:pt x="60" y="215"/>
                    <a:pt x="60" y="215"/>
                  </a:cubicBezTo>
                  <a:cubicBezTo>
                    <a:pt x="57" y="218"/>
                    <a:pt x="57" y="218"/>
                    <a:pt x="57" y="218"/>
                  </a:cubicBezTo>
                  <a:cubicBezTo>
                    <a:pt x="57" y="218"/>
                    <a:pt x="57" y="217"/>
                    <a:pt x="56" y="217"/>
                  </a:cubicBezTo>
                  <a:cubicBezTo>
                    <a:pt x="53" y="215"/>
                    <a:pt x="41" y="208"/>
                    <a:pt x="41" y="207"/>
                  </a:cubicBezTo>
                  <a:cubicBezTo>
                    <a:pt x="41" y="206"/>
                    <a:pt x="38" y="198"/>
                    <a:pt x="38" y="198"/>
                  </a:cubicBezTo>
                  <a:cubicBezTo>
                    <a:pt x="38" y="198"/>
                    <a:pt x="45" y="197"/>
                    <a:pt x="46" y="196"/>
                  </a:cubicBezTo>
                  <a:cubicBezTo>
                    <a:pt x="46" y="195"/>
                    <a:pt x="41" y="187"/>
                    <a:pt x="41" y="187"/>
                  </a:cubicBezTo>
                  <a:cubicBezTo>
                    <a:pt x="46" y="186"/>
                    <a:pt x="46" y="186"/>
                    <a:pt x="46" y="186"/>
                  </a:cubicBezTo>
                  <a:cubicBezTo>
                    <a:pt x="47" y="186"/>
                    <a:pt x="50" y="180"/>
                    <a:pt x="51" y="179"/>
                  </a:cubicBezTo>
                  <a:cubicBezTo>
                    <a:pt x="52" y="178"/>
                    <a:pt x="52" y="174"/>
                    <a:pt x="52" y="172"/>
                  </a:cubicBezTo>
                  <a:cubicBezTo>
                    <a:pt x="51" y="171"/>
                    <a:pt x="46" y="169"/>
                    <a:pt x="45" y="169"/>
                  </a:cubicBezTo>
                  <a:cubicBezTo>
                    <a:pt x="44" y="169"/>
                    <a:pt x="42" y="169"/>
                    <a:pt x="41" y="169"/>
                  </a:cubicBezTo>
                  <a:cubicBezTo>
                    <a:pt x="35" y="173"/>
                    <a:pt x="35" y="173"/>
                    <a:pt x="35" y="173"/>
                  </a:cubicBezTo>
                  <a:cubicBezTo>
                    <a:pt x="35" y="172"/>
                    <a:pt x="33" y="172"/>
                    <a:pt x="31" y="172"/>
                  </a:cubicBezTo>
                  <a:cubicBezTo>
                    <a:pt x="29" y="172"/>
                    <a:pt x="27" y="172"/>
                    <a:pt x="26" y="171"/>
                  </a:cubicBezTo>
                  <a:cubicBezTo>
                    <a:pt x="23" y="169"/>
                    <a:pt x="21" y="169"/>
                    <a:pt x="19" y="166"/>
                  </a:cubicBezTo>
                  <a:cubicBezTo>
                    <a:pt x="17" y="163"/>
                    <a:pt x="13" y="161"/>
                    <a:pt x="12" y="160"/>
                  </a:cubicBezTo>
                  <a:cubicBezTo>
                    <a:pt x="10" y="160"/>
                    <a:pt x="11" y="160"/>
                    <a:pt x="11" y="156"/>
                  </a:cubicBezTo>
                  <a:cubicBezTo>
                    <a:pt x="11" y="156"/>
                    <a:pt x="11" y="155"/>
                    <a:pt x="11" y="155"/>
                  </a:cubicBezTo>
                  <a:cubicBezTo>
                    <a:pt x="11" y="151"/>
                    <a:pt x="11" y="147"/>
                    <a:pt x="10" y="147"/>
                  </a:cubicBezTo>
                  <a:cubicBezTo>
                    <a:pt x="8" y="146"/>
                    <a:pt x="5" y="146"/>
                    <a:pt x="3" y="145"/>
                  </a:cubicBezTo>
                  <a:cubicBezTo>
                    <a:pt x="1" y="144"/>
                    <a:pt x="0" y="141"/>
                    <a:pt x="1" y="138"/>
                  </a:cubicBezTo>
                  <a:cubicBezTo>
                    <a:pt x="1" y="137"/>
                    <a:pt x="1" y="136"/>
                    <a:pt x="2" y="136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5446" name="Freeform 300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7177963" y="2856835"/>
              <a:ext cx="1094914" cy="517654"/>
            </a:xfrm>
            <a:custGeom>
              <a:avLst/>
              <a:gdLst>
                <a:gd name="T0" fmla="*/ 2147483647 w 312"/>
                <a:gd name="T1" fmla="*/ 2147483647 h 140"/>
                <a:gd name="T2" fmla="*/ 2147483647 w 312"/>
                <a:gd name="T3" fmla="*/ 2147483647 h 140"/>
                <a:gd name="T4" fmla="*/ 2147483647 w 312"/>
                <a:gd name="T5" fmla="*/ 2147483647 h 140"/>
                <a:gd name="T6" fmla="*/ 2147483647 w 312"/>
                <a:gd name="T7" fmla="*/ 2147483647 h 140"/>
                <a:gd name="T8" fmla="*/ 2147483647 w 312"/>
                <a:gd name="T9" fmla="*/ 2147483647 h 140"/>
                <a:gd name="T10" fmla="*/ 2147483647 w 312"/>
                <a:gd name="T11" fmla="*/ 2147483647 h 140"/>
                <a:gd name="T12" fmla="*/ 2147483647 w 312"/>
                <a:gd name="T13" fmla="*/ 2147483647 h 140"/>
                <a:gd name="T14" fmla="*/ 2147483647 w 312"/>
                <a:gd name="T15" fmla="*/ 2147483647 h 140"/>
                <a:gd name="T16" fmla="*/ 2147483647 w 312"/>
                <a:gd name="T17" fmla="*/ 2147483647 h 140"/>
                <a:gd name="T18" fmla="*/ 2147483647 w 312"/>
                <a:gd name="T19" fmla="*/ 2147483647 h 140"/>
                <a:gd name="T20" fmla="*/ 2147483647 w 312"/>
                <a:gd name="T21" fmla="*/ 2147483647 h 140"/>
                <a:gd name="T22" fmla="*/ 2147483647 w 312"/>
                <a:gd name="T23" fmla="*/ 0 h 140"/>
                <a:gd name="T24" fmla="*/ 2147483647 w 312"/>
                <a:gd name="T25" fmla="*/ 2147483647 h 140"/>
                <a:gd name="T26" fmla="*/ 2147483647 w 312"/>
                <a:gd name="T27" fmla="*/ 2147483647 h 140"/>
                <a:gd name="T28" fmla="*/ 2147483647 w 312"/>
                <a:gd name="T29" fmla="*/ 2147483647 h 140"/>
                <a:gd name="T30" fmla="*/ 2147483647 w 312"/>
                <a:gd name="T31" fmla="*/ 2147483647 h 140"/>
                <a:gd name="T32" fmla="*/ 2147483647 w 312"/>
                <a:gd name="T33" fmla="*/ 2147483647 h 140"/>
                <a:gd name="T34" fmla="*/ 2147483647 w 312"/>
                <a:gd name="T35" fmla="*/ 2147483647 h 140"/>
                <a:gd name="T36" fmla="*/ 2147483647 w 312"/>
                <a:gd name="T37" fmla="*/ 2147483647 h 140"/>
                <a:gd name="T38" fmla="*/ 2147483647 w 312"/>
                <a:gd name="T39" fmla="*/ 2147483647 h 140"/>
                <a:gd name="T40" fmla="*/ 2147483647 w 312"/>
                <a:gd name="T41" fmla="*/ 2147483647 h 140"/>
                <a:gd name="T42" fmla="*/ 2147483647 w 312"/>
                <a:gd name="T43" fmla="*/ 2147483647 h 140"/>
                <a:gd name="T44" fmla="*/ 2147483647 w 312"/>
                <a:gd name="T45" fmla="*/ 2147483647 h 140"/>
                <a:gd name="T46" fmla="*/ 2147483647 w 312"/>
                <a:gd name="T47" fmla="*/ 2147483647 h 140"/>
                <a:gd name="T48" fmla="*/ 2147483647 w 312"/>
                <a:gd name="T49" fmla="*/ 2147483647 h 140"/>
                <a:gd name="T50" fmla="*/ 2147483647 w 312"/>
                <a:gd name="T51" fmla="*/ 2147483647 h 140"/>
                <a:gd name="T52" fmla="*/ 2147483647 w 312"/>
                <a:gd name="T53" fmla="*/ 2147483647 h 140"/>
                <a:gd name="T54" fmla="*/ 2147483647 w 312"/>
                <a:gd name="T55" fmla="*/ 2147483647 h 140"/>
                <a:gd name="T56" fmla="*/ 2147483647 w 312"/>
                <a:gd name="T57" fmla="*/ 2147483647 h 140"/>
                <a:gd name="T58" fmla="*/ 2147483647 w 312"/>
                <a:gd name="T59" fmla="*/ 2147483647 h 140"/>
                <a:gd name="T60" fmla="*/ 2147483647 w 312"/>
                <a:gd name="T61" fmla="*/ 2147483647 h 140"/>
                <a:gd name="T62" fmla="*/ 2147483647 w 312"/>
                <a:gd name="T63" fmla="*/ 2147483647 h 140"/>
                <a:gd name="T64" fmla="*/ 2147483647 w 312"/>
                <a:gd name="T65" fmla="*/ 2147483647 h 140"/>
                <a:gd name="T66" fmla="*/ 2147483647 w 312"/>
                <a:gd name="T67" fmla="*/ 2147483647 h 140"/>
                <a:gd name="T68" fmla="*/ 2147483647 w 312"/>
                <a:gd name="T69" fmla="*/ 2147483647 h 140"/>
                <a:gd name="T70" fmla="*/ 2147483647 w 312"/>
                <a:gd name="T71" fmla="*/ 2147483647 h 140"/>
                <a:gd name="T72" fmla="*/ 2147483647 w 312"/>
                <a:gd name="T73" fmla="*/ 2147483647 h 140"/>
                <a:gd name="T74" fmla="*/ 2147483647 w 312"/>
                <a:gd name="T75" fmla="*/ 2147483647 h 140"/>
                <a:gd name="T76" fmla="*/ 2147483647 w 312"/>
                <a:gd name="T77" fmla="*/ 2147483647 h 140"/>
                <a:gd name="T78" fmla="*/ 2147483647 w 312"/>
                <a:gd name="T79" fmla="*/ 2147483647 h 140"/>
                <a:gd name="T80" fmla="*/ 2147483647 w 312"/>
                <a:gd name="T81" fmla="*/ 2147483647 h 140"/>
                <a:gd name="T82" fmla="*/ 2147483647 w 312"/>
                <a:gd name="T83" fmla="*/ 2147483647 h 140"/>
                <a:gd name="T84" fmla="*/ 2147483647 w 312"/>
                <a:gd name="T85" fmla="*/ 2147483647 h 140"/>
                <a:gd name="T86" fmla="*/ 2147483647 w 312"/>
                <a:gd name="T87" fmla="*/ 2147483647 h 140"/>
                <a:gd name="T88" fmla="*/ 2147483647 w 312"/>
                <a:gd name="T89" fmla="*/ 2147483647 h 140"/>
                <a:gd name="T90" fmla="*/ 2147483647 w 312"/>
                <a:gd name="T91" fmla="*/ 2147483647 h 140"/>
                <a:gd name="T92" fmla="*/ 2147483647 w 312"/>
                <a:gd name="T93" fmla="*/ 2147483647 h 140"/>
                <a:gd name="T94" fmla="*/ 0 w 312"/>
                <a:gd name="T95" fmla="*/ 2147483647 h 14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12"/>
                <a:gd name="T145" fmla="*/ 0 h 140"/>
                <a:gd name="T146" fmla="*/ 312 w 312"/>
                <a:gd name="T147" fmla="*/ 140 h 14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12" h="140">
                  <a:moveTo>
                    <a:pt x="0" y="71"/>
                  </a:moveTo>
                  <a:cubicBezTo>
                    <a:pt x="0" y="71"/>
                    <a:pt x="3" y="58"/>
                    <a:pt x="3" y="57"/>
                  </a:cubicBezTo>
                  <a:cubicBezTo>
                    <a:pt x="3" y="55"/>
                    <a:pt x="7" y="52"/>
                    <a:pt x="8" y="51"/>
                  </a:cubicBezTo>
                  <a:cubicBezTo>
                    <a:pt x="9" y="50"/>
                    <a:pt x="14" y="58"/>
                    <a:pt x="15" y="58"/>
                  </a:cubicBezTo>
                  <a:cubicBezTo>
                    <a:pt x="16" y="58"/>
                    <a:pt x="19" y="55"/>
                    <a:pt x="20" y="54"/>
                  </a:cubicBezTo>
                  <a:cubicBezTo>
                    <a:pt x="21" y="54"/>
                    <a:pt x="18" y="48"/>
                    <a:pt x="19" y="48"/>
                  </a:cubicBezTo>
                  <a:cubicBezTo>
                    <a:pt x="21" y="47"/>
                    <a:pt x="33" y="38"/>
                    <a:pt x="34" y="38"/>
                  </a:cubicBezTo>
                  <a:cubicBezTo>
                    <a:pt x="36" y="38"/>
                    <a:pt x="52" y="39"/>
                    <a:pt x="53" y="40"/>
                  </a:cubicBezTo>
                  <a:cubicBezTo>
                    <a:pt x="54" y="40"/>
                    <a:pt x="61" y="48"/>
                    <a:pt x="63" y="48"/>
                  </a:cubicBezTo>
                  <a:cubicBezTo>
                    <a:pt x="64" y="48"/>
                    <a:pt x="71" y="51"/>
                    <a:pt x="72" y="50"/>
                  </a:cubicBezTo>
                  <a:cubicBezTo>
                    <a:pt x="73" y="49"/>
                    <a:pt x="76" y="45"/>
                    <a:pt x="79" y="45"/>
                  </a:cubicBezTo>
                  <a:cubicBezTo>
                    <a:pt x="82" y="44"/>
                    <a:pt x="88" y="44"/>
                    <a:pt x="90" y="44"/>
                  </a:cubicBezTo>
                  <a:cubicBezTo>
                    <a:pt x="91" y="44"/>
                    <a:pt x="98" y="49"/>
                    <a:pt x="100" y="49"/>
                  </a:cubicBezTo>
                  <a:cubicBezTo>
                    <a:pt x="102" y="49"/>
                    <a:pt x="104" y="48"/>
                    <a:pt x="105" y="48"/>
                  </a:cubicBezTo>
                  <a:cubicBezTo>
                    <a:pt x="107" y="48"/>
                    <a:pt x="113" y="48"/>
                    <a:pt x="114" y="47"/>
                  </a:cubicBezTo>
                  <a:cubicBezTo>
                    <a:pt x="116" y="46"/>
                    <a:pt x="116" y="42"/>
                    <a:pt x="116" y="41"/>
                  </a:cubicBezTo>
                  <a:cubicBezTo>
                    <a:pt x="116" y="40"/>
                    <a:pt x="104" y="37"/>
                    <a:pt x="105" y="35"/>
                  </a:cubicBezTo>
                  <a:cubicBezTo>
                    <a:pt x="106" y="34"/>
                    <a:pt x="111" y="33"/>
                    <a:pt x="112" y="31"/>
                  </a:cubicBezTo>
                  <a:cubicBezTo>
                    <a:pt x="112" y="29"/>
                    <a:pt x="110" y="26"/>
                    <a:pt x="110" y="25"/>
                  </a:cubicBezTo>
                  <a:cubicBezTo>
                    <a:pt x="111" y="25"/>
                    <a:pt x="113" y="15"/>
                    <a:pt x="114" y="15"/>
                  </a:cubicBezTo>
                  <a:cubicBezTo>
                    <a:pt x="115" y="14"/>
                    <a:pt x="119" y="15"/>
                    <a:pt x="122" y="14"/>
                  </a:cubicBezTo>
                  <a:cubicBezTo>
                    <a:pt x="125" y="14"/>
                    <a:pt x="148" y="8"/>
                    <a:pt x="151" y="8"/>
                  </a:cubicBezTo>
                  <a:cubicBezTo>
                    <a:pt x="154" y="7"/>
                    <a:pt x="165" y="4"/>
                    <a:pt x="167" y="3"/>
                  </a:cubicBezTo>
                  <a:cubicBezTo>
                    <a:pt x="168" y="2"/>
                    <a:pt x="172" y="0"/>
                    <a:pt x="174" y="0"/>
                  </a:cubicBezTo>
                  <a:cubicBezTo>
                    <a:pt x="175" y="0"/>
                    <a:pt x="185" y="0"/>
                    <a:pt x="186" y="1"/>
                  </a:cubicBezTo>
                  <a:cubicBezTo>
                    <a:pt x="187" y="2"/>
                    <a:pt x="188" y="11"/>
                    <a:pt x="189" y="12"/>
                  </a:cubicBezTo>
                  <a:cubicBezTo>
                    <a:pt x="190" y="13"/>
                    <a:pt x="205" y="13"/>
                    <a:pt x="206" y="14"/>
                  </a:cubicBezTo>
                  <a:cubicBezTo>
                    <a:pt x="206" y="15"/>
                    <a:pt x="205" y="20"/>
                    <a:pt x="207" y="20"/>
                  </a:cubicBezTo>
                  <a:cubicBezTo>
                    <a:pt x="209" y="20"/>
                    <a:pt x="214" y="18"/>
                    <a:pt x="217" y="17"/>
                  </a:cubicBezTo>
                  <a:cubicBezTo>
                    <a:pt x="220" y="16"/>
                    <a:pt x="229" y="11"/>
                    <a:pt x="231" y="11"/>
                  </a:cubicBezTo>
                  <a:cubicBezTo>
                    <a:pt x="232" y="11"/>
                    <a:pt x="234" y="15"/>
                    <a:pt x="235" y="18"/>
                  </a:cubicBezTo>
                  <a:cubicBezTo>
                    <a:pt x="237" y="20"/>
                    <a:pt x="256" y="46"/>
                    <a:pt x="256" y="46"/>
                  </a:cubicBezTo>
                  <a:cubicBezTo>
                    <a:pt x="256" y="46"/>
                    <a:pt x="263" y="43"/>
                    <a:pt x="264" y="43"/>
                  </a:cubicBezTo>
                  <a:cubicBezTo>
                    <a:pt x="266" y="43"/>
                    <a:pt x="267" y="44"/>
                    <a:pt x="271" y="46"/>
                  </a:cubicBezTo>
                  <a:cubicBezTo>
                    <a:pt x="275" y="48"/>
                    <a:pt x="281" y="45"/>
                    <a:pt x="284" y="46"/>
                  </a:cubicBezTo>
                  <a:cubicBezTo>
                    <a:pt x="287" y="47"/>
                    <a:pt x="292" y="54"/>
                    <a:pt x="294" y="57"/>
                  </a:cubicBezTo>
                  <a:cubicBezTo>
                    <a:pt x="297" y="59"/>
                    <a:pt x="299" y="60"/>
                    <a:pt x="302" y="59"/>
                  </a:cubicBezTo>
                  <a:cubicBezTo>
                    <a:pt x="305" y="59"/>
                    <a:pt x="306" y="57"/>
                    <a:pt x="308" y="59"/>
                  </a:cubicBezTo>
                  <a:cubicBezTo>
                    <a:pt x="309" y="60"/>
                    <a:pt x="311" y="61"/>
                    <a:pt x="312" y="62"/>
                  </a:cubicBezTo>
                  <a:cubicBezTo>
                    <a:pt x="306" y="69"/>
                    <a:pt x="306" y="69"/>
                    <a:pt x="306" y="69"/>
                  </a:cubicBezTo>
                  <a:cubicBezTo>
                    <a:pt x="305" y="70"/>
                    <a:pt x="303" y="70"/>
                    <a:pt x="301" y="71"/>
                  </a:cubicBezTo>
                  <a:cubicBezTo>
                    <a:pt x="299" y="72"/>
                    <a:pt x="301" y="82"/>
                    <a:pt x="298" y="84"/>
                  </a:cubicBezTo>
                  <a:cubicBezTo>
                    <a:pt x="295" y="85"/>
                    <a:pt x="281" y="82"/>
                    <a:pt x="281" y="82"/>
                  </a:cubicBezTo>
                  <a:cubicBezTo>
                    <a:pt x="281" y="82"/>
                    <a:pt x="275" y="99"/>
                    <a:pt x="273" y="99"/>
                  </a:cubicBezTo>
                  <a:cubicBezTo>
                    <a:pt x="272" y="99"/>
                    <a:pt x="258" y="103"/>
                    <a:pt x="258" y="103"/>
                  </a:cubicBezTo>
                  <a:cubicBezTo>
                    <a:pt x="258" y="103"/>
                    <a:pt x="261" y="118"/>
                    <a:pt x="261" y="119"/>
                  </a:cubicBezTo>
                  <a:cubicBezTo>
                    <a:pt x="261" y="120"/>
                    <a:pt x="260" y="125"/>
                    <a:pt x="259" y="129"/>
                  </a:cubicBezTo>
                  <a:cubicBezTo>
                    <a:pt x="252" y="126"/>
                    <a:pt x="252" y="126"/>
                    <a:pt x="252" y="126"/>
                  </a:cubicBezTo>
                  <a:cubicBezTo>
                    <a:pt x="251" y="125"/>
                    <a:pt x="243" y="123"/>
                    <a:pt x="240" y="123"/>
                  </a:cubicBezTo>
                  <a:cubicBezTo>
                    <a:pt x="236" y="123"/>
                    <a:pt x="223" y="123"/>
                    <a:pt x="222" y="123"/>
                  </a:cubicBezTo>
                  <a:cubicBezTo>
                    <a:pt x="220" y="123"/>
                    <a:pt x="213" y="120"/>
                    <a:pt x="210" y="120"/>
                  </a:cubicBezTo>
                  <a:cubicBezTo>
                    <a:pt x="207" y="120"/>
                    <a:pt x="207" y="127"/>
                    <a:pt x="206" y="127"/>
                  </a:cubicBezTo>
                  <a:cubicBezTo>
                    <a:pt x="205" y="127"/>
                    <a:pt x="191" y="123"/>
                    <a:pt x="190" y="123"/>
                  </a:cubicBezTo>
                  <a:cubicBezTo>
                    <a:pt x="189" y="123"/>
                    <a:pt x="187" y="126"/>
                    <a:pt x="185" y="128"/>
                  </a:cubicBezTo>
                  <a:cubicBezTo>
                    <a:pt x="184" y="129"/>
                    <a:pt x="184" y="129"/>
                    <a:pt x="183" y="130"/>
                  </a:cubicBezTo>
                  <a:cubicBezTo>
                    <a:pt x="181" y="131"/>
                    <a:pt x="170" y="140"/>
                    <a:pt x="169" y="140"/>
                  </a:cubicBezTo>
                  <a:cubicBezTo>
                    <a:pt x="168" y="140"/>
                    <a:pt x="156" y="139"/>
                    <a:pt x="155" y="139"/>
                  </a:cubicBezTo>
                  <a:cubicBezTo>
                    <a:pt x="154" y="139"/>
                    <a:pt x="155" y="133"/>
                    <a:pt x="155" y="133"/>
                  </a:cubicBezTo>
                  <a:cubicBezTo>
                    <a:pt x="154" y="133"/>
                    <a:pt x="149" y="132"/>
                    <a:pt x="150" y="131"/>
                  </a:cubicBezTo>
                  <a:cubicBezTo>
                    <a:pt x="150" y="130"/>
                    <a:pt x="144" y="116"/>
                    <a:pt x="143" y="115"/>
                  </a:cubicBezTo>
                  <a:cubicBezTo>
                    <a:pt x="142" y="115"/>
                    <a:pt x="120" y="118"/>
                    <a:pt x="119" y="118"/>
                  </a:cubicBezTo>
                  <a:cubicBezTo>
                    <a:pt x="118" y="118"/>
                    <a:pt x="114" y="112"/>
                    <a:pt x="114" y="112"/>
                  </a:cubicBezTo>
                  <a:cubicBezTo>
                    <a:pt x="109" y="109"/>
                    <a:pt x="109" y="109"/>
                    <a:pt x="109" y="109"/>
                  </a:cubicBezTo>
                  <a:cubicBezTo>
                    <a:pt x="112" y="106"/>
                    <a:pt x="110" y="106"/>
                    <a:pt x="110" y="103"/>
                  </a:cubicBezTo>
                  <a:cubicBezTo>
                    <a:pt x="110" y="100"/>
                    <a:pt x="108" y="98"/>
                    <a:pt x="108" y="96"/>
                  </a:cubicBezTo>
                  <a:cubicBezTo>
                    <a:pt x="108" y="93"/>
                    <a:pt x="111" y="94"/>
                    <a:pt x="113" y="92"/>
                  </a:cubicBezTo>
                  <a:cubicBezTo>
                    <a:pt x="115" y="90"/>
                    <a:pt x="110" y="89"/>
                    <a:pt x="108" y="88"/>
                  </a:cubicBezTo>
                  <a:cubicBezTo>
                    <a:pt x="107" y="88"/>
                    <a:pt x="104" y="89"/>
                    <a:pt x="103" y="91"/>
                  </a:cubicBezTo>
                  <a:cubicBezTo>
                    <a:pt x="102" y="92"/>
                    <a:pt x="99" y="94"/>
                    <a:pt x="97" y="94"/>
                  </a:cubicBezTo>
                  <a:cubicBezTo>
                    <a:pt x="95" y="94"/>
                    <a:pt x="94" y="96"/>
                    <a:pt x="93" y="98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3" y="138"/>
                    <a:pt x="73" y="138"/>
                    <a:pt x="73" y="138"/>
                  </a:cubicBezTo>
                  <a:cubicBezTo>
                    <a:pt x="71" y="138"/>
                    <a:pt x="70" y="138"/>
                    <a:pt x="69" y="138"/>
                  </a:cubicBezTo>
                  <a:cubicBezTo>
                    <a:pt x="68" y="137"/>
                    <a:pt x="64" y="132"/>
                    <a:pt x="62" y="130"/>
                  </a:cubicBezTo>
                  <a:cubicBezTo>
                    <a:pt x="59" y="128"/>
                    <a:pt x="54" y="129"/>
                    <a:pt x="52" y="130"/>
                  </a:cubicBezTo>
                  <a:cubicBezTo>
                    <a:pt x="46" y="133"/>
                    <a:pt x="46" y="133"/>
                    <a:pt x="46" y="133"/>
                  </a:cubicBezTo>
                  <a:cubicBezTo>
                    <a:pt x="46" y="133"/>
                    <a:pt x="46" y="132"/>
                    <a:pt x="45" y="132"/>
                  </a:cubicBezTo>
                  <a:cubicBezTo>
                    <a:pt x="45" y="130"/>
                    <a:pt x="47" y="126"/>
                    <a:pt x="47" y="125"/>
                  </a:cubicBezTo>
                  <a:cubicBezTo>
                    <a:pt x="47" y="125"/>
                    <a:pt x="44" y="121"/>
                    <a:pt x="41" y="121"/>
                  </a:cubicBezTo>
                  <a:cubicBezTo>
                    <a:pt x="39" y="121"/>
                    <a:pt x="38" y="123"/>
                    <a:pt x="37" y="122"/>
                  </a:cubicBezTo>
                  <a:cubicBezTo>
                    <a:pt x="36" y="120"/>
                    <a:pt x="39" y="119"/>
                    <a:pt x="37" y="117"/>
                  </a:cubicBezTo>
                  <a:cubicBezTo>
                    <a:pt x="35" y="115"/>
                    <a:pt x="33" y="114"/>
                    <a:pt x="31" y="113"/>
                  </a:cubicBezTo>
                  <a:cubicBezTo>
                    <a:pt x="29" y="111"/>
                    <a:pt x="30" y="111"/>
                    <a:pt x="29" y="109"/>
                  </a:cubicBezTo>
                  <a:cubicBezTo>
                    <a:pt x="29" y="107"/>
                    <a:pt x="36" y="109"/>
                    <a:pt x="37" y="108"/>
                  </a:cubicBezTo>
                  <a:cubicBezTo>
                    <a:pt x="38" y="108"/>
                    <a:pt x="35" y="105"/>
                    <a:pt x="34" y="104"/>
                  </a:cubicBezTo>
                  <a:cubicBezTo>
                    <a:pt x="33" y="102"/>
                    <a:pt x="36" y="101"/>
                    <a:pt x="37" y="100"/>
                  </a:cubicBezTo>
                  <a:cubicBezTo>
                    <a:pt x="39" y="99"/>
                    <a:pt x="47" y="99"/>
                    <a:pt x="48" y="99"/>
                  </a:cubicBezTo>
                  <a:cubicBezTo>
                    <a:pt x="49" y="99"/>
                    <a:pt x="49" y="95"/>
                    <a:pt x="50" y="94"/>
                  </a:cubicBezTo>
                  <a:cubicBezTo>
                    <a:pt x="50" y="92"/>
                    <a:pt x="50" y="88"/>
                    <a:pt x="48" y="87"/>
                  </a:cubicBezTo>
                  <a:cubicBezTo>
                    <a:pt x="47" y="85"/>
                    <a:pt x="39" y="85"/>
                    <a:pt x="37" y="85"/>
                  </a:cubicBezTo>
                  <a:cubicBezTo>
                    <a:pt x="35" y="85"/>
                    <a:pt x="28" y="88"/>
                    <a:pt x="27" y="90"/>
                  </a:cubicBezTo>
                  <a:cubicBezTo>
                    <a:pt x="26" y="91"/>
                    <a:pt x="24" y="92"/>
                    <a:pt x="22" y="93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8" y="86"/>
                    <a:pt x="18" y="83"/>
                    <a:pt x="17" y="81"/>
                  </a:cubicBezTo>
                  <a:cubicBezTo>
                    <a:pt x="15" y="79"/>
                    <a:pt x="9" y="78"/>
                    <a:pt x="7" y="77"/>
                  </a:cubicBezTo>
                  <a:cubicBezTo>
                    <a:pt x="5" y="76"/>
                    <a:pt x="0" y="71"/>
                    <a:pt x="0" y="7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47" name="Freeform 301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0728201" y="2123492"/>
              <a:ext cx="107022" cy="43138"/>
            </a:xfrm>
            <a:custGeom>
              <a:avLst/>
              <a:gdLst>
                <a:gd name="T0" fmla="*/ 2147483647 w 30"/>
                <a:gd name="T1" fmla="*/ 2147483647 h 12"/>
                <a:gd name="T2" fmla="*/ 2147483647 w 30"/>
                <a:gd name="T3" fmla="*/ 2147483647 h 12"/>
                <a:gd name="T4" fmla="*/ 2147483647 w 30"/>
                <a:gd name="T5" fmla="*/ 2147483647 h 12"/>
                <a:gd name="T6" fmla="*/ 0 w 30"/>
                <a:gd name="T7" fmla="*/ 2147483647 h 12"/>
                <a:gd name="T8" fmla="*/ 2147483647 w 30"/>
                <a:gd name="T9" fmla="*/ 2147483647 h 12"/>
                <a:gd name="T10" fmla="*/ 2147483647 w 30"/>
                <a:gd name="T11" fmla="*/ 2147483647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2"/>
                <a:gd name="T20" fmla="*/ 30 w 30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2">
                  <a:moveTo>
                    <a:pt x="30" y="5"/>
                  </a:moveTo>
                  <a:cubicBezTo>
                    <a:pt x="30" y="8"/>
                    <a:pt x="27" y="10"/>
                    <a:pt x="24" y="10"/>
                  </a:cubicBezTo>
                  <a:cubicBezTo>
                    <a:pt x="22" y="11"/>
                    <a:pt x="13" y="11"/>
                    <a:pt x="8" y="11"/>
                  </a:cubicBezTo>
                  <a:cubicBezTo>
                    <a:pt x="4" y="11"/>
                    <a:pt x="0" y="12"/>
                    <a:pt x="0" y="10"/>
                  </a:cubicBezTo>
                  <a:cubicBezTo>
                    <a:pt x="0" y="8"/>
                    <a:pt x="9" y="3"/>
                    <a:pt x="12" y="2"/>
                  </a:cubicBezTo>
                  <a:cubicBezTo>
                    <a:pt x="16" y="0"/>
                    <a:pt x="30" y="3"/>
                    <a:pt x="30" y="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48" name="Freeform 302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9863795" y="1910199"/>
              <a:ext cx="127603" cy="40741"/>
            </a:xfrm>
            <a:custGeom>
              <a:avLst/>
              <a:gdLst>
                <a:gd name="T0" fmla="*/ 2147483647 w 36"/>
                <a:gd name="T1" fmla="*/ 2147483647 h 11"/>
                <a:gd name="T2" fmla="*/ 0 w 36"/>
                <a:gd name="T3" fmla="*/ 0 h 11"/>
                <a:gd name="T4" fmla="*/ 2147483647 w 36"/>
                <a:gd name="T5" fmla="*/ 0 h 11"/>
                <a:gd name="T6" fmla="*/ 2147483647 w 36"/>
                <a:gd name="T7" fmla="*/ 2147483647 h 11"/>
                <a:gd name="T8" fmla="*/ 2147483647 w 36"/>
                <a:gd name="T9" fmla="*/ 2147483647 h 11"/>
                <a:gd name="T10" fmla="*/ 2147483647 w 36"/>
                <a:gd name="T11" fmla="*/ 2147483647 h 11"/>
                <a:gd name="T12" fmla="*/ 2147483647 w 36"/>
                <a:gd name="T13" fmla="*/ 2147483647 h 11"/>
                <a:gd name="T14" fmla="*/ 2147483647 w 36"/>
                <a:gd name="T15" fmla="*/ 2147483647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6"/>
                <a:gd name="T25" fmla="*/ 0 h 11"/>
                <a:gd name="T26" fmla="*/ 36 w 36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6" h="11">
                  <a:moveTo>
                    <a:pt x="2" y="8"/>
                  </a:moveTo>
                  <a:cubicBezTo>
                    <a:pt x="0" y="7"/>
                    <a:pt x="0" y="3"/>
                    <a:pt x="0" y="0"/>
                  </a:cubicBezTo>
                  <a:cubicBezTo>
                    <a:pt x="0" y="0"/>
                    <a:pt x="8" y="0"/>
                    <a:pt x="10" y="0"/>
                  </a:cubicBezTo>
                  <a:cubicBezTo>
                    <a:pt x="12" y="0"/>
                    <a:pt x="18" y="3"/>
                    <a:pt x="20" y="4"/>
                  </a:cubicBezTo>
                  <a:cubicBezTo>
                    <a:pt x="22" y="5"/>
                    <a:pt x="32" y="4"/>
                    <a:pt x="34" y="6"/>
                  </a:cubicBezTo>
                  <a:cubicBezTo>
                    <a:pt x="36" y="8"/>
                    <a:pt x="33" y="10"/>
                    <a:pt x="30" y="11"/>
                  </a:cubicBezTo>
                  <a:cubicBezTo>
                    <a:pt x="28" y="11"/>
                    <a:pt x="22" y="11"/>
                    <a:pt x="18" y="11"/>
                  </a:cubicBezTo>
                  <a:cubicBezTo>
                    <a:pt x="14" y="11"/>
                    <a:pt x="4" y="9"/>
                    <a:pt x="2" y="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49" name="Freeform 303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9738251" y="2878404"/>
              <a:ext cx="69976" cy="321137"/>
            </a:xfrm>
            <a:custGeom>
              <a:avLst/>
              <a:gdLst>
                <a:gd name="T0" fmla="*/ 2147483647 w 20"/>
                <a:gd name="T1" fmla="*/ 2147483647 h 87"/>
                <a:gd name="T2" fmla="*/ 2147483647 w 20"/>
                <a:gd name="T3" fmla="*/ 2147483647 h 87"/>
                <a:gd name="T4" fmla="*/ 2147483647 w 20"/>
                <a:gd name="T5" fmla="*/ 2147483647 h 87"/>
                <a:gd name="T6" fmla="*/ 2147483647 w 20"/>
                <a:gd name="T7" fmla="*/ 2147483647 h 87"/>
                <a:gd name="T8" fmla="*/ 2147483647 w 20"/>
                <a:gd name="T9" fmla="*/ 0 h 87"/>
                <a:gd name="T10" fmla="*/ 2147483647 w 20"/>
                <a:gd name="T11" fmla="*/ 2147483647 h 87"/>
                <a:gd name="T12" fmla="*/ 2147483647 w 20"/>
                <a:gd name="T13" fmla="*/ 2147483647 h 87"/>
                <a:gd name="T14" fmla="*/ 2147483647 w 20"/>
                <a:gd name="T15" fmla="*/ 2147483647 h 87"/>
                <a:gd name="T16" fmla="*/ 2147483647 w 20"/>
                <a:gd name="T17" fmla="*/ 2147483647 h 87"/>
                <a:gd name="T18" fmla="*/ 2147483647 w 20"/>
                <a:gd name="T19" fmla="*/ 2147483647 h 87"/>
                <a:gd name="T20" fmla="*/ 2147483647 w 20"/>
                <a:gd name="T21" fmla="*/ 2147483647 h 87"/>
                <a:gd name="T22" fmla="*/ 2147483647 w 20"/>
                <a:gd name="T23" fmla="*/ 2147483647 h 87"/>
                <a:gd name="T24" fmla="*/ 2147483647 w 20"/>
                <a:gd name="T25" fmla="*/ 2147483647 h 87"/>
                <a:gd name="T26" fmla="*/ 2147483647 w 20"/>
                <a:gd name="T27" fmla="*/ 2147483647 h 87"/>
                <a:gd name="T28" fmla="*/ 2147483647 w 20"/>
                <a:gd name="T29" fmla="*/ 2147483647 h 87"/>
                <a:gd name="T30" fmla="*/ 2147483647 w 20"/>
                <a:gd name="T31" fmla="*/ 2147483647 h 87"/>
                <a:gd name="T32" fmla="*/ 2147483647 w 20"/>
                <a:gd name="T33" fmla="*/ 2147483647 h 87"/>
                <a:gd name="T34" fmla="*/ 2147483647 w 20"/>
                <a:gd name="T35" fmla="*/ 2147483647 h 87"/>
                <a:gd name="T36" fmla="*/ 2147483647 w 20"/>
                <a:gd name="T37" fmla="*/ 2147483647 h 87"/>
                <a:gd name="T38" fmla="*/ 2147483647 w 20"/>
                <a:gd name="T39" fmla="*/ 2147483647 h 87"/>
                <a:gd name="T40" fmla="*/ 2147483647 w 20"/>
                <a:gd name="T41" fmla="*/ 2147483647 h 87"/>
                <a:gd name="T42" fmla="*/ 2147483647 w 20"/>
                <a:gd name="T43" fmla="*/ 2147483647 h 87"/>
                <a:gd name="T44" fmla="*/ 2147483647 w 20"/>
                <a:gd name="T45" fmla="*/ 2147483647 h 8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0"/>
                <a:gd name="T70" fmla="*/ 0 h 87"/>
                <a:gd name="T71" fmla="*/ 20 w 20"/>
                <a:gd name="T72" fmla="*/ 87 h 87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0" h="87">
                  <a:moveTo>
                    <a:pt x="5" y="35"/>
                  </a:moveTo>
                  <a:cubicBezTo>
                    <a:pt x="5" y="33"/>
                    <a:pt x="4" y="28"/>
                    <a:pt x="2" y="27"/>
                  </a:cubicBezTo>
                  <a:cubicBezTo>
                    <a:pt x="1" y="26"/>
                    <a:pt x="3" y="15"/>
                    <a:pt x="2" y="13"/>
                  </a:cubicBezTo>
                  <a:cubicBezTo>
                    <a:pt x="2" y="13"/>
                    <a:pt x="4" y="10"/>
                    <a:pt x="5" y="9"/>
                  </a:cubicBezTo>
                  <a:cubicBezTo>
                    <a:pt x="6" y="8"/>
                    <a:pt x="5" y="0"/>
                    <a:pt x="8" y="0"/>
                  </a:cubicBezTo>
                  <a:cubicBezTo>
                    <a:pt x="11" y="1"/>
                    <a:pt x="10" y="8"/>
                    <a:pt x="11" y="11"/>
                  </a:cubicBezTo>
                  <a:cubicBezTo>
                    <a:pt x="12" y="14"/>
                    <a:pt x="13" y="20"/>
                    <a:pt x="12" y="23"/>
                  </a:cubicBezTo>
                  <a:cubicBezTo>
                    <a:pt x="11" y="27"/>
                    <a:pt x="12" y="29"/>
                    <a:pt x="13" y="31"/>
                  </a:cubicBezTo>
                  <a:cubicBezTo>
                    <a:pt x="14" y="33"/>
                    <a:pt x="18" y="47"/>
                    <a:pt x="19" y="50"/>
                  </a:cubicBezTo>
                  <a:cubicBezTo>
                    <a:pt x="20" y="53"/>
                    <a:pt x="20" y="58"/>
                    <a:pt x="18" y="56"/>
                  </a:cubicBezTo>
                  <a:cubicBezTo>
                    <a:pt x="16" y="54"/>
                    <a:pt x="14" y="55"/>
                    <a:pt x="12" y="56"/>
                  </a:cubicBezTo>
                  <a:cubicBezTo>
                    <a:pt x="9" y="58"/>
                    <a:pt x="8" y="69"/>
                    <a:pt x="10" y="71"/>
                  </a:cubicBezTo>
                  <a:cubicBezTo>
                    <a:pt x="13" y="73"/>
                    <a:pt x="14" y="75"/>
                    <a:pt x="14" y="77"/>
                  </a:cubicBezTo>
                  <a:cubicBezTo>
                    <a:pt x="14" y="79"/>
                    <a:pt x="14" y="86"/>
                    <a:pt x="13" y="86"/>
                  </a:cubicBezTo>
                  <a:cubicBezTo>
                    <a:pt x="12" y="86"/>
                    <a:pt x="10" y="82"/>
                    <a:pt x="8" y="81"/>
                  </a:cubicBezTo>
                  <a:cubicBezTo>
                    <a:pt x="7" y="80"/>
                    <a:pt x="5" y="86"/>
                    <a:pt x="4" y="86"/>
                  </a:cubicBezTo>
                  <a:cubicBezTo>
                    <a:pt x="2" y="87"/>
                    <a:pt x="1" y="84"/>
                    <a:pt x="1" y="82"/>
                  </a:cubicBezTo>
                  <a:cubicBezTo>
                    <a:pt x="1" y="81"/>
                    <a:pt x="1" y="77"/>
                    <a:pt x="2" y="75"/>
                  </a:cubicBezTo>
                  <a:cubicBezTo>
                    <a:pt x="3" y="72"/>
                    <a:pt x="3" y="68"/>
                    <a:pt x="3" y="66"/>
                  </a:cubicBezTo>
                  <a:cubicBezTo>
                    <a:pt x="3" y="64"/>
                    <a:pt x="3" y="62"/>
                    <a:pt x="1" y="59"/>
                  </a:cubicBezTo>
                  <a:cubicBezTo>
                    <a:pt x="0" y="57"/>
                    <a:pt x="3" y="55"/>
                    <a:pt x="4" y="51"/>
                  </a:cubicBezTo>
                  <a:cubicBezTo>
                    <a:pt x="5" y="47"/>
                    <a:pt x="3" y="44"/>
                    <a:pt x="2" y="42"/>
                  </a:cubicBezTo>
                  <a:cubicBezTo>
                    <a:pt x="2" y="40"/>
                    <a:pt x="5" y="37"/>
                    <a:pt x="5" y="3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50" name="Freeform 304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9676508" y="1994078"/>
              <a:ext cx="111138" cy="50327"/>
            </a:xfrm>
            <a:custGeom>
              <a:avLst/>
              <a:gdLst>
                <a:gd name="T0" fmla="*/ 2147483647 w 32"/>
                <a:gd name="T1" fmla="*/ 2147483647 h 14"/>
                <a:gd name="T2" fmla="*/ 2147483647 w 32"/>
                <a:gd name="T3" fmla="*/ 0 h 14"/>
                <a:gd name="T4" fmla="*/ 2147483647 w 32"/>
                <a:gd name="T5" fmla="*/ 2147483647 h 14"/>
                <a:gd name="T6" fmla="*/ 2147483647 w 32"/>
                <a:gd name="T7" fmla="*/ 2147483647 h 14"/>
                <a:gd name="T8" fmla="*/ 2147483647 w 32"/>
                <a:gd name="T9" fmla="*/ 2147483647 h 14"/>
                <a:gd name="T10" fmla="*/ 2147483647 w 32"/>
                <a:gd name="T11" fmla="*/ 2147483647 h 14"/>
                <a:gd name="T12" fmla="*/ 2147483647 w 32"/>
                <a:gd name="T13" fmla="*/ 2147483647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2"/>
                <a:gd name="T22" fmla="*/ 0 h 14"/>
                <a:gd name="T23" fmla="*/ 32 w 32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2" h="14">
                  <a:moveTo>
                    <a:pt x="6" y="3"/>
                  </a:moveTo>
                  <a:cubicBezTo>
                    <a:pt x="8" y="1"/>
                    <a:pt x="12" y="0"/>
                    <a:pt x="16" y="0"/>
                  </a:cubicBezTo>
                  <a:cubicBezTo>
                    <a:pt x="16" y="0"/>
                    <a:pt x="24" y="1"/>
                    <a:pt x="28" y="4"/>
                  </a:cubicBezTo>
                  <a:cubicBezTo>
                    <a:pt x="32" y="6"/>
                    <a:pt x="30" y="10"/>
                    <a:pt x="28" y="12"/>
                  </a:cubicBezTo>
                  <a:cubicBezTo>
                    <a:pt x="26" y="14"/>
                    <a:pt x="14" y="9"/>
                    <a:pt x="10" y="9"/>
                  </a:cubicBezTo>
                  <a:cubicBezTo>
                    <a:pt x="6" y="8"/>
                    <a:pt x="4" y="9"/>
                    <a:pt x="2" y="8"/>
                  </a:cubicBezTo>
                  <a:cubicBezTo>
                    <a:pt x="0" y="6"/>
                    <a:pt x="4" y="4"/>
                    <a:pt x="6" y="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51" name="Freeform 305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9604474" y="1859872"/>
              <a:ext cx="226392" cy="112638"/>
            </a:xfrm>
            <a:custGeom>
              <a:avLst/>
              <a:gdLst>
                <a:gd name="T0" fmla="*/ 2147483647 w 64"/>
                <a:gd name="T1" fmla="*/ 2147483647 h 30"/>
                <a:gd name="T2" fmla="*/ 2147483647 w 64"/>
                <a:gd name="T3" fmla="*/ 2147483647 h 30"/>
                <a:gd name="T4" fmla="*/ 2147483647 w 64"/>
                <a:gd name="T5" fmla="*/ 2147483647 h 30"/>
                <a:gd name="T6" fmla="*/ 2147483647 w 64"/>
                <a:gd name="T7" fmla="*/ 2147483647 h 30"/>
                <a:gd name="T8" fmla="*/ 2147483647 w 64"/>
                <a:gd name="T9" fmla="*/ 2147483647 h 30"/>
                <a:gd name="T10" fmla="*/ 2147483647 w 64"/>
                <a:gd name="T11" fmla="*/ 2147483647 h 30"/>
                <a:gd name="T12" fmla="*/ 2147483647 w 64"/>
                <a:gd name="T13" fmla="*/ 2147483647 h 30"/>
                <a:gd name="T14" fmla="*/ 2147483647 w 64"/>
                <a:gd name="T15" fmla="*/ 2147483647 h 30"/>
                <a:gd name="T16" fmla="*/ 2147483647 w 64"/>
                <a:gd name="T17" fmla="*/ 2147483647 h 30"/>
                <a:gd name="T18" fmla="*/ 2147483647 w 64"/>
                <a:gd name="T19" fmla="*/ 2147483647 h 30"/>
                <a:gd name="T20" fmla="*/ 2147483647 w 64"/>
                <a:gd name="T21" fmla="*/ 2147483647 h 30"/>
                <a:gd name="T22" fmla="*/ 2147483647 w 64"/>
                <a:gd name="T23" fmla="*/ 2147483647 h 3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4"/>
                <a:gd name="T37" fmla="*/ 0 h 30"/>
                <a:gd name="T38" fmla="*/ 64 w 64"/>
                <a:gd name="T39" fmla="*/ 30 h 3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4" h="30">
                  <a:moveTo>
                    <a:pt x="3" y="20"/>
                  </a:moveTo>
                  <a:cubicBezTo>
                    <a:pt x="0" y="17"/>
                    <a:pt x="2" y="10"/>
                    <a:pt x="5" y="8"/>
                  </a:cubicBezTo>
                  <a:cubicBezTo>
                    <a:pt x="8" y="6"/>
                    <a:pt x="14" y="0"/>
                    <a:pt x="18" y="2"/>
                  </a:cubicBezTo>
                  <a:cubicBezTo>
                    <a:pt x="20" y="4"/>
                    <a:pt x="26" y="12"/>
                    <a:pt x="30" y="12"/>
                  </a:cubicBezTo>
                  <a:cubicBezTo>
                    <a:pt x="32" y="11"/>
                    <a:pt x="30" y="5"/>
                    <a:pt x="33" y="4"/>
                  </a:cubicBezTo>
                  <a:cubicBezTo>
                    <a:pt x="36" y="3"/>
                    <a:pt x="40" y="9"/>
                    <a:pt x="44" y="9"/>
                  </a:cubicBezTo>
                  <a:cubicBezTo>
                    <a:pt x="48" y="9"/>
                    <a:pt x="63" y="11"/>
                    <a:pt x="63" y="12"/>
                  </a:cubicBezTo>
                  <a:cubicBezTo>
                    <a:pt x="63" y="14"/>
                    <a:pt x="64" y="18"/>
                    <a:pt x="61" y="20"/>
                  </a:cubicBezTo>
                  <a:cubicBezTo>
                    <a:pt x="58" y="21"/>
                    <a:pt x="48" y="25"/>
                    <a:pt x="42" y="24"/>
                  </a:cubicBezTo>
                  <a:cubicBezTo>
                    <a:pt x="36" y="22"/>
                    <a:pt x="26" y="23"/>
                    <a:pt x="23" y="23"/>
                  </a:cubicBezTo>
                  <a:cubicBezTo>
                    <a:pt x="20" y="24"/>
                    <a:pt x="22" y="30"/>
                    <a:pt x="16" y="28"/>
                  </a:cubicBezTo>
                  <a:cubicBezTo>
                    <a:pt x="12" y="27"/>
                    <a:pt x="3" y="20"/>
                    <a:pt x="3" y="2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52" name="Freeform 306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8600116" y="1675338"/>
              <a:ext cx="160533" cy="100655"/>
            </a:xfrm>
            <a:custGeom>
              <a:avLst/>
              <a:gdLst>
                <a:gd name="T0" fmla="*/ 2147483647 w 46"/>
                <a:gd name="T1" fmla="*/ 2147483647 h 27"/>
                <a:gd name="T2" fmla="*/ 2147483647 w 46"/>
                <a:gd name="T3" fmla="*/ 2147483647 h 27"/>
                <a:gd name="T4" fmla="*/ 2147483647 w 46"/>
                <a:gd name="T5" fmla="*/ 2147483647 h 27"/>
                <a:gd name="T6" fmla="*/ 2147483647 w 46"/>
                <a:gd name="T7" fmla="*/ 2147483647 h 27"/>
                <a:gd name="T8" fmla="*/ 2147483647 w 46"/>
                <a:gd name="T9" fmla="*/ 2147483647 h 27"/>
                <a:gd name="T10" fmla="*/ 2147483647 w 46"/>
                <a:gd name="T11" fmla="*/ 0 h 27"/>
                <a:gd name="T12" fmla="*/ 2147483647 w 46"/>
                <a:gd name="T13" fmla="*/ 2147483647 h 27"/>
                <a:gd name="T14" fmla="*/ 2147483647 w 46"/>
                <a:gd name="T15" fmla="*/ 2147483647 h 27"/>
                <a:gd name="T16" fmla="*/ 2147483647 w 46"/>
                <a:gd name="T17" fmla="*/ 2147483647 h 27"/>
                <a:gd name="T18" fmla="*/ 2147483647 w 46"/>
                <a:gd name="T19" fmla="*/ 2147483647 h 27"/>
                <a:gd name="T20" fmla="*/ 2147483647 w 46"/>
                <a:gd name="T21" fmla="*/ 2147483647 h 27"/>
                <a:gd name="T22" fmla="*/ 2147483647 w 46"/>
                <a:gd name="T23" fmla="*/ 2147483647 h 27"/>
                <a:gd name="T24" fmla="*/ 2147483647 w 46"/>
                <a:gd name="T25" fmla="*/ 2147483647 h 2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6"/>
                <a:gd name="T40" fmla="*/ 0 h 27"/>
                <a:gd name="T41" fmla="*/ 46 w 46"/>
                <a:gd name="T42" fmla="*/ 27 h 2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6" h="27">
                  <a:moveTo>
                    <a:pt x="15" y="21"/>
                  </a:moveTo>
                  <a:cubicBezTo>
                    <a:pt x="12" y="21"/>
                    <a:pt x="2" y="27"/>
                    <a:pt x="1" y="24"/>
                  </a:cubicBezTo>
                  <a:cubicBezTo>
                    <a:pt x="0" y="21"/>
                    <a:pt x="5" y="18"/>
                    <a:pt x="7" y="15"/>
                  </a:cubicBezTo>
                  <a:cubicBezTo>
                    <a:pt x="9" y="13"/>
                    <a:pt x="14" y="2"/>
                    <a:pt x="17" y="2"/>
                  </a:cubicBezTo>
                  <a:cubicBezTo>
                    <a:pt x="20" y="1"/>
                    <a:pt x="18" y="3"/>
                    <a:pt x="21" y="3"/>
                  </a:cubicBezTo>
                  <a:cubicBezTo>
                    <a:pt x="24" y="3"/>
                    <a:pt x="23" y="0"/>
                    <a:pt x="25" y="0"/>
                  </a:cubicBezTo>
                  <a:cubicBezTo>
                    <a:pt x="26" y="0"/>
                    <a:pt x="22" y="11"/>
                    <a:pt x="25" y="11"/>
                  </a:cubicBezTo>
                  <a:cubicBezTo>
                    <a:pt x="28" y="11"/>
                    <a:pt x="32" y="4"/>
                    <a:pt x="33" y="5"/>
                  </a:cubicBezTo>
                  <a:cubicBezTo>
                    <a:pt x="35" y="5"/>
                    <a:pt x="42" y="11"/>
                    <a:pt x="43" y="11"/>
                  </a:cubicBezTo>
                  <a:cubicBezTo>
                    <a:pt x="44" y="11"/>
                    <a:pt x="46" y="14"/>
                    <a:pt x="46" y="16"/>
                  </a:cubicBezTo>
                  <a:cubicBezTo>
                    <a:pt x="46" y="17"/>
                    <a:pt x="44" y="20"/>
                    <a:pt x="41" y="20"/>
                  </a:cubicBezTo>
                  <a:cubicBezTo>
                    <a:pt x="39" y="20"/>
                    <a:pt x="35" y="20"/>
                    <a:pt x="33" y="20"/>
                  </a:cubicBezTo>
                  <a:cubicBezTo>
                    <a:pt x="30" y="20"/>
                    <a:pt x="18" y="20"/>
                    <a:pt x="15" y="2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53" name="Freeform 307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8445758" y="1632200"/>
              <a:ext cx="170823" cy="83879"/>
            </a:xfrm>
            <a:custGeom>
              <a:avLst/>
              <a:gdLst>
                <a:gd name="T0" fmla="*/ 2147483647 w 49"/>
                <a:gd name="T1" fmla="*/ 2147483647 h 23"/>
                <a:gd name="T2" fmla="*/ 2147483647 w 49"/>
                <a:gd name="T3" fmla="*/ 2147483647 h 23"/>
                <a:gd name="T4" fmla="*/ 2147483647 w 49"/>
                <a:gd name="T5" fmla="*/ 2147483647 h 23"/>
                <a:gd name="T6" fmla="*/ 2147483647 w 49"/>
                <a:gd name="T7" fmla="*/ 2147483647 h 23"/>
                <a:gd name="T8" fmla="*/ 2147483647 w 49"/>
                <a:gd name="T9" fmla="*/ 2147483647 h 23"/>
                <a:gd name="T10" fmla="*/ 2147483647 w 49"/>
                <a:gd name="T11" fmla="*/ 2147483647 h 23"/>
                <a:gd name="T12" fmla="*/ 2147483647 w 49"/>
                <a:gd name="T13" fmla="*/ 2147483647 h 23"/>
                <a:gd name="T14" fmla="*/ 2147483647 w 49"/>
                <a:gd name="T15" fmla="*/ 2147483647 h 23"/>
                <a:gd name="T16" fmla="*/ 2147483647 w 49"/>
                <a:gd name="T17" fmla="*/ 2147483647 h 23"/>
                <a:gd name="T18" fmla="*/ 2147483647 w 49"/>
                <a:gd name="T19" fmla="*/ 2147483647 h 23"/>
                <a:gd name="T20" fmla="*/ 2147483647 w 49"/>
                <a:gd name="T21" fmla="*/ 2147483647 h 23"/>
                <a:gd name="T22" fmla="*/ 2147483647 w 49"/>
                <a:gd name="T23" fmla="*/ 2147483647 h 23"/>
                <a:gd name="T24" fmla="*/ 2147483647 w 49"/>
                <a:gd name="T25" fmla="*/ 2147483647 h 23"/>
                <a:gd name="T26" fmla="*/ 2147483647 w 49"/>
                <a:gd name="T27" fmla="*/ 2147483647 h 23"/>
                <a:gd name="T28" fmla="*/ 2147483647 w 49"/>
                <a:gd name="T29" fmla="*/ 2147483647 h 23"/>
                <a:gd name="T30" fmla="*/ 2147483647 w 49"/>
                <a:gd name="T31" fmla="*/ 2147483647 h 2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9"/>
                <a:gd name="T49" fmla="*/ 0 h 23"/>
                <a:gd name="T50" fmla="*/ 49 w 49"/>
                <a:gd name="T51" fmla="*/ 23 h 2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9" h="23">
                  <a:moveTo>
                    <a:pt x="1" y="9"/>
                  </a:moveTo>
                  <a:cubicBezTo>
                    <a:pt x="2" y="7"/>
                    <a:pt x="7" y="4"/>
                    <a:pt x="10" y="4"/>
                  </a:cubicBezTo>
                  <a:cubicBezTo>
                    <a:pt x="12" y="3"/>
                    <a:pt x="20" y="1"/>
                    <a:pt x="24" y="1"/>
                  </a:cubicBezTo>
                  <a:cubicBezTo>
                    <a:pt x="27" y="1"/>
                    <a:pt x="32" y="0"/>
                    <a:pt x="32" y="1"/>
                  </a:cubicBezTo>
                  <a:cubicBezTo>
                    <a:pt x="32" y="3"/>
                    <a:pt x="28" y="5"/>
                    <a:pt x="28" y="6"/>
                  </a:cubicBezTo>
                  <a:cubicBezTo>
                    <a:pt x="30" y="7"/>
                    <a:pt x="34" y="7"/>
                    <a:pt x="36" y="6"/>
                  </a:cubicBezTo>
                  <a:cubicBezTo>
                    <a:pt x="38" y="5"/>
                    <a:pt x="38" y="2"/>
                    <a:pt x="40" y="2"/>
                  </a:cubicBezTo>
                  <a:cubicBezTo>
                    <a:pt x="42" y="2"/>
                    <a:pt x="49" y="3"/>
                    <a:pt x="49" y="5"/>
                  </a:cubicBezTo>
                  <a:cubicBezTo>
                    <a:pt x="49" y="7"/>
                    <a:pt x="46" y="12"/>
                    <a:pt x="46" y="14"/>
                  </a:cubicBezTo>
                  <a:cubicBezTo>
                    <a:pt x="47" y="15"/>
                    <a:pt x="48" y="18"/>
                    <a:pt x="48" y="19"/>
                  </a:cubicBezTo>
                  <a:cubicBezTo>
                    <a:pt x="48" y="20"/>
                    <a:pt x="45" y="21"/>
                    <a:pt x="45" y="21"/>
                  </a:cubicBezTo>
                  <a:cubicBezTo>
                    <a:pt x="43" y="21"/>
                    <a:pt x="34" y="23"/>
                    <a:pt x="30" y="21"/>
                  </a:cubicBezTo>
                  <a:cubicBezTo>
                    <a:pt x="27" y="20"/>
                    <a:pt x="26" y="19"/>
                    <a:pt x="24" y="19"/>
                  </a:cubicBezTo>
                  <a:cubicBezTo>
                    <a:pt x="22" y="19"/>
                    <a:pt x="12" y="19"/>
                    <a:pt x="9" y="18"/>
                  </a:cubicBezTo>
                  <a:cubicBezTo>
                    <a:pt x="7" y="16"/>
                    <a:pt x="6" y="13"/>
                    <a:pt x="6" y="12"/>
                  </a:cubicBezTo>
                  <a:cubicBezTo>
                    <a:pt x="6" y="11"/>
                    <a:pt x="0" y="10"/>
                    <a:pt x="1" y="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54" name="Freeform 308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8384015" y="1557907"/>
              <a:ext cx="181114" cy="103051"/>
            </a:xfrm>
            <a:custGeom>
              <a:avLst/>
              <a:gdLst>
                <a:gd name="T0" fmla="*/ 2147483647 w 52"/>
                <a:gd name="T1" fmla="*/ 2147483647 h 28"/>
                <a:gd name="T2" fmla="*/ 0 w 52"/>
                <a:gd name="T3" fmla="*/ 2147483647 h 28"/>
                <a:gd name="T4" fmla="*/ 2147483647 w 52"/>
                <a:gd name="T5" fmla="*/ 2147483647 h 28"/>
                <a:gd name="T6" fmla="*/ 2147483647 w 52"/>
                <a:gd name="T7" fmla="*/ 2147483647 h 28"/>
                <a:gd name="T8" fmla="*/ 2147483647 w 52"/>
                <a:gd name="T9" fmla="*/ 2147483647 h 28"/>
                <a:gd name="T10" fmla="*/ 2147483647 w 52"/>
                <a:gd name="T11" fmla="*/ 2147483647 h 28"/>
                <a:gd name="T12" fmla="*/ 2147483647 w 52"/>
                <a:gd name="T13" fmla="*/ 2147483647 h 28"/>
                <a:gd name="T14" fmla="*/ 2147483647 w 52"/>
                <a:gd name="T15" fmla="*/ 2147483647 h 28"/>
                <a:gd name="T16" fmla="*/ 2147483647 w 52"/>
                <a:gd name="T17" fmla="*/ 0 h 28"/>
                <a:gd name="T18" fmla="*/ 2147483647 w 52"/>
                <a:gd name="T19" fmla="*/ 0 h 28"/>
                <a:gd name="T20" fmla="*/ 2147483647 w 52"/>
                <a:gd name="T21" fmla="*/ 2147483647 h 28"/>
                <a:gd name="T22" fmla="*/ 2147483647 w 52"/>
                <a:gd name="T23" fmla="*/ 2147483647 h 28"/>
                <a:gd name="T24" fmla="*/ 2147483647 w 52"/>
                <a:gd name="T25" fmla="*/ 2147483647 h 28"/>
                <a:gd name="T26" fmla="*/ 2147483647 w 52"/>
                <a:gd name="T27" fmla="*/ 2147483647 h 28"/>
                <a:gd name="T28" fmla="*/ 2147483647 w 52"/>
                <a:gd name="T29" fmla="*/ 2147483647 h 28"/>
                <a:gd name="T30" fmla="*/ 2147483647 w 52"/>
                <a:gd name="T31" fmla="*/ 2147483647 h 28"/>
                <a:gd name="T32" fmla="*/ 2147483647 w 52"/>
                <a:gd name="T33" fmla="*/ 2147483647 h 28"/>
                <a:gd name="T34" fmla="*/ 2147483647 w 52"/>
                <a:gd name="T35" fmla="*/ 2147483647 h 28"/>
                <a:gd name="T36" fmla="*/ 2147483647 w 52"/>
                <a:gd name="T37" fmla="*/ 2147483647 h 28"/>
                <a:gd name="T38" fmla="*/ 2147483647 w 52"/>
                <a:gd name="T39" fmla="*/ 2147483647 h 2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2"/>
                <a:gd name="T61" fmla="*/ 0 h 28"/>
                <a:gd name="T62" fmla="*/ 52 w 52"/>
                <a:gd name="T63" fmla="*/ 28 h 2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2" h="28">
                  <a:moveTo>
                    <a:pt x="2" y="27"/>
                  </a:moveTo>
                  <a:cubicBezTo>
                    <a:pt x="0" y="26"/>
                    <a:pt x="0" y="24"/>
                    <a:pt x="0" y="22"/>
                  </a:cubicBezTo>
                  <a:cubicBezTo>
                    <a:pt x="0" y="20"/>
                    <a:pt x="2" y="21"/>
                    <a:pt x="4" y="21"/>
                  </a:cubicBezTo>
                  <a:cubicBezTo>
                    <a:pt x="6" y="21"/>
                    <a:pt x="11" y="20"/>
                    <a:pt x="12" y="20"/>
                  </a:cubicBezTo>
                  <a:cubicBezTo>
                    <a:pt x="13" y="20"/>
                    <a:pt x="8" y="17"/>
                    <a:pt x="8" y="15"/>
                  </a:cubicBezTo>
                  <a:cubicBezTo>
                    <a:pt x="7" y="12"/>
                    <a:pt x="13" y="13"/>
                    <a:pt x="14" y="11"/>
                  </a:cubicBezTo>
                  <a:cubicBezTo>
                    <a:pt x="15" y="9"/>
                    <a:pt x="12" y="7"/>
                    <a:pt x="14" y="6"/>
                  </a:cubicBezTo>
                  <a:cubicBezTo>
                    <a:pt x="16" y="6"/>
                    <a:pt x="23" y="4"/>
                    <a:pt x="23" y="4"/>
                  </a:cubicBezTo>
                  <a:cubicBezTo>
                    <a:pt x="27" y="3"/>
                    <a:pt x="30" y="0"/>
                    <a:pt x="31" y="0"/>
                  </a:cubicBezTo>
                  <a:cubicBezTo>
                    <a:pt x="32" y="0"/>
                    <a:pt x="35" y="0"/>
                    <a:pt x="35" y="0"/>
                  </a:cubicBezTo>
                  <a:cubicBezTo>
                    <a:pt x="35" y="0"/>
                    <a:pt x="41" y="5"/>
                    <a:pt x="42" y="6"/>
                  </a:cubicBezTo>
                  <a:cubicBezTo>
                    <a:pt x="44" y="6"/>
                    <a:pt x="51" y="8"/>
                    <a:pt x="51" y="8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52" y="11"/>
                    <a:pt x="46" y="12"/>
                    <a:pt x="46" y="13"/>
                  </a:cubicBezTo>
                  <a:cubicBezTo>
                    <a:pt x="45" y="14"/>
                    <a:pt x="46" y="13"/>
                    <a:pt x="46" y="14"/>
                  </a:cubicBezTo>
                  <a:cubicBezTo>
                    <a:pt x="46" y="15"/>
                    <a:pt x="42" y="17"/>
                    <a:pt x="38" y="17"/>
                  </a:cubicBezTo>
                  <a:cubicBezTo>
                    <a:pt x="34" y="17"/>
                    <a:pt x="27" y="18"/>
                    <a:pt x="24" y="20"/>
                  </a:cubicBezTo>
                  <a:cubicBezTo>
                    <a:pt x="20" y="21"/>
                    <a:pt x="19" y="21"/>
                    <a:pt x="18" y="23"/>
                  </a:cubicBezTo>
                  <a:cubicBezTo>
                    <a:pt x="16" y="24"/>
                    <a:pt x="14" y="28"/>
                    <a:pt x="12" y="28"/>
                  </a:cubicBezTo>
                  <a:cubicBezTo>
                    <a:pt x="10" y="28"/>
                    <a:pt x="4" y="28"/>
                    <a:pt x="2" y="2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55" name="Freeform 309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7307624" y="1821527"/>
              <a:ext cx="477481" cy="359482"/>
            </a:xfrm>
            <a:custGeom>
              <a:avLst/>
              <a:gdLst>
                <a:gd name="T0" fmla="*/ 2147483647 w 136"/>
                <a:gd name="T1" fmla="*/ 2147483647 h 98"/>
                <a:gd name="T2" fmla="*/ 2147483647 w 136"/>
                <a:gd name="T3" fmla="*/ 2147483647 h 98"/>
                <a:gd name="T4" fmla="*/ 2147483647 w 136"/>
                <a:gd name="T5" fmla="*/ 2147483647 h 98"/>
                <a:gd name="T6" fmla="*/ 2147483647 w 136"/>
                <a:gd name="T7" fmla="*/ 2147483647 h 98"/>
                <a:gd name="T8" fmla="*/ 2147483647 w 136"/>
                <a:gd name="T9" fmla="*/ 2147483647 h 98"/>
                <a:gd name="T10" fmla="*/ 2147483647 w 136"/>
                <a:gd name="T11" fmla="*/ 2147483647 h 98"/>
                <a:gd name="T12" fmla="*/ 2147483647 w 136"/>
                <a:gd name="T13" fmla="*/ 2147483647 h 98"/>
                <a:gd name="T14" fmla="*/ 2147483647 w 136"/>
                <a:gd name="T15" fmla="*/ 2147483647 h 98"/>
                <a:gd name="T16" fmla="*/ 2147483647 w 136"/>
                <a:gd name="T17" fmla="*/ 2147483647 h 98"/>
                <a:gd name="T18" fmla="*/ 2147483647 w 136"/>
                <a:gd name="T19" fmla="*/ 2147483647 h 98"/>
                <a:gd name="T20" fmla="*/ 2147483647 w 136"/>
                <a:gd name="T21" fmla="*/ 2147483647 h 98"/>
                <a:gd name="T22" fmla="*/ 2147483647 w 136"/>
                <a:gd name="T23" fmla="*/ 2147483647 h 98"/>
                <a:gd name="T24" fmla="*/ 2147483647 w 136"/>
                <a:gd name="T25" fmla="*/ 2147483647 h 98"/>
                <a:gd name="T26" fmla="*/ 2147483647 w 136"/>
                <a:gd name="T27" fmla="*/ 2147483647 h 98"/>
                <a:gd name="T28" fmla="*/ 2147483647 w 136"/>
                <a:gd name="T29" fmla="*/ 2147483647 h 98"/>
                <a:gd name="T30" fmla="*/ 2147483647 w 136"/>
                <a:gd name="T31" fmla="*/ 0 h 98"/>
                <a:gd name="T32" fmla="*/ 2147483647 w 136"/>
                <a:gd name="T33" fmla="*/ 2147483647 h 98"/>
                <a:gd name="T34" fmla="*/ 2147483647 w 136"/>
                <a:gd name="T35" fmla="*/ 2147483647 h 98"/>
                <a:gd name="T36" fmla="*/ 2147483647 w 136"/>
                <a:gd name="T37" fmla="*/ 2147483647 h 98"/>
                <a:gd name="T38" fmla="*/ 2147483647 w 136"/>
                <a:gd name="T39" fmla="*/ 2147483647 h 98"/>
                <a:gd name="T40" fmla="*/ 2147483647 w 136"/>
                <a:gd name="T41" fmla="*/ 2147483647 h 98"/>
                <a:gd name="T42" fmla="*/ 2147483647 w 136"/>
                <a:gd name="T43" fmla="*/ 2147483647 h 98"/>
                <a:gd name="T44" fmla="*/ 2147483647 w 136"/>
                <a:gd name="T45" fmla="*/ 2147483647 h 98"/>
                <a:gd name="T46" fmla="*/ 2147483647 w 136"/>
                <a:gd name="T47" fmla="*/ 2147483647 h 98"/>
                <a:gd name="T48" fmla="*/ 2147483647 w 136"/>
                <a:gd name="T49" fmla="*/ 2147483647 h 98"/>
                <a:gd name="T50" fmla="*/ 2147483647 w 136"/>
                <a:gd name="T51" fmla="*/ 2147483647 h 98"/>
                <a:gd name="T52" fmla="*/ 2147483647 w 136"/>
                <a:gd name="T53" fmla="*/ 2147483647 h 9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36"/>
                <a:gd name="T82" fmla="*/ 0 h 98"/>
                <a:gd name="T83" fmla="*/ 136 w 136"/>
                <a:gd name="T84" fmla="*/ 98 h 98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36" h="98">
                  <a:moveTo>
                    <a:pt x="16" y="88"/>
                  </a:moveTo>
                  <a:cubicBezTo>
                    <a:pt x="14" y="85"/>
                    <a:pt x="7" y="87"/>
                    <a:pt x="5" y="85"/>
                  </a:cubicBezTo>
                  <a:cubicBezTo>
                    <a:pt x="3" y="83"/>
                    <a:pt x="0" y="78"/>
                    <a:pt x="4" y="76"/>
                  </a:cubicBezTo>
                  <a:cubicBezTo>
                    <a:pt x="7" y="74"/>
                    <a:pt x="11" y="73"/>
                    <a:pt x="11" y="73"/>
                  </a:cubicBezTo>
                  <a:cubicBezTo>
                    <a:pt x="11" y="73"/>
                    <a:pt x="14" y="63"/>
                    <a:pt x="16" y="60"/>
                  </a:cubicBezTo>
                  <a:cubicBezTo>
                    <a:pt x="18" y="58"/>
                    <a:pt x="24" y="58"/>
                    <a:pt x="24" y="56"/>
                  </a:cubicBezTo>
                  <a:cubicBezTo>
                    <a:pt x="26" y="55"/>
                    <a:pt x="22" y="52"/>
                    <a:pt x="22" y="50"/>
                  </a:cubicBezTo>
                  <a:cubicBezTo>
                    <a:pt x="23" y="48"/>
                    <a:pt x="32" y="41"/>
                    <a:pt x="34" y="40"/>
                  </a:cubicBezTo>
                  <a:cubicBezTo>
                    <a:pt x="35" y="38"/>
                    <a:pt x="40" y="38"/>
                    <a:pt x="40" y="36"/>
                  </a:cubicBezTo>
                  <a:cubicBezTo>
                    <a:pt x="42" y="34"/>
                    <a:pt x="40" y="29"/>
                    <a:pt x="42" y="27"/>
                  </a:cubicBezTo>
                  <a:cubicBezTo>
                    <a:pt x="44" y="26"/>
                    <a:pt x="52" y="23"/>
                    <a:pt x="54" y="22"/>
                  </a:cubicBezTo>
                  <a:cubicBezTo>
                    <a:pt x="56" y="20"/>
                    <a:pt x="71" y="15"/>
                    <a:pt x="71" y="15"/>
                  </a:cubicBezTo>
                  <a:cubicBezTo>
                    <a:pt x="71" y="15"/>
                    <a:pt x="79" y="11"/>
                    <a:pt x="80" y="11"/>
                  </a:cubicBezTo>
                  <a:cubicBezTo>
                    <a:pt x="82" y="11"/>
                    <a:pt x="86" y="12"/>
                    <a:pt x="90" y="12"/>
                  </a:cubicBezTo>
                  <a:cubicBezTo>
                    <a:pt x="93" y="12"/>
                    <a:pt x="108" y="10"/>
                    <a:pt x="110" y="8"/>
                  </a:cubicBezTo>
                  <a:cubicBezTo>
                    <a:pt x="114" y="6"/>
                    <a:pt x="120" y="0"/>
                    <a:pt x="126" y="0"/>
                  </a:cubicBezTo>
                  <a:cubicBezTo>
                    <a:pt x="132" y="0"/>
                    <a:pt x="136" y="1"/>
                    <a:pt x="136" y="5"/>
                  </a:cubicBezTo>
                  <a:cubicBezTo>
                    <a:pt x="135" y="8"/>
                    <a:pt x="132" y="14"/>
                    <a:pt x="129" y="14"/>
                  </a:cubicBezTo>
                  <a:cubicBezTo>
                    <a:pt x="126" y="14"/>
                    <a:pt x="82" y="26"/>
                    <a:pt x="76" y="29"/>
                  </a:cubicBezTo>
                  <a:cubicBezTo>
                    <a:pt x="69" y="32"/>
                    <a:pt x="63" y="40"/>
                    <a:pt x="60" y="41"/>
                  </a:cubicBezTo>
                  <a:cubicBezTo>
                    <a:pt x="56" y="43"/>
                    <a:pt x="48" y="50"/>
                    <a:pt x="44" y="54"/>
                  </a:cubicBezTo>
                  <a:cubicBezTo>
                    <a:pt x="41" y="58"/>
                    <a:pt x="32" y="65"/>
                    <a:pt x="32" y="70"/>
                  </a:cubicBezTo>
                  <a:cubicBezTo>
                    <a:pt x="32" y="76"/>
                    <a:pt x="32" y="80"/>
                    <a:pt x="35" y="83"/>
                  </a:cubicBezTo>
                  <a:cubicBezTo>
                    <a:pt x="38" y="87"/>
                    <a:pt x="52" y="93"/>
                    <a:pt x="50" y="95"/>
                  </a:cubicBezTo>
                  <a:cubicBezTo>
                    <a:pt x="48" y="97"/>
                    <a:pt x="40" y="98"/>
                    <a:pt x="36" y="96"/>
                  </a:cubicBezTo>
                  <a:cubicBezTo>
                    <a:pt x="30" y="95"/>
                    <a:pt x="23" y="95"/>
                    <a:pt x="23" y="95"/>
                  </a:cubicBezTo>
                  <a:cubicBezTo>
                    <a:pt x="18" y="93"/>
                    <a:pt x="18" y="90"/>
                    <a:pt x="16" y="8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56" name="Freeform 310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7219125" y="2233733"/>
              <a:ext cx="67918" cy="40741"/>
            </a:xfrm>
            <a:custGeom>
              <a:avLst/>
              <a:gdLst>
                <a:gd name="T0" fmla="*/ 2147483647 w 19"/>
                <a:gd name="T1" fmla="*/ 2147483647 h 11"/>
                <a:gd name="T2" fmla="*/ 2147483647 w 19"/>
                <a:gd name="T3" fmla="*/ 2147483647 h 11"/>
                <a:gd name="T4" fmla="*/ 2147483647 w 19"/>
                <a:gd name="T5" fmla="*/ 0 h 11"/>
                <a:gd name="T6" fmla="*/ 2147483647 w 19"/>
                <a:gd name="T7" fmla="*/ 2147483647 h 11"/>
                <a:gd name="T8" fmla="*/ 2147483647 w 19"/>
                <a:gd name="T9" fmla="*/ 2147483647 h 11"/>
                <a:gd name="T10" fmla="*/ 2147483647 w 19"/>
                <a:gd name="T11" fmla="*/ 2147483647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11"/>
                <a:gd name="T20" fmla="*/ 19 w 19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11">
                  <a:moveTo>
                    <a:pt x="9" y="11"/>
                  </a:moveTo>
                  <a:cubicBezTo>
                    <a:pt x="7" y="11"/>
                    <a:pt x="2" y="10"/>
                    <a:pt x="1" y="9"/>
                  </a:cubicBezTo>
                  <a:cubicBezTo>
                    <a:pt x="0" y="7"/>
                    <a:pt x="4" y="1"/>
                    <a:pt x="6" y="0"/>
                  </a:cubicBezTo>
                  <a:cubicBezTo>
                    <a:pt x="7" y="0"/>
                    <a:pt x="12" y="0"/>
                    <a:pt x="15" y="1"/>
                  </a:cubicBezTo>
                  <a:cubicBezTo>
                    <a:pt x="17" y="3"/>
                    <a:pt x="19" y="5"/>
                    <a:pt x="18" y="6"/>
                  </a:cubicBezTo>
                  <a:cubicBezTo>
                    <a:pt x="17" y="7"/>
                    <a:pt x="12" y="11"/>
                    <a:pt x="9" y="1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57" name="Freeform 311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6665494" y="1780786"/>
              <a:ext cx="4375540" cy="1588910"/>
            </a:xfrm>
            <a:custGeom>
              <a:avLst/>
              <a:gdLst>
                <a:gd name="T0" fmla="*/ 2147483647 w 1246"/>
                <a:gd name="T1" fmla="*/ 2147483647 h 431"/>
                <a:gd name="T2" fmla="*/ 2147483647 w 1246"/>
                <a:gd name="T3" fmla="*/ 2147483647 h 431"/>
                <a:gd name="T4" fmla="*/ 2147483647 w 1246"/>
                <a:gd name="T5" fmla="*/ 2147483647 h 431"/>
                <a:gd name="T6" fmla="*/ 2147483647 w 1246"/>
                <a:gd name="T7" fmla="*/ 2147483647 h 431"/>
                <a:gd name="T8" fmla="*/ 2147483647 w 1246"/>
                <a:gd name="T9" fmla="*/ 2147483647 h 431"/>
                <a:gd name="T10" fmla="*/ 2147483647 w 1246"/>
                <a:gd name="T11" fmla="*/ 2147483647 h 431"/>
                <a:gd name="T12" fmla="*/ 2147483647 w 1246"/>
                <a:gd name="T13" fmla="*/ 2147483647 h 431"/>
                <a:gd name="T14" fmla="*/ 2147483647 w 1246"/>
                <a:gd name="T15" fmla="*/ 2147483647 h 431"/>
                <a:gd name="T16" fmla="*/ 2147483647 w 1246"/>
                <a:gd name="T17" fmla="*/ 2147483647 h 431"/>
                <a:gd name="T18" fmla="*/ 2147483647 w 1246"/>
                <a:gd name="T19" fmla="*/ 2147483647 h 431"/>
                <a:gd name="T20" fmla="*/ 2147483647 w 1246"/>
                <a:gd name="T21" fmla="*/ 2147483647 h 431"/>
                <a:gd name="T22" fmla="*/ 2147483647 w 1246"/>
                <a:gd name="T23" fmla="*/ 2147483647 h 431"/>
                <a:gd name="T24" fmla="*/ 2147483647 w 1246"/>
                <a:gd name="T25" fmla="*/ 2147483647 h 431"/>
                <a:gd name="T26" fmla="*/ 2147483647 w 1246"/>
                <a:gd name="T27" fmla="*/ 2147483647 h 431"/>
                <a:gd name="T28" fmla="*/ 2147483647 w 1246"/>
                <a:gd name="T29" fmla="*/ 2147483647 h 431"/>
                <a:gd name="T30" fmla="*/ 2147483647 w 1246"/>
                <a:gd name="T31" fmla="*/ 2147483647 h 431"/>
                <a:gd name="T32" fmla="*/ 2147483647 w 1246"/>
                <a:gd name="T33" fmla="*/ 2147483647 h 431"/>
                <a:gd name="T34" fmla="*/ 2147483647 w 1246"/>
                <a:gd name="T35" fmla="*/ 2147483647 h 431"/>
                <a:gd name="T36" fmla="*/ 2147483647 w 1246"/>
                <a:gd name="T37" fmla="*/ 2147483647 h 431"/>
                <a:gd name="T38" fmla="*/ 2147483647 w 1246"/>
                <a:gd name="T39" fmla="*/ 2147483647 h 431"/>
                <a:gd name="T40" fmla="*/ 2147483647 w 1246"/>
                <a:gd name="T41" fmla="*/ 2147483647 h 431"/>
                <a:gd name="T42" fmla="*/ 2147483647 w 1246"/>
                <a:gd name="T43" fmla="*/ 2147483647 h 431"/>
                <a:gd name="T44" fmla="*/ 2147483647 w 1246"/>
                <a:gd name="T45" fmla="*/ 2147483647 h 431"/>
                <a:gd name="T46" fmla="*/ 2147483647 w 1246"/>
                <a:gd name="T47" fmla="*/ 0 h 431"/>
                <a:gd name="T48" fmla="*/ 2147483647 w 1246"/>
                <a:gd name="T49" fmla="*/ 2147483647 h 431"/>
                <a:gd name="T50" fmla="*/ 2147483647 w 1246"/>
                <a:gd name="T51" fmla="*/ 2147483647 h 431"/>
                <a:gd name="T52" fmla="*/ 2147483647 w 1246"/>
                <a:gd name="T53" fmla="*/ 2147483647 h 431"/>
                <a:gd name="T54" fmla="*/ 2147483647 w 1246"/>
                <a:gd name="T55" fmla="*/ 2147483647 h 431"/>
                <a:gd name="T56" fmla="*/ 2147483647 w 1246"/>
                <a:gd name="T57" fmla="*/ 2147483647 h 431"/>
                <a:gd name="T58" fmla="*/ 2147483647 w 1246"/>
                <a:gd name="T59" fmla="*/ 2147483647 h 431"/>
                <a:gd name="T60" fmla="*/ 2147483647 w 1246"/>
                <a:gd name="T61" fmla="*/ 2147483647 h 431"/>
                <a:gd name="T62" fmla="*/ 2147483647 w 1246"/>
                <a:gd name="T63" fmla="*/ 2147483647 h 431"/>
                <a:gd name="T64" fmla="*/ 2147483647 w 1246"/>
                <a:gd name="T65" fmla="*/ 2147483647 h 431"/>
                <a:gd name="T66" fmla="*/ 2147483647 w 1246"/>
                <a:gd name="T67" fmla="*/ 2147483647 h 431"/>
                <a:gd name="T68" fmla="*/ 2147483647 w 1246"/>
                <a:gd name="T69" fmla="*/ 2147483647 h 431"/>
                <a:gd name="T70" fmla="*/ 2147483647 w 1246"/>
                <a:gd name="T71" fmla="*/ 2147483647 h 431"/>
                <a:gd name="T72" fmla="*/ 2147483647 w 1246"/>
                <a:gd name="T73" fmla="*/ 2147483647 h 431"/>
                <a:gd name="T74" fmla="*/ 2147483647 w 1246"/>
                <a:gd name="T75" fmla="*/ 2147483647 h 431"/>
                <a:gd name="T76" fmla="*/ 2147483647 w 1246"/>
                <a:gd name="T77" fmla="*/ 2147483647 h 431"/>
                <a:gd name="T78" fmla="*/ 2147483647 w 1246"/>
                <a:gd name="T79" fmla="*/ 2147483647 h 431"/>
                <a:gd name="T80" fmla="*/ 2147483647 w 1246"/>
                <a:gd name="T81" fmla="*/ 2147483647 h 431"/>
                <a:gd name="T82" fmla="*/ 2147483647 w 1246"/>
                <a:gd name="T83" fmla="*/ 2147483647 h 431"/>
                <a:gd name="T84" fmla="*/ 2147483647 w 1246"/>
                <a:gd name="T85" fmla="*/ 2147483647 h 431"/>
                <a:gd name="T86" fmla="*/ 2147483647 w 1246"/>
                <a:gd name="T87" fmla="*/ 2147483647 h 431"/>
                <a:gd name="T88" fmla="*/ 2147483647 w 1246"/>
                <a:gd name="T89" fmla="*/ 2147483647 h 431"/>
                <a:gd name="T90" fmla="*/ 2147483647 w 1246"/>
                <a:gd name="T91" fmla="*/ 2147483647 h 431"/>
                <a:gd name="T92" fmla="*/ 2147483647 w 1246"/>
                <a:gd name="T93" fmla="*/ 2147483647 h 431"/>
                <a:gd name="T94" fmla="*/ 2147483647 w 1246"/>
                <a:gd name="T95" fmla="*/ 2147483647 h 431"/>
                <a:gd name="T96" fmla="*/ 2147483647 w 1246"/>
                <a:gd name="T97" fmla="*/ 2147483647 h 431"/>
                <a:gd name="T98" fmla="*/ 2147483647 w 1246"/>
                <a:gd name="T99" fmla="*/ 2147483647 h 431"/>
                <a:gd name="T100" fmla="*/ 2147483647 w 1246"/>
                <a:gd name="T101" fmla="*/ 2147483647 h 431"/>
                <a:gd name="T102" fmla="*/ 2147483647 w 1246"/>
                <a:gd name="T103" fmla="*/ 2147483647 h 431"/>
                <a:gd name="T104" fmla="*/ 2147483647 w 1246"/>
                <a:gd name="T105" fmla="*/ 2147483647 h 431"/>
                <a:gd name="T106" fmla="*/ 2147483647 w 1246"/>
                <a:gd name="T107" fmla="*/ 2147483647 h 431"/>
                <a:gd name="T108" fmla="*/ 2147483647 w 1246"/>
                <a:gd name="T109" fmla="*/ 2147483647 h 431"/>
                <a:gd name="T110" fmla="*/ 2147483647 w 1246"/>
                <a:gd name="T111" fmla="*/ 2147483647 h 431"/>
                <a:gd name="T112" fmla="*/ 2147483647 w 1246"/>
                <a:gd name="T113" fmla="*/ 2147483647 h 431"/>
                <a:gd name="T114" fmla="*/ 2147483647 w 1246"/>
                <a:gd name="T115" fmla="*/ 2147483647 h 431"/>
                <a:gd name="T116" fmla="*/ 2147483647 w 1246"/>
                <a:gd name="T117" fmla="*/ 2147483647 h 431"/>
                <a:gd name="T118" fmla="*/ 2147483647 w 1246"/>
                <a:gd name="T119" fmla="*/ 2147483647 h 431"/>
                <a:gd name="T120" fmla="*/ 2147483647 w 1246"/>
                <a:gd name="T121" fmla="*/ 2147483647 h 431"/>
                <a:gd name="T122" fmla="*/ 2147483647 w 1246"/>
                <a:gd name="T123" fmla="*/ 2147483647 h 43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46"/>
                <a:gd name="T187" fmla="*/ 0 h 431"/>
                <a:gd name="T188" fmla="*/ 1246 w 1246"/>
                <a:gd name="T189" fmla="*/ 431 h 43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46" h="431">
                  <a:moveTo>
                    <a:pt x="16" y="286"/>
                  </a:moveTo>
                  <a:cubicBezTo>
                    <a:pt x="13" y="285"/>
                    <a:pt x="8" y="284"/>
                    <a:pt x="6" y="284"/>
                  </a:cubicBezTo>
                  <a:cubicBezTo>
                    <a:pt x="5" y="284"/>
                    <a:pt x="5" y="278"/>
                    <a:pt x="4" y="276"/>
                  </a:cubicBezTo>
                  <a:cubicBezTo>
                    <a:pt x="4" y="274"/>
                    <a:pt x="3" y="268"/>
                    <a:pt x="2" y="268"/>
                  </a:cubicBezTo>
                  <a:cubicBezTo>
                    <a:pt x="1" y="267"/>
                    <a:pt x="0" y="261"/>
                    <a:pt x="1" y="258"/>
                  </a:cubicBezTo>
                  <a:cubicBezTo>
                    <a:pt x="5" y="247"/>
                    <a:pt x="5" y="247"/>
                    <a:pt x="5" y="247"/>
                  </a:cubicBezTo>
                  <a:cubicBezTo>
                    <a:pt x="6" y="247"/>
                    <a:pt x="6" y="243"/>
                    <a:pt x="7" y="242"/>
                  </a:cubicBezTo>
                  <a:cubicBezTo>
                    <a:pt x="9" y="242"/>
                    <a:pt x="18" y="242"/>
                    <a:pt x="19" y="242"/>
                  </a:cubicBezTo>
                  <a:cubicBezTo>
                    <a:pt x="20" y="242"/>
                    <a:pt x="22" y="241"/>
                    <a:pt x="22" y="240"/>
                  </a:cubicBezTo>
                  <a:cubicBezTo>
                    <a:pt x="22" y="239"/>
                    <a:pt x="15" y="238"/>
                    <a:pt x="14" y="237"/>
                  </a:cubicBezTo>
                  <a:cubicBezTo>
                    <a:pt x="13" y="236"/>
                    <a:pt x="10" y="234"/>
                    <a:pt x="10" y="232"/>
                  </a:cubicBezTo>
                  <a:cubicBezTo>
                    <a:pt x="10" y="232"/>
                    <a:pt x="10" y="232"/>
                    <a:pt x="8" y="232"/>
                  </a:cubicBezTo>
                  <a:cubicBezTo>
                    <a:pt x="12" y="227"/>
                    <a:pt x="12" y="227"/>
                    <a:pt x="12" y="227"/>
                  </a:cubicBezTo>
                  <a:cubicBezTo>
                    <a:pt x="14" y="225"/>
                    <a:pt x="30" y="212"/>
                    <a:pt x="31" y="209"/>
                  </a:cubicBezTo>
                  <a:cubicBezTo>
                    <a:pt x="32" y="206"/>
                    <a:pt x="31" y="203"/>
                    <a:pt x="28" y="202"/>
                  </a:cubicBezTo>
                  <a:cubicBezTo>
                    <a:pt x="26" y="201"/>
                    <a:pt x="21" y="199"/>
                    <a:pt x="21" y="197"/>
                  </a:cubicBezTo>
                  <a:cubicBezTo>
                    <a:pt x="20" y="196"/>
                    <a:pt x="25" y="192"/>
                    <a:pt x="24" y="190"/>
                  </a:cubicBezTo>
                  <a:cubicBezTo>
                    <a:pt x="23" y="188"/>
                    <a:pt x="18" y="187"/>
                    <a:pt x="18" y="184"/>
                  </a:cubicBezTo>
                  <a:cubicBezTo>
                    <a:pt x="19" y="180"/>
                    <a:pt x="20" y="177"/>
                    <a:pt x="20" y="174"/>
                  </a:cubicBezTo>
                  <a:cubicBezTo>
                    <a:pt x="20" y="172"/>
                    <a:pt x="20" y="168"/>
                    <a:pt x="19" y="166"/>
                  </a:cubicBezTo>
                  <a:cubicBezTo>
                    <a:pt x="18" y="163"/>
                    <a:pt x="13" y="160"/>
                    <a:pt x="14" y="157"/>
                  </a:cubicBezTo>
                  <a:cubicBezTo>
                    <a:pt x="14" y="154"/>
                    <a:pt x="20" y="150"/>
                    <a:pt x="20" y="147"/>
                  </a:cubicBezTo>
                  <a:cubicBezTo>
                    <a:pt x="20" y="145"/>
                    <a:pt x="13" y="143"/>
                    <a:pt x="11" y="141"/>
                  </a:cubicBezTo>
                  <a:cubicBezTo>
                    <a:pt x="10" y="139"/>
                    <a:pt x="10" y="136"/>
                    <a:pt x="10" y="136"/>
                  </a:cubicBezTo>
                  <a:cubicBezTo>
                    <a:pt x="12" y="131"/>
                    <a:pt x="12" y="131"/>
                    <a:pt x="12" y="131"/>
                  </a:cubicBezTo>
                  <a:cubicBezTo>
                    <a:pt x="14" y="132"/>
                    <a:pt x="16" y="132"/>
                    <a:pt x="16" y="130"/>
                  </a:cubicBezTo>
                  <a:cubicBezTo>
                    <a:pt x="16" y="124"/>
                    <a:pt x="19" y="127"/>
                    <a:pt x="21" y="125"/>
                  </a:cubicBezTo>
                  <a:cubicBezTo>
                    <a:pt x="22" y="123"/>
                    <a:pt x="23" y="119"/>
                    <a:pt x="23" y="119"/>
                  </a:cubicBezTo>
                  <a:cubicBezTo>
                    <a:pt x="26" y="120"/>
                    <a:pt x="34" y="122"/>
                    <a:pt x="35" y="122"/>
                  </a:cubicBezTo>
                  <a:cubicBezTo>
                    <a:pt x="36" y="122"/>
                    <a:pt x="35" y="118"/>
                    <a:pt x="38" y="119"/>
                  </a:cubicBezTo>
                  <a:cubicBezTo>
                    <a:pt x="41" y="119"/>
                    <a:pt x="45" y="119"/>
                    <a:pt x="45" y="120"/>
                  </a:cubicBezTo>
                  <a:cubicBezTo>
                    <a:pt x="45" y="121"/>
                    <a:pt x="41" y="122"/>
                    <a:pt x="41" y="124"/>
                  </a:cubicBezTo>
                  <a:cubicBezTo>
                    <a:pt x="41" y="125"/>
                    <a:pt x="46" y="125"/>
                    <a:pt x="50" y="125"/>
                  </a:cubicBezTo>
                  <a:cubicBezTo>
                    <a:pt x="54" y="126"/>
                    <a:pt x="61" y="126"/>
                    <a:pt x="64" y="127"/>
                  </a:cubicBezTo>
                  <a:cubicBezTo>
                    <a:pt x="68" y="128"/>
                    <a:pt x="80" y="133"/>
                    <a:pt x="83" y="136"/>
                  </a:cubicBezTo>
                  <a:cubicBezTo>
                    <a:pt x="86" y="138"/>
                    <a:pt x="98" y="144"/>
                    <a:pt x="100" y="144"/>
                  </a:cubicBezTo>
                  <a:cubicBezTo>
                    <a:pt x="102" y="144"/>
                    <a:pt x="105" y="145"/>
                    <a:pt x="105" y="146"/>
                  </a:cubicBezTo>
                  <a:cubicBezTo>
                    <a:pt x="106" y="147"/>
                    <a:pt x="105" y="151"/>
                    <a:pt x="106" y="152"/>
                  </a:cubicBezTo>
                  <a:cubicBezTo>
                    <a:pt x="107" y="154"/>
                    <a:pt x="108" y="157"/>
                    <a:pt x="105" y="159"/>
                  </a:cubicBezTo>
                  <a:cubicBezTo>
                    <a:pt x="103" y="160"/>
                    <a:pt x="100" y="165"/>
                    <a:pt x="93" y="166"/>
                  </a:cubicBezTo>
                  <a:cubicBezTo>
                    <a:pt x="79" y="169"/>
                    <a:pt x="75" y="165"/>
                    <a:pt x="73" y="164"/>
                  </a:cubicBezTo>
                  <a:cubicBezTo>
                    <a:pt x="70" y="164"/>
                    <a:pt x="64" y="163"/>
                    <a:pt x="61" y="162"/>
                  </a:cubicBezTo>
                  <a:cubicBezTo>
                    <a:pt x="58" y="160"/>
                    <a:pt x="52" y="158"/>
                    <a:pt x="49" y="157"/>
                  </a:cubicBezTo>
                  <a:cubicBezTo>
                    <a:pt x="46" y="156"/>
                    <a:pt x="44" y="155"/>
                    <a:pt x="42" y="154"/>
                  </a:cubicBezTo>
                  <a:cubicBezTo>
                    <a:pt x="39" y="153"/>
                    <a:pt x="36" y="153"/>
                    <a:pt x="35" y="154"/>
                  </a:cubicBezTo>
                  <a:cubicBezTo>
                    <a:pt x="34" y="154"/>
                    <a:pt x="38" y="157"/>
                    <a:pt x="39" y="159"/>
                  </a:cubicBezTo>
                  <a:cubicBezTo>
                    <a:pt x="41" y="160"/>
                    <a:pt x="46" y="164"/>
                    <a:pt x="50" y="166"/>
                  </a:cubicBezTo>
                  <a:cubicBezTo>
                    <a:pt x="53" y="168"/>
                    <a:pt x="57" y="169"/>
                    <a:pt x="57" y="171"/>
                  </a:cubicBezTo>
                  <a:cubicBezTo>
                    <a:pt x="56" y="173"/>
                    <a:pt x="53" y="176"/>
                    <a:pt x="54" y="177"/>
                  </a:cubicBezTo>
                  <a:cubicBezTo>
                    <a:pt x="55" y="178"/>
                    <a:pt x="58" y="182"/>
                    <a:pt x="58" y="183"/>
                  </a:cubicBezTo>
                  <a:cubicBezTo>
                    <a:pt x="58" y="185"/>
                    <a:pt x="58" y="187"/>
                    <a:pt x="59" y="188"/>
                  </a:cubicBezTo>
                  <a:cubicBezTo>
                    <a:pt x="61" y="190"/>
                    <a:pt x="66" y="189"/>
                    <a:pt x="66" y="190"/>
                  </a:cubicBezTo>
                  <a:cubicBezTo>
                    <a:pt x="67" y="192"/>
                    <a:pt x="69" y="194"/>
                    <a:pt x="72" y="195"/>
                  </a:cubicBezTo>
                  <a:cubicBezTo>
                    <a:pt x="74" y="196"/>
                    <a:pt x="80" y="197"/>
                    <a:pt x="81" y="196"/>
                  </a:cubicBezTo>
                  <a:cubicBezTo>
                    <a:pt x="82" y="195"/>
                    <a:pt x="83" y="191"/>
                    <a:pt x="81" y="189"/>
                  </a:cubicBezTo>
                  <a:cubicBezTo>
                    <a:pt x="79" y="187"/>
                    <a:pt x="76" y="188"/>
                    <a:pt x="74" y="187"/>
                  </a:cubicBezTo>
                  <a:cubicBezTo>
                    <a:pt x="73" y="186"/>
                    <a:pt x="70" y="184"/>
                    <a:pt x="70" y="183"/>
                  </a:cubicBezTo>
                  <a:cubicBezTo>
                    <a:pt x="70" y="182"/>
                    <a:pt x="72" y="179"/>
                    <a:pt x="73" y="179"/>
                  </a:cubicBezTo>
                  <a:cubicBezTo>
                    <a:pt x="74" y="179"/>
                    <a:pt x="78" y="179"/>
                    <a:pt x="79" y="181"/>
                  </a:cubicBezTo>
                  <a:cubicBezTo>
                    <a:pt x="80" y="182"/>
                    <a:pt x="92" y="187"/>
                    <a:pt x="94" y="187"/>
                  </a:cubicBezTo>
                  <a:cubicBezTo>
                    <a:pt x="95" y="187"/>
                    <a:pt x="99" y="186"/>
                    <a:pt x="100" y="185"/>
                  </a:cubicBezTo>
                  <a:cubicBezTo>
                    <a:pt x="102" y="183"/>
                    <a:pt x="100" y="182"/>
                    <a:pt x="99" y="180"/>
                  </a:cubicBezTo>
                  <a:cubicBezTo>
                    <a:pt x="97" y="178"/>
                    <a:pt x="95" y="177"/>
                    <a:pt x="95" y="175"/>
                  </a:cubicBezTo>
                  <a:cubicBezTo>
                    <a:pt x="95" y="174"/>
                    <a:pt x="98" y="172"/>
                    <a:pt x="98" y="172"/>
                  </a:cubicBezTo>
                  <a:cubicBezTo>
                    <a:pt x="98" y="172"/>
                    <a:pt x="103" y="170"/>
                    <a:pt x="105" y="169"/>
                  </a:cubicBezTo>
                  <a:cubicBezTo>
                    <a:pt x="106" y="168"/>
                    <a:pt x="114" y="162"/>
                    <a:pt x="115" y="162"/>
                  </a:cubicBezTo>
                  <a:cubicBezTo>
                    <a:pt x="116" y="162"/>
                    <a:pt x="120" y="162"/>
                    <a:pt x="121" y="164"/>
                  </a:cubicBezTo>
                  <a:cubicBezTo>
                    <a:pt x="123" y="165"/>
                    <a:pt x="126" y="169"/>
                    <a:pt x="128" y="169"/>
                  </a:cubicBezTo>
                  <a:cubicBezTo>
                    <a:pt x="131" y="168"/>
                    <a:pt x="131" y="162"/>
                    <a:pt x="132" y="160"/>
                  </a:cubicBezTo>
                  <a:cubicBezTo>
                    <a:pt x="132" y="158"/>
                    <a:pt x="132" y="155"/>
                    <a:pt x="130" y="155"/>
                  </a:cubicBezTo>
                  <a:cubicBezTo>
                    <a:pt x="128" y="154"/>
                    <a:pt x="126" y="154"/>
                    <a:pt x="126" y="152"/>
                  </a:cubicBezTo>
                  <a:cubicBezTo>
                    <a:pt x="126" y="151"/>
                    <a:pt x="130" y="148"/>
                    <a:pt x="130" y="146"/>
                  </a:cubicBezTo>
                  <a:cubicBezTo>
                    <a:pt x="130" y="143"/>
                    <a:pt x="129" y="139"/>
                    <a:pt x="127" y="138"/>
                  </a:cubicBezTo>
                  <a:cubicBezTo>
                    <a:pt x="125" y="137"/>
                    <a:pt x="122" y="135"/>
                    <a:pt x="123" y="134"/>
                  </a:cubicBezTo>
                  <a:cubicBezTo>
                    <a:pt x="123" y="133"/>
                    <a:pt x="128" y="135"/>
                    <a:pt x="130" y="135"/>
                  </a:cubicBezTo>
                  <a:cubicBezTo>
                    <a:pt x="131" y="135"/>
                    <a:pt x="141" y="135"/>
                    <a:pt x="142" y="136"/>
                  </a:cubicBezTo>
                  <a:cubicBezTo>
                    <a:pt x="144" y="137"/>
                    <a:pt x="150" y="144"/>
                    <a:pt x="149" y="145"/>
                  </a:cubicBezTo>
                  <a:cubicBezTo>
                    <a:pt x="148" y="146"/>
                    <a:pt x="141" y="146"/>
                    <a:pt x="139" y="146"/>
                  </a:cubicBezTo>
                  <a:cubicBezTo>
                    <a:pt x="137" y="146"/>
                    <a:pt x="135" y="149"/>
                    <a:pt x="135" y="151"/>
                  </a:cubicBezTo>
                  <a:cubicBezTo>
                    <a:pt x="135" y="153"/>
                    <a:pt x="139" y="153"/>
                    <a:pt x="140" y="154"/>
                  </a:cubicBezTo>
                  <a:cubicBezTo>
                    <a:pt x="141" y="156"/>
                    <a:pt x="142" y="159"/>
                    <a:pt x="146" y="159"/>
                  </a:cubicBezTo>
                  <a:cubicBezTo>
                    <a:pt x="149" y="159"/>
                    <a:pt x="155" y="159"/>
                    <a:pt x="156" y="157"/>
                  </a:cubicBezTo>
                  <a:cubicBezTo>
                    <a:pt x="157" y="155"/>
                    <a:pt x="156" y="147"/>
                    <a:pt x="158" y="147"/>
                  </a:cubicBezTo>
                  <a:cubicBezTo>
                    <a:pt x="160" y="147"/>
                    <a:pt x="167" y="146"/>
                    <a:pt x="170" y="144"/>
                  </a:cubicBezTo>
                  <a:cubicBezTo>
                    <a:pt x="173" y="143"/>
                    <a:pt x="180" y="137"/>
                    <a:pt x="182" y="137"/>
                  </a:cubicBezTo>
                  <a:cubicBezTo>
                    <a:pt x="184" y="137"/>
                    <a:pt x="188" y="135"/>
                    <a:pt x="191" y="134"/>
                  </a:cubicBezTo>
                  <a:cubicBezTo>
                    <a:pt x="195" y="134"/>
                    <a:pt x="206" y="129"/>
                    <a:pt x="208" y="129"/>
                  </a:cubicBezTo>
                  <a:cubicBezTo>
                    <a:pt x="210" y="128"/>
                    <a:pt x="204" y="136"/>
                    <a:pt x="204" y="137"/>
                  </a:cubicBezTo>
                  <a:cubicBezTo>
                    <a:pt x="204" y="139"/>
                    <a:pt x="207" y="140"/>
                    <a:pt x="210" y="140"/>
                  </a:cubicBezTo>
                  <a:cubicBezTo>
                    <a:pt x="213" y="139"/>
                    <a:pt x="218" y="134"/>
                    <a:pt x="220" y="134"/>
                  </a:cubicBezTo>
                  <a:cubicBezTo>
                    <a:pt x="222" y="134"/>
                    <a:pt x="224" y="136"/>
                    <a:pt x="227" y="136"/>
                  </a:cubicBezTo>
                  <a:cubicBezTo>
                    <a:pt x="229" y="135"/>
                    <a:pt x="235" y="132"/>
                    <a:pt x="238" y="131"/>
                  </a:cubicBezTo>
                  <a:cubicBezTo>
                    <a:pt x="241" y="130"/>
                    <a:pt x="243" y="130"/>
                    <a:pt x="244" y="132"/>
                  </a:cubicBezTo>
                  <a:cubicBezTo>
                    <a:pt x="245" y="133"/>
                    <a:pt x="241" y="138"/>
                    <a:pt x="244" y="138"/>
                  </a:cubicBezTo>
                  <a:cubicBezTo>
                    <a:pt x="248" y="138"/>
                    <a:pt x="250" y="137"/>
                    <a:pt x="250" y="137"/>
                  </a:cubicBezTo>
                  <a:cubicBezTo>
                    <a:pt x="251" y="136"/>
                    <a:pt x="258" y="132"/>
                    <a:pt x="256" y="129"/>
                  </a:cubicBezTo>
                  <a:cubicBezTo>
                    <a:pt x="254" y="127"/>
                    <a:pt x="253" y="124"/>
                    <a:pt x="252" y="122"/>
                  </a:cubicBezTo>
                  <a:cubicBezTo>
                    <a:pt x="250" y="120"/>
                    <a:pt x="241" y="117"/>
                    <a:pt x="240" y="115"/>
                  </a:cubicBezTo>
                  <a:cubicBezTo>
                    <a:pt x="239" y="114"/>
                    <a:pt x="239" y="112"/>
                    <a:pt x="241" y="111"/>
                  </a:cubicBezTo>
                  <a:cubicBezTo>
                    <a:pt x="243" y="110"/>
                    <a:pt x="245" y="111"/>
                    <a:pt x="247" y="113"/>
                  </a:cubicBezTo>
                  <a:cubicBezTo>
                    <a:pt x="249" y="114"/>
                    <a:pt x="256" y="118"/>
                    <a:pt x="257" y="118"/>
                  </a:cubicBezTo>
                  <a:cubicBezTo>
                    <a:pt x="264" y="119"/>
                    <a:pt x="272" y="118"/>
                    <a:pt x="276" y="119"/>
                  </a:cubicBezTo>
                  <a:cubicBezTo>
                    <a:pt x="280" y="121"/>
                    <a:pt x="290" y="126"/>
                    <a:pt x="291" y="126"/>
                  </a:cubicBezTo>
                  <a:cubicBezTo>
                    <a:pt x="292" y="127"/>
                    <a:pt x="307" y="134"/>
                    <a:pt x="308" y="135"/>
                  </a:cubicBezTo>
                  <a:cubicBezTo>
                    <a:pt x="309" y="136"/>
                    <a:pt x="311" y="141"/>
                    <a:pt x="313" y="141"/>
                  </a:cubicBezTo>
                  <a:cubicBezTo>
                    <a:pt x="316" y="141"/>
                    <a:pt x="318" y="133"/>
                    <a:pt x="319" y="131"/>
                  </a:cubicBezTo>
                  <a:cubicBezTo>
                    <a:pt x="320" y="129"/>
                    <a:pt x="314" y="129"/>
                    <a:pt x="313" y="127"/>
                  </a:cubicBezTo>
                  <a:cubicBezTo>
                    <a:pt x="313" y="125"/>
                    <a:pt x="310" y="122"/>
                    <a:pt x="309" y="122"/>
                  </a:cubicBezTo>
                  <a:cubicBezTo>
                    <a:pt x="308" y="121"/>
                    <a:pt x="303" y="121"/>
                    <a:pt x="302" y="121"/>
                  </a:cubicBezTo>
                  <a:cubicBezTo>
                    <a:pt x="302" y="120"/>
                    <a:pt x="303" y="117"/>
                    <a:pt x="303" y="116"/>
                  </a:cubicBezTo>
                  <a:cubicBezTo>
                    <a:pt x="303" y="114"/>
                    <a:pt x="308" y="106"/>
                    <a:pt x="307" y="105"/>
                  </a:cubicBezTo>
                  <a:cubicBezTo>
                    <a:pt x="305" y="104"/>
                    <a:pt x="300" y="107"/>
                    <a:pt x="299" y="104"/>
                  </a:cubicBezTo>
                  <a:cubicBezTo>
                    <a:pt x="299" y="101"/>
                    <a:pt x="301" y="98"/>
                    <a:pt x="303" y="98"/>
                  </a:cubicBezTo>
                  <a:cubicBezTo>
                    <a:pt x="304" y="97"/>
                    <a:pt x="312" y="95"/>
                    <a:pt x="313" y="93"/>
                  </a:cubicBezTo>
                  <a:cubicBezTo>
                    <a:pt x="313" y="91"/>
                    <a:pt x="319" y="75"/>
                    <a:pt x="321" y="74"/>
                  </a:cubicBezTo>
                  <a:cubicBezTo>
                    <a:pt x="322" y="74"/>
                    <a:pt x="334" y="76"/>
                    <a:pt x="336" y="76"/>
                  </a:cubicBezTo>
                  <a:cubicBezTo>
                    <a:pt x="339" y="76"/>
                    <a:pt x="347" y="78"/>
                    <a:pt x="347" y="79"/>
                  </a:cubicBezTo>
                  <a:cubicBezTo>
                    <a:pt x="348" y="81"/>
                    <a:pt x="348" y="84"/>
                    <a:pt x="346" y="86"/>
                  </a:cubicBezTo>
                  <a:cubicBezTo>
                    <a:pt x="345" y="88"/>
                    <a:pt x="340" y="93"/>
                    <a:pt x="340" y="95"/>
                  </a:cubicBezTo>
                  <a:cubicBezTo>
                    <a:pt x="340" y="97"/>
                    <a:pt x="346" y="99"/>
                    <a:pt x="346" y="102"/>
                  </a:cubicBezTo>
                  <a:cubicBezTo>
                    <a:pt x="347" y="104"/>
                    <a:pt x="347" y="110"/>
                    <a:pt x="346" y="111"/>
                  </a:cubicBezTo>
                  <a:cubicBezTo>
                    <a:pt x="345" y="113"/>
                    <a:pt x="343" y="112"/>
                    <a:pt x="344" y="115"/>
                  </a:cubicBezTo>
                  <a:cubicBezTo>
                    <a:pt x="345" y="117"/>
                    <a:pt x="346" y="119"/>
                    <a:pt x="346" y="121"/>
                  </a:cubicBezTo>
                  <a:cubicBezTo>
                    <a:pt x="346" y="123"/>
                    <a:pt x="344" y="127"/>
                    <a:pt x="345" y="130"/>
                  </a:cubicBezTo>
                  <a:cubicBezTo>
                    <a:pt x="346" y="132"/>
                    <a:pt x="354" y="135"/>
                    <a:pt x="353" y="137"/>
                  </a:cubicBezTo>
                  <a:cubicBezTo>
                    <a:pt x="352" y="138"/>
                    <a:pt x="347" y="139"/>
                    <a:pt x="348" y="142"/>
                  </a:cubicBezTo>
                  <a:cubicBezTo>
                    <a:pt x="349" y="144"/>
                    <a:pt x="350" y="147"/>
                    <a:pt x="349" y="147"/>
                  </a:cubicBezTo>
                  <a:cubicBezTo>
                    <a:pt x="349" y="148"/>
                    <a:pt x="342" y="153"/>
                    <a:pt x="340" y="155"/>
                  </a:cubicBezTo>
                  <a:cubicBezTo>
                    <a:pt x="339" y="157"/>
                    <a:pt x="330" y="160"/>
                    <a:pt x="328" y="159"/>
                  </a:cubicBezTo>
                  <a:cubicBezTo>
                    <a:pt x="326" y="158"/>
                    <a:pt x="320" y="156"/>
                    <a:pt x="319" y="158"/>
                  </a:cubicBezTo>
                  <a:cubicBezTo>
                    <a:pt x="318" y="160"/>
                    <a:pt x="322" y="163"/>
                    <a:pt x="325" y="164"/>
                  </a:cubicBezTo>
                  <a:cubicBezTo>
                    <a:pt x="328" y="165"/>
                    <a:pt x="341" y="166"/>
                    <a:pt x="343" y="166"/>
                  </a:cubicBezTo>
                  <a:cubicBezTo>
                    <a:pt x="345" y="166"/>
                    <a:pt x="344" y="160"/>
                    <a:pt x="347" y="160"/>
                  </a:cubicBezTo>
                  <a:cubicBezTo>
                    <a:pt x="349" y="160"/>
                    <a:pt x="354" y="159"/>
                    <a:pt x="355" y="158"/>
                  </a:cubicBezTo>
                  <a:cubicBezTo>
                    <a:pt x="357" y="157"/>
                    <a:pt x="355" y="152"/>
                    <a:pt x="356" y="151"/>
                  </a:cubicBezTo>
                  <a:cubicBezTo>
                    <a:pt x="357" y="150"/>
                    <a:pt x="362" y="150"/>
                    <a:pt x="362" y="147"/>
                  </a:cubicBezTo>
                  <a:cubicBezTo>
                    <a:pt x="362" y="144"/>
                    <a:pt x="363" y="141"/>
                    <a:pt x="362" y="140"/>
                  </a:cubicBezTo>
                  <a:cubicBezTo>
                    <a:pt x="361" y="139"/>
                    <a:pt x="360" y="137"/>
                    <a:pt x="360" y="136"/>
                  </a:cubicBezTo>
                  <a:cubicBezTo>
                    <a:pt x="361" y="134"/>
                    <a:pt x="363" y="132"/>
                    <a:pt x="363" y="132"/>
                  </a:cubicBezTo>
                  <a:cubicBezTo>
                    <a:pt x="363" y="132"/>
                    <a:pt x="374" y="130"/>
                    <a:pt x="376" y="130"/>
                  </a:cubicBezTo>
                  <a:cubicBezTo>
                    <a:pt x="377" y="131"/>
                    <a:pt x="381" y="136"/>
                    <a:pt x="381" y="137"/>
                  </a:cubicBezTo>
                  <a:cubicBezTo>
                    <a:pt x="381" y="138"/>
                    <a:pt x="379" y="144"/>
                    <a:pt x="380" y="146"/>
                  </a:cubicBezTo>
                  <a:cubicBezTo>
                    <a:pt x="382" y="148"/>
                    <a:pt x="385" y="150"/>
                    <a:pt x="386" y="150"/>
                  </a:cubicBezTo>
                  <a:cubicBezTo>
                    <a:pt x="386" y="150"/>
                    <a:pt x="389" y="148"/>
                    <a:pt x="390" y="148"/>
                  </a:cubicBezTo>
                  <a:cubicBezTo>
                    <a:pt x="391" y="148"/>
                    <a:pt x="386" y="145"/>
                    <a:pt x="386" y="144"/>
                  </a:cubicBezTo>
                  <a:cubicBezTo>
                    <a:pt x="385" y="143"/>
                    <a:pt x="385" y="141"/>
                    <a:pt x="387" y="141"/>
                  </a:cubicBezTo>
                  <a:cubicBezTo>
                    <a:pt x="389" y="141"/>
                    <a:pt x="389" y="139"/>
                    <a:pt x="388" y="137"/>
                  </a:cubicBezTo>
                  <a:cubicBezTo>
                    <a:pt x="387" y="136"/>
                    <a:pt x="385" y="132"/>
                    <a:pt x="385" y="130"/>
                  </a:cubicBezTo>
                  <a:cubicBezTo>
                    <a:pt x="384" y="128"/>
                    <a:pt x="379" y="127"/>
                    <a:pt x="377" y="126"/>
                  </a:cubicBezTo>
                  <a:cubicBezTo>
                    <a:pt x="375" y="125"/>
                    <a:pt x="372" y="124"/>
                    <a:pt x="368" y="125"/>
                  </a:cubicBezTo>
                  <a:cubicBezTo>
                    <a:pt x="364" y="126"/>
                    <a:pt x="359" y="128"/>
                    <a:pt x="357" y="127"/>
                  </a:cubicBezTo>
                  <a:cubicBezTo>
                    <a:pt x="355" y="127"/>
                    <a:pt x="357" y="124"/>
                    <a:pt x="356" y="122"/>
                  </a:cubicBezTo>
                  <a:cubicBezTo>
                    <a:pt x="355" y="120"/>
                    <a:pt x="354" y="116"/>
                    <a:pt x="356" y="114"/>
                  </a:cubicBezTo>
                  <a:cubicBezTo>
                    <a:pt x="358" y="113"/>
                    <a:pt x="362" y="110"/>
                    <a:pt x="361" y="107"/>
                  </a:cubicBezTo>
                  <a:cubicBezTo>
                    <a:pt x="360" y="104"/>
                    <a:pt x="351" y="98"/>
                    <a:pt x="351" y="96"/>
                  </a:cubicBezTo>
                  <a:cubicBezTo>
                    <a:pt x="351" y="94"/>
                    <a:pt x="354" y="91"/>
                    <a:pt x="354" y="91"/>
                  </a:cubicBezTo>
                  <a:cubicBezTo>
                    <a:pt x="354" y="91"/>
                    <a:pt x="363" y="89"/>
                    <a:pt x="363" y="88"/>
                  </a:cubicBezTo>
                  <a:cubicBezTo>
                    <a:pt x="363" y="87"/>
                    <a:pt x="366" y="82"/>
                    <a:pt x="363" y="79"/>
                  </a:cubicBezTo>
                  <a:cubicBezTo>
                    <a:pt x="361" y="76"/>
                    <a:pt x="357" y="75"/>
                    <a:pt x="358" y="73"/>
                  </a:cubicBezTo>
                  <a:cubicBezTo>
                    <a:pt x="359" y="72"/>
                    <a:pt x="363" y="73"/>
                    <a:pt x="365" y="73"/>
                  </a:cubicBezTo>
                  <a:cubicBezTo>
                    <a:pt x="366" y="74"/>
                    <a:pt x="371" y="79"/>
                    <a:pt x="371" y="81"/>
                  </a:cubicBezTo>
                  <a:cubicBezTo>
                    <a:pt x="371" y="83"/>
                    <a:pt x="368" y="90"/>
                    <a:pt x="368" y="92"/>
                  </a:cubicBezTo>
                  <a:cubicBezTo>
                    <a:pt x="367" y="94"/>
                    <a:pt x="366" y="96"/>
                    <a:pt x="368" y="98"/>
                  </a:cubicBezTo>
                  <a:cubicBezTo>
                    <a:pt x="370" y="100"/>
                    <a:pt x="375" y="101"/>
                    <a:pt x="377" y="101"/>
                  </a:cubicBezTo>
                  <a:cubicBezTo>
                    <a:pt x="380" y="101"/>
                    <a:pt x="382" y="101"/>
                    <a:pt x="384" y="101"/>
                  </a:cubicBezTo>
                  <a:cubicBezTo>
                    <a:pt x="385" y="102"/>
                    <a:pt x="389" y="105"/>
                    <a:pt x="390" y="104"/>
                  </a:cubicBezTo>
                  <a:cubicBezTo>
                    <a:pt x="391" y="103"/>
                    <a:pt x="390" y="100"/>
                    <a:pt x="390" y="99"/>
                  </a:cubicBezTo>
                  <a:cubicBezTo>
                    <a:pt x="389" y="97"/>
                    <a:pt x="388" y="97"/>
                    <a:pt x="386" y="97"/>
                  </a:cubicBezTo>
                  <a:cubicBezTo>
                    <a:pt x="385" y="97"/>
                    <a:pt x="380" y="96"/>
                    <a:pt x="378" y="95"/>
                  </a:cubicBezTo>
                  <a:cubicBezTo>
                    <a:pt x="376" y="93"/>
                    <a:pt x="373" y="92"/>
                    <a:pt x="373" y="90"/>
                  </a:cubicBezTo>
                  <a:cubicBezTo>
                    <a:pt x="374" y="89"/>
                    <a:pt x="377" y="88"/>
                    <a:pt x="378" y="88"/>
                  </a:cubicBezTo>
                  <a:cubicBezTo>
                    <a:pt x="379" y="88"/>
                    <a:pt x="382" y="91"/>
                    <a:pt x="384" y="91"/>
                  </a:cubicBezTo>
                  <a:cubicBezTo>
                    <a:pt x="386" y="91"/>
                    <a:pt x="389" y="91"/>
                    <a:pt x="389" y="89"/>
                  </a:cubicBezTo>
                  <a:cubicBezTo>
                    <a:pt x="389" y="87"/>
                    <a:pt x="386" y="84"/>
                    <a:pt x="384" y="84"/>
                  </a:cubicBezTo>
                  <a:cubicBezTo>
                    <a:pt x="381" y="84"/>
                    <a:pt x="379" y="83"/>
                    <a:pt x="379" y="82"/>
                  </a:cubicBezTo>
                  <a:cubicBezTo>
                    <a:pt x="379" y="81"/>
                    <a:pt x="384" y="80"/>
                    <a:pt x="385" y="80"/>
                  </a:cubicBezTo>
                  <a:cubicBezTo>
                    <a:pt x="386" y="79"/>
                    <a:pt x="389" y="80"/>
                    <a:pt x="390" y="81"/>
                  </a:cubicBezTo>
                  <a:cubicBezTo>
                    <a:pt x="391" y="83"/>
                    <a:pt x="394" y="84"/>
                    <a:pt x="395" y="84"/>
                  </a:cubicBezTo>
                  <a:cubicBezTo>
                    <a:pt x="398" y="83"/>
                    <a:pt x="403" y="86"/>
                    <a:pt x="404" y="86"/>
                  </a:cubicBezTo>
                  <a:cubicBezTo>
                    <a:pt x="406" y="86"/>
                    <a:pt x="411" y="92"/>
                    <a:pt x="414" y="92"/>
                  </a:cubicBezTo>
                  <a:cubicBezTo>
                    <a:pt x="417" y="93"/>
                    <a:pt x="424" y="92"/>
                    <a:pt x="424" y="93"/>
                  </a:cubicBezTo>
                  <a:cubicBezTo>
                    <a:pt x="425" y="97"/>
                    <a:pt x="419" y="96"/>
                    <a:pt x="419" y="98"/>
                  </a:cubicBezTo>
                  <a:cubicBezTo>
                    <a:pt x="419" y="100"/>
                    <a:pt x="418" y="101"/>
                    <a:pt x="420" y="103"/>
                  </a:cubicBezTo>
                  <a:cubicBezTo>
                    <a:pt x="422" y="104"/>
                    <a:pt x="420" y="106"/>
                    <a:pt x="419" y="108"/>
                  </a:cubicBezTo>
                  <a:cubicBezTo>
                    <a:pt x="418" y="110"/>
                    <a:pt x="417" y="111"/>
                    <a:pt x="420" y="113"/>
                  </a:cubicBezTo>
                  <a:cubicBezTo>
                    <a:pt x="422" y="115"/>
                    <a:pt x="429" y="119"/>
                    <a:pt x="430" y="119"/>
                  </a:cubicBezTo>
                  <a:cubicBezTo>
                    <a:pt x="432" y="120"/>
                    <a:pt x="434" y="121"/>
                    <a:pt x="435" y="120"/>
                  </a:cubicBezTo>
                  <a:cubicBezTo>
                    <a:pt x="435" y="119"/>
                    <a:pt x="427" y="113"/>
                    <a:pt x="427" y="112"/>
                  </a:cubicBezTo>
                  <a:cubicBezTo>
                    <a:pt x="427" y="110"/>
                    <a:pt x="432" y="110"/>
                    <a:pt x="431" y="108"/>
                  </a:cubicBezTo>
                  <a:cubicBezTo>
                    <a:pt x="430" y="105"/>
                    <a:pt x="428" y="101"/>
                    <a:pt x="428" y="99"/>
                  </a:cubicBezTo>
                  <a:cubicBezTo>
                    <a:pt x="429" y="97"/>
                    <a:pt x="432" y="95"/>
                    <a:pt x="431" y="92"/>
                  </a:cubicBezTo>
                  <a:cubicBezTo>
                    <a:pt x="429" y="90"/>
                    <a:pt x="426" y="88"/>
                    <a:pt x="424" y="87"/>
                  </a:cubicBezTo>
                  <a:cubicBezTo>
                    <a:pt x="422" y="85"/>
                    <a:pt x="413" y="82"/>
                    <a:pt x="410" y="82"/>
                  </a:cubicBezTo>
                  <a:cubicBezTo>
                    <a:pt x="408" y="82"/>
                    <a:pt x="411" y="76"/>
                    <a:pt x="410" y="74"/>
                  </a:cubicBezTo>
                  <a:cubicBezTo>
                    <a:pt x="408" y="72"/>
                    <a:pt x="404" y="68"/>
                    <a:pt x="405" y="67"/>
                  </a:cubicBezTo>
                  <a:cubicBezTo>
                    <a:pt x="407" y="66"/>
                    <a:pt x="411" y="65"/>
                    <a:pt x="414" y="65"/>
                  </a:cubicBezTo>
                  <a:cubicBezTo>
                    <a:pt x="417" y="65"/>
                    <a:pt x="438" y="63"/>
                    <a:pt x="441" y="63"/>
                  </a:cubicBezTo>
                  <a:cubicBezTo>
                    <a:pt x="443" y="63"/>
                    <a:pt x="455" y="63"/>
                    <a:pt x="455" y="60"/>
                  </a:cubicBezTo>
                  <a:cubicBezTo>
                    <a:pt x="455" y="58"/>
                    <a:pt x="455" y="56"/>
                    <a:pt x="454" y="55"/>
                  </a:cubicBezTo>
                  <a:cubicBezTo>
                    <a:pt x="452" y="54"/>
                    <a:pt x="448" y="55"/>
                    <a:pt x="448" y="53"/>
                  </a:cubicBezTo>
                  <a:cubicBezTo>
                    <a:pt x="448" y="51"/>
                    <a:pt x="440" y="53"/>
                    <a:pt x="440" y="51"/>
                  </a:cubicBezTo>
                  <a:cubicBezTo>
                    <a:pt x="441" y="49"/>
                    <a:pt x="449" y="49"/>
                    <a:pt x="451" y="48"/>
                  </a:cubicBezTo>
                  <a:cubicBezTo>
                    <a:pt x="453" y="48"/>
                    <a:pt x="455" y="45"/>
                    <a:pt x="457" y="45"/>
                  </a:cubicBezTo>
                  <a:cubicBezTo>
                    <a:pt x="460" y="44"/>
                    <a:pt x="467" y="38"/>
                    <a:pt x="471" y="37"/>
                  </a:cubicBezTo>
                  <a:cubicBezTo>
                    <a:pt x="476" y="36"/>
                    <a:pt x="495" y="32"/>
                    <a:pt x="497" y="32"/>
                  </a:cubicBezTo>
                  <a:cubicBezTo>
                    <a:pt x="499" y="32"/>
                    <a:pt x="502" y="27"/>
                    <a:pt x="503" y="27"/>
                  </a:cubicBezTo>
                  <a:cubicBezTo>
                    <a:pt x="504" y="26"/>
                    <a:pt x="514" y="26"/>
                    <a:pt x="518" y="25"/>
                  </a:cubicBezTo>
                  <a:cubicBezTo>
                    <a:pt x="521" y="25"/>
                    <a:pt x="533" y="21"/>
                    <a:pt x="533" y="23"/>
                  </a:cubicBezTo>
                  <a:cubicBezTo>
                    <a:pt x="533" y="25"/>
                    <a:pt x="530" y="27"/>
                    <a:pt x="531" y="28"/>
                  </a:cubicBezTo>
                  <a:cubicBezTo>
                    <a:pt x="531" y="29"/>
                    <a:pt x="545" y="25"/>
                    <a:pt x="548" y="25"/>
                  </a:cubicBezTo>
                  <a:cubicBezTo>
                    <a:pt x="551" y="25"/>
                    <a:pt x="546" y="20"/>
                    <a:pt x="547" y="20"/>
                  </a:cubicBezTo>
                  <a:cubicBezTo>
                    <a:pt x="548" y="20"/>
                    <a:pt x="560" y="21"/>
                    <a:pt x="562" y="20"/>
                  </a:cubicBezTo>
                  <a:cubicBezTo>
                    <a:pt x="563" y="19"/>
                    <a:pt x="565" y="18"/>
                    <a:pt x="565" y="16"/>
                  </a:cubicBezTo>
                  <a:cubicBezTo>
                    <a:pt x="565" y="15"/>
                    <a:pt x="562" y="13"/>
                    <a:pt x="563" y="12"/>
                  </a:cubicBezTo>
                  <a:cubicBezTo>
                    <a:pt x="565" y="11"/>
                    <a:pt x="574" y="5"/>
                    <a:pt x="576" y="3"/>
                  </a:cubicBezTo>
                  <a:cubicBezTo>
                    <a:pt x="578" y="2"/>
                    <a:pt x="586" y="0"/>
                    <a:pt x="589" y="0"/>
                  </a:cubicBezTo>
                  <a:cubicBezTo>
                    <a:pt x="591" y="0"/>
                    <a:pt x="600" y="2"/>
                    <a:pt x="601" y="4"/>
                  </a:cubicBezTo>
                  <a:cubicBezTo>
                    <a:pt x="602" y="5"/>
                    <a:pt x="602" y="6"/>
                    <a:pt x="602" y="7"/>
                  </a:cubicBezTo>
                  <a:cubicBezTo>
                    <a:pt x="602" y="8"/>
                    <a:pt x="589" y="10"/>
                    <a:pt x="589" y="11"/>
                  </a:cubicBezTo>
                  <a:cubicBezTo>
                    <a:pt x="590" y="13"/>
                    <a:pt x="598" y="13"/>
                    <a:pt x="601" y="13"/>
                  </a:cubicBezTo>
                  <a:cubicBezTo>
                    <a:pt x="604" y="12"/>
                    <a:pt x="612" y="11"/>
                    <a:pt x="612" y="13"/>
                  </a:cubicBezTo>
                  <a:cubicBezTo>
                    <a:pt x="612" y="15"/>
                    <a:pt x="603" y="19"/>
                    <a:pt x="607" y="19"/>
                  </a:cubicBezTo>
                  <a:cubicBezTo>
                    <a:pt x="610" y="20"/>
                    <a:pt x="615" y="19"/>
                    <a:pt x="616" y="19"/>
                  </a:cubicBezTo>
                  <a:cubicBezTo>
                    <a:pt x="618" y="19"/>
                    <a:pt x="617" y="15"/>
                    <a:pt x="619" y="15"/>
                  </a:cubicBezTo>
                  <a:cubicBezTo>
                    <a:pt x="620" y="15"/>
                    <a:pt x="630" y="15"/>
                    <a:pt x="635" y="15"/>
                  </a:cubicBezTo>
                  <a:cubicBezTo>
                    <a:pt x="639" y="15"/>
                    <a:pt x="643" y="16"/>
                    <a:pt x="648" y="18"/>
                  </a:cubicBezTo>
                  <a:cubicBezTo>
                    <a:pt x="653" y="20"/>
                    <a:pt x="656" y="23"/>
                    <a:pt x="658" y="25"/>
                  </a:cubicBezTo>
                  <a:cubicBezTo>
                    <a:pt x="660" y="28"/>
                    <a:pt x="662" y="28"/>
                    <a:pt x="662" y="30"/>
                  </a:cubicBezTo>
                  <a:cubicBezTo>
                    <a:pt x="662" y="32"/>
                    <a:pt x="657" y="32"/>
                    <a:pt x="657" y="33"/>
                  </a:cubicBezTo>
                  <a:cubicBezTo>
                    <a:pt x="657" y="34"/>
                    <a:pt x="662" y="35"/>
                    <a:pt x="660" y="38"/>
                  </a:cubicBezTo>
                  <a:cubicBezTo>
                    <a:pt x="658" y="41"/>
                    <a:pt x="648" y="46"/>
                    <a:pt x="647" y="46"/>
                  </a:cubicBezTo>
                  <a:cubicBezTo>
                    <a:pt x="645" y="46"/>
                    <a:pt x="634" y="51"/>
                    <a:pt x="632" y="53"/>
                  </a:cubicBezTo>
                  <a:cubicBezTo>
                    <a:pt x="630" y="54"/>
                    <a:pt x="623" y="60"/>
                    <a:pt x="621" y="61"/>
                  </a:cubicBezTo>
                  <a:cubicBezTo>
                    <a:pt x="620" y="61"/>
                    <a:pt x="611" y="62"/>
                    <a:pt x="608" y="63"/>
                  </a:cubicBezTo>
                  <a:cubicBezTo>
                    <a:pt x="605" y="65"/>
                    <a:pt x="604" y="69"/>
                    <a:pt x="603" y="70"/>
                  </a:cubicBezTo>
                  <a:cubicBezTo>
                    <a:pt x="602" y="70"/>
                    <a:pt x="599" y="75"/>
                    <a:pt x="601" y="75"/>
                  </a:cubicBezTo>
                  <a:cubicBezTo>
                    <a:pt x="603" y="76"/>
                    <a:pt x="608" y="71"/>
                    <a:pt x="611" y="71"/>
                  </a:cubicBezTo>
                  <a:cubicBezTo>
                    <a:pt x="613" y="71"/>
                    <a:pt x="617" y="69"/>
                    <a:pt x="620" y="69"/>
                  </a:cubicBezTo>
                  <a:cubicBezTo>
                    <a:pt x="624" y="69"/>
                    <a:pt x="634" y="68"/>
                    <a:pt x="634" y="66"/>
                  </a:cubicBezTo>
                  <a:cubicBezTo>
                    <a:pt x="634" y="64"/>
                    <a:pt x="628" y="64"/>
                    <a:pt x="628" y="63"/>
                  </a:cubicBezTo>
                  <a:cubicBezTo>
                    <a:pt x="629" y="62"/>
                    <a:pt x="633" y="59"/>
                    <a:pt x="634" y="59"/>
                  </a:cubicBezTo>
                  <a:cubicBezTo>
                    <a:pt x="635" y="59"/>
                    <a:pt x="640" y="62"/>
                    <a:pt x="643" y="62"/>
                  </a:cubicBezTo>
                  <a:cubicBezTo>
                    <a:pt x="647" y="63"/>
                    <a:pt x="653" y="63"/>
                    <a:pt x="653" y="62"/>
                  </a:cubicBezTo>
                  <a:cubicBezTo>
                    <a:pt x="653" y="61"/>
                    <a:pt x="653" y="60"/>
                    <a:pt x="654" y="59"/>
                  </a:cubicBezTo>
                  <a:cubicBezTo>
                    <a:pt x="655" y="59"/>
                    <a:pt x="658" y="63"/>
                    <a:pt x="659" y="64"/>
                  </a:cubicBezTo>
                  <a:cubicBezTo>
                    <a:pt x="660" y="65"/>
                    <a:pt x="666" y="65"/>
                    <a:pt x="668" y="65"/>
                  </a:cubicBezTo>
                  <a:cubicBezTo>
                    <a:pt x="670" y="64"/>
                    <a:pt x="675" y="63"/>
                    <a:pt x="678" y="63"/>
                  </a:cubicBezTo>
                  <a:cubicBezTo>
                    <a:pt x="681" y="63"/>
                    <a:pt x="700" y="65"/>
                    <a:pt x="700" y="66"/>
                  </a:cubicBezTo>
                  <a:cubicBezTo>
                    <a:pt x="701" y="67"/>
                    <a:pt x="696" y="69"/>
                    <a:pt x="697" y="70"/>
                  </a:cubicBezTo>
                  <a:cubicBezTo>
                    <a:pt x="699" y="71"/>
                    <a:pt x="705" y="71"/>
                    <a:pt x="709" y="72"/>
                  </a:cubicBezTo>
                  <a:cubicBezTo>
                    <a:pt x="713" y="73"/>
                    <a:pt x="733" y="76"/>
                    <a:pt x="734" y="74"/>
                  </a:cubicBezTo>
                  <a:cubicBezTo>
                    <a:pt x="735" y="73"/>
                    <a:pt x="731" y="68"/>
                    <a:pt x="733" y="66"/>
                  </a:cubicBezTo>
                  <a:cubicBezTo>
                    <a:pt x="734" y="65"/>
                    <a:pt x="738" y="61"/>
                    <a:pt x="741" y="61"/>
                  </a:cubicBezTo>
                  <a:cubicBezTo>
                    <a:pt x="744" y="60"/>
                    <a:pt x="745" y="62"/>
                    <a:pt x="749" y="64"/>
                  </a:cubicBezTo>
                  <a:cubicBezTo>
                    <a:pt x="753" y="65"/>
                    <a:pt x="760" y="68"/>
                    <a:pt x="761" y="67"/>
                  </a:cubicBezTo>
                  <a:cubicBezTo>
                    <a:pt x="761" y="66"/>
                    <a:pt x="763" y="64"/>
                    <a:pt x="765" y="65"/>
                  </a:cubicBezTo>
                  <a:cubicBezTo>
                    <a:pt x="768" y="65"/>
                    <a:pt x="771" y="67"/>
                    <a:pt x="774" y="69"/>
                  </a:cubicBezTo>
                  <a:cubicBezTo>
                    <a:pt x="777" y="70"/>
                    <a:pt x="781" y="73"/>
                    <a:pt x="781" y="74"/>
                  </a:cubicBezTo>
                  <a:cubicBezTo>
                    <a:pt x="781" y="75"/>
                    <a:pt x="782" y="80"/>
                    <a:pt x="779" y="80"/>
                  </a:cubicBezTo>
                  <a:cubicBezTo>
                    <a:pt x="776" y="80"/>
                    <a:pt x="781" y="82"/>
                    <a:pt x="781" y="84"/>
                  </a:cubicBezTo>
                  <a:cubicBezTo>
                    <a:pt x="781" y="86"/>
                    <a:pt x="775" y="88"/>
                    <a:pt x="775" y="89"/>
                  </a:cubicBezTo>
                  <a:cubicBezTo>
                    <a:pt x="775" y="90"/>
                    <a:pt x="777" y="93"/>
                    <a:pt x="779" y="94"/>
                  </a:cubicBezTo>
                  <a:cubicBezTo>
                    <a:pt x="780" y="95"/>
                    <a:pt x="783" y="100"/>
                    <a:pt x="785" y="101"/>
                  </a:cubicBezTo>
                  <a:cubicBezTo>
                    <a:pt x="787" y="101"/>
                    <a:pt x="791" y="103"/>
                    <a:pt x="792" y="103"/>
                  </a:cubicBezTo>
                  <a:cubicBezTo>
                    <a:pt x="793" y="103"/>
                    <a:pt x="791" y="106"/>
                    <a:pt x="795" y="105"/>
                  </a:cubicBezTo>
                  <a:cubicBezTo>
                    <a:pt x="798" y="105"/>
                    <a:pt x="799" y="100"/>
                    <a:pt x="800" y="98"/>
                  </a:cubicBezTo>
                  <a:cubicBezTo>
                    <a:pt x="801" y="96"/>
                    <a:pt x="804" y="88"/>
                    <a:pt x="806" y="88"/>
                  </a:cubicBezTo>
                  <a:cubicBezTo>
                    <a:pt x="808" y="88"/>
                    <a:pt x="806" y="92"/>
                    <a:pt x="808" y="94"/>
                  </a:cubicBezTo>
                  <a:cubicBezTo>
                    <a:pt x="810" y="95"/>
                    <a:pt x="816" y="97"/>
                    <a:pt x="819" y="96"/>
                  </a:cubicBezTo>
                  <a:cubicBezTo>
                    <a:pt x="822" y="96"/>
                    <a:pt x="824" y="93"/>
                    <a:pt x="827" y="93"/>
                  </a:cubicBezTo>
                  <a:cubicBezTo>
                    <a:pt x="830" y="93"/>
                    <a:pt x="834" y="94"/>
                    <a:pt x="838" y="95"/>
                  </a:cubicBezTo>
                  <a:cubicBezTo>
                    <a:pt x="842" y="96"/>
                    <a:pt x="844" y="100"/>
                    <a:pt x="846" y="99"/>
                  </a:cubicBezTo>
                  <a:cubicBezTo>
                    <a:pt x="847" y="98"/>
                    <a:pt x="847" y="93"/>
                    <a:pt x="848" y="93"/>
                  </a:cubicBezTo>
                  <a:cubicBezTo>
                    <a:pt x="849" y="93"/>
                    <a:pt x="854" y="93"/>
                    <a:pt x="854" y="94"/>
                  </a:cubicBezTo>
                  <a:cubicBezTo>
                    <a:pt x="855" y="95"/>
                    <a:pt x="854" y="96"/>
                    <a:pt x="856" y="96"/>
                  </a:cubicBezTo>
                  <a:cubicBezTo>
                    <a:pt x="858" y="96"/>
                    <a:pt x="860" y="96"/>
                    <a:pt x="861" y="95"/>
                  </a:cubicBezTo>
                  <a:cubicBezTo>
                    <a:pt x="862" y="94"/>
                    <a:pt x="859" y="91"/>
                    <a:pt x="860" y="89"/>
                  </a:cubicBezTo>
                  <a:cubicBezTo>
                    <a:pt x="860" y="88"/>
                    <a:pt x="862" y="87"/>
                    <a:pt x="862" y="86"/>
                  </a:cubicBezTo>
                  <a:cubicBezTo>
                    <a:pt x="862" y="85"/>
                    <a:pt x="854" y="85"/>
                    <a:pt x="854" y="84"/>
                  </a:cubicBezTo>
                  <a:cubicBezTo>
                    <a:pt x="854" y="83"/>
                    <a:pt x="859" y="81"/>
                    <a:pt x="859" y="81"/>
                  </a:cubicBezTo>
                  <a:cubicBezTo>
                    <a:pt x="859" y="81"/>
                    <a:pt x="861" y="80"/>
                    <a:pt x="862" y="80"/>
                  </a:cubicBezTo>
                  <a:cubicBezTo>
                    <a:pt x="863" y="80"/>
                    <a:pt x="868" y="81"/>
                    <a:pt x="869" y="81"/>
                  </a:cubicBezTo>
                  <a:cubicBezTo>
                    <a:pt x="870" y="80"/>
                    <a:pt x="866" y="75"/>
                    <a:pt x="867" y="75"/>
                  </a:cubicBezTo>
                  <a:cubicBezTo>
                    <a:pt x="868" y="74"/>
                    <a:pt x="871" y="75"/>
                    <a:pt x="872" y="75"/>
                  </a:cubicBezTo>
                  <a:cubicBezTo>
                    <a:pt x="873" y="75"/>
                    <a:pt x="877" y="78"/>
                    <a:pt x="880" y="78"/>
                  </a:cubicBezTo>
                  <a:cubicBezTo>
                    <a:pt x="883" y="78"/>
                    <a:pt x="903" y="80"/>
                    <a:pt x="906" y="80"/>
                  </a:cubicBezTo>
                  <a:cubicBezTo>
                    <a:pt x="909" y="81"/>
                    <a:pt x="912" y="83"/>
                    <a:pt x="915" y="83"/>
                  </a:cubicBezTo>
                  <a:cubicBezTo>
                    <a:pt x="918" y="83"/>
                    <a:pt x="929" y="84"/>
                    <a:pt x="931" y="84"/>
                  </a:cubicBezTo>
                  <a:cubicBezTo>
                    <a:pt x="934" y="85"/>
                    <a:pt x="938" y="88"/>
                    <a:pt x="937" y="90"/>
                  </a:cubicBezTo>
                  <a:cubicBezTo>
                    <a:pt x="937" y="91"/>
                    <a:pt x="933" y="91"/>
                    <a:pt x="934" y="93"/>
                  </a:cubicBezTo>
                  <a:cubicBezTo>
                    <a:pt x="935" y="95"/>
                    <a:pt x="942" y="95"/>
                    <a:pt x="945" y="96"/>
                  </a:cubicBezTo>
                  <a:cubicBezTo>
                    <a:pt x="947" y="98"/>
                    <a:pt x="952" y="101"/>
                    <a:pt x="953" y="102"/>
                  </a:cubicBezTo>
                  <a:cubicBezTo>
                    <a:pt x="955" y="104"/>
                    <a:pt x="960" y="105"/>
                    <a:pt x="963" y="104"/>
                  </a:cubicBezTo>
                  <a:cubicBezTo>
                    <a:pt x="967" y="104"/>
                    <a:pt x="981" y="100"/>
                    <a:pt x="986" y="101"/>
                  </a:cubicBezTo>
                  <a:cubicBezTo>
                    <a:pt x="992" y="101"/>
                    <a:pt x="1002" y="103"/>
                    <a:pt x="1005" y="103"/>
                  </a:cubicBezTo>
                  <a:cubicBezTo>
                    <a:pt x="1008" y="104"/>
                    <a:pt x="1015" y="109"/>
                    <a:pt x="1015" y="111"/>
                  </a:cubicBezTo>
                  <a:cubicBezTo>
                    <a:pt x="1015" y="113"/>
                    <a:pt x="1008" y="116"/>
                    <a:pt x="1012" y="119"/>
                  </a:cubicBezTo>
                  <a:cubicBezTo>
                    <a:pt x="1016" y="121"/>
                    <a:pt x="1019" y="121"/>
                    <a:pt x="1020" y="121"/>
                  </a:cubicBezTo>
                  <a:cubicBezTo>
                    <a:pt x="1022" y="122"/>
                    <a:pt x="1020" y="128"/>
                    <a:pt x="1023" y="127"/>
                  </a:cubicBezTo>
                  <a:cubicBezTo>
                    <a:pt x="1027" y="126"/>
                    <a:pt x="1030" y="122"/>
                    <a:pt x="1033" y="121"/>
                  </a:cubicBezTo>
                  <a:cubicBezTo>
                    <a:pt x="1037" y="121"/>
                    <a:pt x="1045" y="119"/>
                    <a:pt x="1046" y="120"/>
                  </a:cubicBezTo>
                  <a:cubicBezTo>
                    <a:pt x="1048" y="120"/>
                    <a:pt x="1064" y="123"/>
                    <a:pt x="1066" y="123"/>
                  </a:cubicBezTo>
                  <a:cubicBezTo>
                    <a:pt x="1068" y="123"/>
                    <a:pt x="1072" y="119"/>
                    <a:pt x="1074" y="118"/>
                  </a:cubicBezTo>
                  <a:cubicBezTo>
                    <a:pt x="1075" y="118"/>
                    <a:pt x="1076" y="120"/>
                    <a:pt x="1077" y="122"/>
                  </a:cubicBezTo>
                  <a:cubicBezTo>
                    <a:pt x="1078" y="123"/>
                    <a:pt x="1076" y="127"/>
                    <a:pt x="1078" y="127"/>
                  </a:cubicBezTo>
                  <a:cubicBezTo>
                    <a:pt x="1081" y="128"/>
                    <a:pt x="1085" y="127"/>
                    <a:pt x="1086" y="128"/>
                  </a:cubicBezTo>
                  <a:cubicBezTo>
                    <a:pt x="1087" y="129"/>
                    <a:pt x="1085" y="133"/>
                    <a:pt x="1088" y="133"/>
                  </a:cubicBezTo>
                  <a:cubicBezTo>
                    <a:pt x="1091" y="133"/>
                    <a:pt x="1099" y="132"/>
                    <a:pt x="1098" y="129"/>
                  </a:cubicBezTo>
                  <a:cubicBezTo>
                    <a:pt x="1097" y="126"/>
                    <a:pt x="1093" y="121"/>
                    <a:pt x="1093" y="120"/>
                  </a:cubicBezTo>
                  <a:cubicBezTo>
                    <a:pt x="1093" y="118"/>
                    <a:pt x="1092" y="115"/>
                    <a:pt x="1094" y="115"/>
                  </a:cubicBezTo>
                  <a:cubicBezTo>
                    <a:pt x="1096" y="114"/>
                    <a:pt x="1111" y="117"/>
                    <a:pt x="1116" y="118"/>
                  </a:cubicBezTo>
                  <a:cubicBezTo>
                    <a:pt x="1122" y="118"/>
                    <a:pt x="1134" y="118"/>
                    <a:pt x="1136" y="118"/>
                  </a:cubicBezTo>
                  <a:cubicBezTo>
                    <a:pt x="1139" y="118"/>
                    <a:pt x="1144" y="120"/>
                    <a:pt x="1148" y="122"/>
                  </a:cubicBezTo>
                  <a:cubicBezTo>
                    <a:pt x="1152" y="123"/>
                    <a:pt x="1161" y="125"/>
                    <a:pt x="1163" y="126"/>
                  </a:cubicBezTo>
                  <a:cubicBezTo>
                    <a:pt x="1165" y="128"/>
                    <a:pt x="1173" y="131"/>
                    <a:pt x="1175" y="133"/>
                  </a:cubicBezTo>
                  <a:cubicBezTo>
                    <a:pt x="1177" y="134"/>
                    <a:pt x="1198" y="144"/>
                    <a:pt x="1203" y="147"/>
                  </a:cubicBezTo>
                  <a:cubicBezTo>
                    <a:pt x="1208" y="151"/>
                    <a:pt x="1207" y="154"/>
                    <a:pt x="1207" y="155"/>
                  </a:cubicBezTo>
                  <a:cubicBezTo>
                    <a:pt x="1207" y="156"/>
                    <a:pt x="1206" y="160"/>
                    <a:pt x="1208" y="161"/>
                  </a:cubicBezTo>
                  <a:cubicBezTo>
                    <a:pt x="1210" y="162"/>
                    <a:pt x="1213" y="165"/>
                    <a:pt x="1214" y="163"/>
                  </a:cubicBezTo>
                  <a:cubicBezTo>
                    <a:pt x="1214" y="161"/>
                    <a:pt x="1212" y="154"/>
                    <a:pt x="1213" y="154"/>
                  </a:cubicBezTo>
                  <a:cubicBezTo>
                    <a:pt x="1214" y="154"/>
                    <a:pt x="1229" y="156"/>
                    <a:pt x="1230" y="156"/>
                  </a:cubicBezTo>
                  <a:cubicBezTo>
                    <a:pt x="1231" y="157"/>
                    <a:pt x="1246" y="165"/>
                    <a:pt x="1246" y="167"/>
                  </a:cubicBezTo>
                  <a:cubicBezTo>
                    <a:pt x="1246" y="168"/>
                    <a:pt x="1240" y="169"/>
                    <a:pt x="1240" y="170"/>
                  </a:cubicBezTo>
                  <a:cubicBezTo>
                    <a:pt x="1240" y="171"/>
                    <a:pt x="1237" y="173"/>
                    <a:pt x="1234" y="174"/>
                  </a:cubicBezTo>
                  <a:cubicBezTo>
                    <a:pt x="1232" y="175"/>
                    <a:pt x="1225" y="172"/>
                    <a:pt x="1225" y="173"/>
                  </a:cubicBezTo>
                  <a:cubicBezTo>
                    <a:pt x="1225" y="175"/>
                    <a:pt x="1228" y="180"/>
                    <a:pt x="1227" y="181"/>
                  </a:cubicBezTo>
                  <a:cubicBezTo>
                    <a:pt x="1226" y="182"/>
                    <a:pt x="1221" y="183"/>
                    <a:pt x="1221" y="185"/>
                  </a:cubicBezTo>
                  <a:cubicBezTo>
                    <a:pt x="1221" y="187"/>
                    <a:pt x="1224" y="191"/>
                    <a:pt x="1221" y="191"/>
                  </a:cubicBezTo>
                  <a:cubicBezTo>
                    <a:pt x="1218" y="191"/>
                    <a:pt x="1213" y="189"/>
                    <a:pt x="1210" y="187"/>
                  </a:cubicBezTo>
                  <a:cubicBezTo>
                    <a:pt x="1207" y="185"/>
                    <a:pt x="1199" y="183"/>
                    <a:pt x="1199" y="181"/>
                  </a:cubicBezTo>
                  <a:cubicBezTo>
                    <a:pt x="1199" y="179"/>
                    <a:pt x="1198" y="174"/>
                    <a:pt x="1197" y="174"/>
                  </a:cubicBezTo>
                  <a:cubicBezTo>
                    <a:pt x="1196" y="173"/>
                    <a:pt x="1190" y="173"/>
                    <a:pt x="1189" y="173"/>
                  </a:cubicBezTo>
                  <a:cubicBezTo>
                    <a:pt x="1187" y="173"/>
                    <a:pt x="1186" y="176"/>
                    <a:pt x="1183" y="176"/>
                  </a:cubicBezTo>
                  <a:cubicBezTo>
                    <a:pt x="1179" y="175"/>
                    <a:pt x="1178" y="175"/>
                    <a:pt x="1178" y="173"/>
                  </a:cubicBezTo>
                  <a:cubicBezTo>
                    <a:pt x="1178" y="172"/>
                    <a:pt x="1179" y="166"/>
                    <a:pt x="1178" y="164"/>
                  </a:cubicBezTo>
                  <a:cubicBezTo>
                    <a:pt x="1178" y="163"/>
                    <a:pt x="1169" y="165"/>
                    <a:pt x="1168" y="167"/>
                  </a:cubicBezTo>
                  <a:cubicBezTo>
                    <a:pt x="1167" y="168"/>
                    <a:pt x="1165" y="170"/>
                    <a:pt x="1168" y="172"/>
                  </a:cubicBezTo>
                  <a:cubicBezTo>
                    <a:pt x="1170" y="173"/>
                    <a:pt x="1173" y="173"/>
                    <a:pt x="1172" y="175"/>
                  </a:cubicBezTo>
                  <a:cubicBezTo>
                    <a:pt x="1171" y="176"/>
                    <a:pt x="1163" y="184"/>
                    <a:pt x="1161" y="184"/>
                  </a:cubicBezTo>
                  <a:cubicBezTo>
                    <a:pt x="1158" y="184"/>
                    <a:pt x="1147" y="182"/>
                    <a:pt x="1146" y="182"/>
                  </a:cubicBezTo>
                  <a:cubicBezTo>
                    <a:pt x="1145" y="182"/>
                    <a:pt x="1138" y="181"/>
                    <a:pt x="1137" y="182"/>
                  </a:cubicBezTo>
                  <a:cubicBezTo>
                    <a:pt x="1137" y="183"/>
                    <a:pt x="1137" y="186"/>
                    <a:pt x="1139" y="187"/>
                  </a:cubicBezTo>
                  <a:cubicBezTo>
                    <a:pt x="1141" y="187"/>
                    <a:pt x="1144" y="187"/>
                    <a:pt x="1146" y="187"/>
                  </a:cubicBezTo>
                  <a:cubicBezTo>
                    <a:pt x="1147" y="188"/>
                    <a:pt x="1149" y="192"/>
                    <a:pt x="1151" y="192"/>
                  </a:cubicBezTo>
                  <a:cubicBezTo>
                    <a:pt x="1154" y="192"/>
                    <a:pt x="1154" y="190"/>
                    <a:pt x="1155" y="191"/>
                  </a:cubicBezTo>
                  <a:cubicBezTo>
                    <a:pt x="1156" y="191"/>
                    <a:pt x="1156" y="197"/>
                    <a:pt x="1158" y="199"/>
                  </a:cubicBezTo>
                  <a:cubicBezTo>
                    <a:pt x="1160" y="201"/>
                    <a:pt x="1165" y="207"/>
                    <a:pt x="1164" y="208"/>
                  </a:cubicBezTo>
                  <a:cubicBezTo>
                    <a:pt x="1163" y="209"/>
                    <a:pt x="1159" y="212"/>
                    <a:pt x="1159" y="214"/>
                  </a:cubicBezTo>
                  <a:cubicBezTo>
                    <a:pt x="1159" y="215"/>
                    <a:pt x="1150" y="210"/>
                    <a:pt x="1146" y="211"/>
                  </a:cubicBezTo>
                  <a:cubicBezTo>
                    <a:pt x="1142" y="212"/>
                    <a:pt x="1129" y="218"/>
                    <a:pt x="1126" y="219"/>
                  </a:cubicBezTo>
                  <a:cubicBezTo>
                    <a:pt x="1123" y="220"/>
                    <a:pt x="1111" y="225"/>
                    <a:pt x="1109" y="228"/>
                  </a:cubicBezTo>
                  <a:cubicBezTo>
                    <a:pt x="1106" y="230"/>
                    <a:pt x="1098" y="234"/>
                    <a:pt x="1097" y="235"/>
                  </a:cubicBezTo>
                  <a:cubicBezTo>
                    <a:pt x="1096" y="236"/>
                    <a:pt x="1095" y="241"/>
                    <a:pt x="1093" y="241"/>
                  </a:cubicBezTo>
                  <a:cubicBezTo>
                    <a:pt x="1090" y="241"/>
                    <a:pt x="1088" y="235"/>
                    <a:pt x="1085" y="234"/>
                  </a:cubicBezTo>
                  <a:cubicBezTo>
                    <a:pt x="1081" y="234"/>
                    <a:pt x="1073" y="234"/>
                    <a:pt x="1071" y="236"/>
                  </a:cubicBezTo>
                  <a:cubicBezTo>
                    <a:pt x="1069" y="238"/>
                    <a:pt x="1062" y="245"/>
                    <a:pt x="1061" y="244"/>
                  </a:cubicBezTo>
                  <a:cubicBezTo>
                    <a:pt x="1060" y="243"/>
                    <a:pt x="1063" y="236"/>
                    <a:pt x="1061" y="235"/>
                  </a:cubicBezTo>
                  <a:cubicBezTo>
                    <a:pt x="1059" y="234"/>
                    <a:pt x="1053" y="240"/>
                    <a:pt x="1052" y="241"/>
                  </a:cubicBezTo>
                  <a:cubicBezTo>
                    <a:pt x="1051" y="242"/>
                    <a:pt x="1047" y="238"/>
                    <a:pt x="1045" y="240"/>
                  </a:cubicBezTo>
                  <a:cubicBezTo>
                    <a:pt x="1042" y="242"/>
                    <a:pt x="1039" y="247"/>
                    <a:pt x="1038" y="250"/>
                  </a:cubicBezTo>
                  <a:cubicBezTo>
                    <a:pt x="1037" y="252"/>
                    <a:pt x="1030" y="256"/>
                    <a:pt x="1029" y="260"/>
                  </a:cubicBezTo>
                  <a:cubicBezTo>
                    <a:pt x="1029" y="265"/>
                    <a:pt x="1032" y="266"/>
                    <a:pt x="1033" y="265"/>
                  </a:cubicBezTo>
                  <a:cubicBezTo>
                    <a:pt x="1034" y="265"/>
                    <a:pt x="1037" y="263"/>
                    <a:pt x="1038" y="264"/>
                  </a:cubicBezTo>
                  <a:cubicBezTo>
                    <a:pt x="1039" y="265"/>
                    <a:pt x="1040" y="267"/>
                    <a:pt x="1039" y="268"/>
                  </a:cubicBezTo>
                  <a:cubicBezTo>
                    <a:pt x="1038" y="269"/>
                    <a:pt x="1034" y="272"/>
                    <a:pt x="1034" y="273"/>
                  </a:cubicBezTo>
                  <a:cubicBezTo>
                    <a:pt x="1034" y="274"/>
                    <a:pt x="1034" y="277"/>
                    <a:pt x="1035" y="277"/>
                  </a:cubicBezTo>
                  <a:cubicBezTo>
                    <a:pt x="1036" y="277"/>
                    <a:pt x="1040" y="275"/>
                    <a:pt x="1040" y="276"/>
                  </a:cubicBezTo>
                  <a:cubicBezTo>
                    <a:pt x="1040" y="278"/>
                    <a:pt x="1040" y="285"/>
                    <a:pt x="1039" y="285"/>
                  </a:cubicBezTo>
                  <a:cubicBezTo>
                    <a:pt x="1037" y="285"/>
                    <a:pt x="1033" y="282"/>
                    <a:pt x="1031" y="284"/>
                  </a:cubicBezTo>
                  <a:cubicBezTo>
                    <a:pt x="1029" y="286"/>
                    <a:pt x="1028" y="290"/>
                    <a:pt x="1028" y="291"/>
                  </a:cubicBezTo>
                  <a:cubicBezTo>
                    <a:pt x="1028" y="293"/>
                    <a:pt x="1032" y="298"/>
                    <a:pt x="1031" y="299"/>
                  </a:cubicBezTo>
                  <a:cubicBezTo>
                    <a:pt x="1029" y="300"/>
                    <a:pt x="1026" y="303"/>
                    <a:pt x="1024" y="301"/>
                  </a:cubicBezTo>
                  <a:cubicBezTo>
                    <a:pt x="1023" y="300"/>
                    <a:pt x="1019" y="300"/>
                    <a:pt x="1016" y="302"/>
                  </a:cubicBezTo>
                  <a:cubicBezTo>
                    <a:pt x="1013" y="304"/>
                    <a:pt x="1013" y="308"/>
                    <a:pt x="1013" y="309"/>
                  </a:cubicBezTo>
                  <a:cubicBezTo>
                    <a:pt x="1014" y="311"/>
                    <a:pt x="1014" y="313"/>
                    <a:pt x="1014" y="314"/>
                  </a:cubicBezTo>
                  <a:cubicBezTo>
                    <a:pt x="1014" y="315"/>
                    <a:pt x="1010" y="315"/>
                    <a:pt x="1007" y="316"/>
                  </a:cubicBezTo>
                  <a:cubicBezTo>
                    <a:pt x="1005" y="317"/>
                    <a:pt x="1002" y="318"/>
                    <a:pt x="1002" y="321"/>
                  </a:cubicBezTo>
                  <a:cubicBezTo>
                    <a:pt x="1003" y="324"/>
                    <a:pt x="1002" y="327"/>
                    <a:pt x="1000" y="329"/>
                  </a:cubicBezTo>
                  <a:cubicBezTo>
                    <a:pt x="997" y="331"/>
                    <a:pt x="992" y="338"/>
                    <a:pt x="990" y="337"/>
                  </a:cubicBezTo>
                  <a:cubicBezTo>
                    <a:pt x="987" y="337"/>
                    <a:pt x="987" y="329"/>
                    <a:pt x="987" y="326"/>
                  </a:cubicBezTo>
                  <a:cubicBezTo>
                    <a:pt x="987" y="324"/>
                    <a:pt x="984" y="312"/>
                    <a:pt x="983" y="307"/>
                  </a:cubicBezTo>
                  <a:cubicBezTo>
                    <a:pt x="981" y="302"/>
                    <a:pt x="980" y="284"/>
                    <a:pt x="983" y="279"/>
                  </a:cubicBezTo>
                  <a:cubicBezTo>
                    <a:pt x="985" y="275"/>
                    <a:pt x="989" y="273"/>
                    <a:pt x="989" y="272"/>
                  </a:cubicBezTo>
                  <a:cubicBezTo>
                    <a:pt x="990" y="271"/>
                    <a:pt x="989" y="266"/>
                    <a:pt x="991" y="265"/>
                  </a:cubicBezTo>
                  <a:cubicBezTo>
                    <a:pt x="992" y="264"/>
                    <a:pt x="996" y="265"/>
                    <a:pt x="999" y="263"/>
                  </a:cubicBezTo>
                  <a:cubicBezTo>
                    <a:pt x="1002" y="261"/>
                    <a:pt x="1014" y="253"/>
                    <a:pt x="1016" y="249"/>
                  </a:cubicBezTo>
                  <a:cubicBezTo>
                    <a:pt x="1018" y="246"/>
                    <a:pt x="1027" y="238"/>
                    <a:pt x="1029" y="237"/>
                  </a:cubicBezTo>
                  <a:cubicBezTo>
                    <a:pt x="1031" y="235"/>
                    <a:pt x="1042" y="231"/>
                    <a:pt x="1042" y="230"/>
                  </a:cubicBezTo>
                  <a:cubicBezTo>
                    <a:pt x="1043" y="228"/>
                    <a:pt x="1045" y="225"/>
                    <a:pt x="1045" y="224"/>
                  </a:cubicBezTo>
                  <a:cubicBezTo>
                    <a:pt x="1045" y="222"/>
                    <a:pt x="1046" y="216"/>
                    <a:pt x="1047" y="215"/>
                  </a:cubicBezTo>
                  <a:cubicBezTo>
                    <a:pt x="1049" y="214"/>
                    <a:pt x="1053" y="213"/>
                    <a:pt x="1053" y="212"/>
                  </a:cubicBezTo>
                  <a:cubicBezTo>
                    <a:pt x="1053" y="210"/>
                    <a:pt x="1050" y="208"/>
                    <a:pt x="1046" y="208"/>
                  </a:cubicBezTo>
                  <a:cubicBezTo>
                    <a:pt x="1043" y="209"/>
                    <a:pt x="1038" y="210"/>
                    <a:pt x="1037" y="213"/>
                  </a:cubicBezTo>
                  <a:cubicBezTo>
                    <a:pt x="1037" y="216"/>
                    <a:pt x="1038" y="221"/>
                    <a:pt x="1037" y="222"/>
                  </a:cubicBezTo>
                  <a:cubicBezTo>
                    <a:pt x="1036" y="222"/>
                    <a:pt x="1030" y="221"/>
                    <a:pt x="1028" y="224"/>
                  </a:cubicBezTo>
                  <a:cubicBezTo>
                    <a:pt x="1027" y="227"/>
                    <a:pt x="1020" y="232"/>
                    <a:pt x="1017" y="232"/>
                  </a:cubicBezTo>
                  <a:cubicBezTo>
                    <a:pt x="1014" y="232"/>
                    <a:pt x="1014" y="229"/>
                    <a:pt x="1014" y="227"/>
                  </a:cubicBezTo>
                  <a:cubicBezTo>
                    <a:pt x="1015" y="225"/>
                    <a:pt x="1018" y="218"/>
                    <a:pt x="1016" y="218"/>
                  </a:cubicBezTo>
                  <a:cubicBezTo>
                    <a:pt x="1014" y="217"/>
                    <a:pt x="1011" y="219"/>
                    <a:pt x="1006" y="219"/>
                  </a:cubicBezTo>
                  <a:cubicBezTo>
                    <a:pt x="1002" y="219"/>
                    <a:pt x="993" y="219"/>
                    <a:pt x="991" y="223"/>
                  </a:cubicBezTo>
                  <a:cubicBezTo>
                    <a:pt x="989" y="227"/>
                    <a:pt x="987" y="230"/>
                    <a:pt x="984" y="232"/>
                  </a:cubicBezTo>
                  <a:cubicBezTo>
                    <a:pt x="981" y="233"/>
                    <a:pt x="971" y="240"/>
                    <a:pt x="971" y="242"/>
                  </a:cubicBezTo>
                  <a:cubicBezTo>
                    <a:pt x="971" y="243"/>
                    <a:pt x="969" y="245"/>
                    <a:pt x="971" y="246"/>
                  </a:cubicBezTo>
                  <a:cubicBezTo>
                    <a:pt x="972" y="246"/>
                    <a:pt x="979" y="246"/>
                    <a:pt x="978" y="248"/>
                  </a:cubicBezTo>
                  <a:cubicBezTo>
                    <a:pt x="978" y="251"/>
                    <a:pt x="974" y="253"/>
                    <a:pt x="969" y="253"/>
                  </a:cubicBezTo>
                  <a:cubicBezTo>
                    <a:pt x="965" y="253"/>
                    <a:pt x="960" y="253"/>
                    <a:pt x="956" y="253"/>
                  </a:cubicBezTo>
                  <a:cubicBezTo>
                    <a:pt x="952" y="254"/>
                    <a:pt x="948" y="254"/>
                    <a:pt x="948" y="252"/>
                  </a:cubicBezTo>
                  <a:cubicBezTo>
                    <a:pt x="948" y="251"/>
                    <a:pt x="951" y="246"/>
                    <a:pt x="947" y="246"/>
                  </a:cubicBezTo>
                  <a:cubicBezTo>
                    <a:pt x="942" y="245"/>
                    <a:pt x="936" y="242"/>
                    <a:pt x="933" y="243"/>
                  </a:cubicBezTo>
                  <a:cubicBezTo>
                    <a:pt x="930" y="244"/>
                    <a:pt x="931" y="248"/>
                    <a:pt x="928" y="249"/>
                  </a:cubicBezTo>
                  <a:cubicBezTo>
                    <a:pt x="924" y="249"/>
                    <a:pt x="912" y="248"/>
                    <a:pt x="909" y="248"/>
                  </a:cubicBezTo>
                  <a:cubicBezTo>
                    <a:pt x="906" y="248"/>
                    <a:pt x="894" y="248"/>
                    <a:pt x="890" y="248"/>
                  </a:cubicBezTo>
                  <a:cubicBezTo>
                    <a:pt x="885" y="248"/>
                    <a:pt x="878" y="251"/>
                    <a:pt x="875" y="255"/>
                  </a:cubicBezTo>
                  <a:cubicBezTo>
                    <a:pt x="872" y="259"/>
                    <a:pt x="868" y="262"/>
                    <a:pt x="865" y="265"/>
                  </a:cubicBezTo>
                  <a:cubicBezTo>
                    <a:pt x="861" y="267"/>
                    <a:pt x="854" y="272"/>
                    <a:pt x="852" y="274"/>
                  </a:cubicBezTo>
                  <a:cubicBezTo>
                    <a:pt x="851" y="276"/>
                    <a:pt x="838" y="287"/>
                    <a:pt x="834" y="290"/>
                  </a:cubicBezTo>
                  <a:cubicBezTo>
                    <a:pt x="830" y="292"/>
                    <a:pt x="822" y="296"/>
                    <a:pt x="824" y="298"/>
                  </a:cubicBezTo>
                  <a:cubicBezTo>
                    <a:pt x="826" y="300"/>
                    <a:pt x="829" y="300"/>
                    <a:pt x="831" y="300"/>
                  </a:cubicBezTo>
                  <a:cubicBezTo>
                    <a:pt x="833" y="300"/>
                    <a:pt x="836" y="300"/>
                    <a:pt x="837" y="300"/>
                  </a:cubicBezTo>
                  <a:cubicBezTo>
                    <a:pt x="837" y="300"/>
                    <a:pt x="835" y="308"/>
                    <a:pt x="838" y="308"/>
                  </a:cubicBezTo>
                  <a:cubicBezTo>
                    <a:pt x="840" y="308"/>
                    <a:pt x="840" y="307"/>
                    <a:pt x="842" y="307"/>
                  </a:cubicBezTo>
                  <a:cubicBezTo>
                    <a:pt x="843" y="307"/>
                    <a:pt x="848" y="312"/>
                    <a:pt x="849" y="311"/>
                  </a:cubicBezTo>
                  <a:cubicBezTo>
                    <a:pt x="851" y="311"/>
                    <a:pt x="850" y="303"/>
                    <a:pt x="851" y="303"/>
                  </a:cubicBezTo>
                  <a:cubicBezTo>
                    <a:pt x="853" y="303"/>
                    <a:pt x="858" y="303"/>
                    <a:pt x="859" y="303"/>
                  </a:cubicBezTo>
                  <a:cubicBezTo>
                    <a:pt x="861" y="302"/>
                    <a:pt x="867" y="311"/>
                    <a:pt x="869" y="312"/>
                  </a:cubicBezTo>
                  <a:cubicBezTo>
                    <a:pt x="871" y="313"/>
                    <a:pt x="872" y="315"/>
                    <a:pt x="871" y="317"/>
                  </a:cubicBezTo>
                  <a:cubicBezTo>
                    <a:pt x="870" y="318"/>
                    <a:pt x="870" y="323"/>
                    <a:pt x="869" y="326"/>
                  </a:cubicBezTo>
                  <a:cubicBezTo>
                    <a:pt x="869" y="328"/>
                    <a:pt x="867" y="331"/>
                    <a:pt x="866" y="335"/>
                  </a:cubicBezTo>
                  <a:cubicBezTo>
                    <a:pt x="865" y="339"/>
                    <a:pt x="863" y="359"/>
                    <a:pt x="862" y="361"/>
                  </a:cubicBezTo>
                  <a:cubicBezTo>
                    <a:pt x="862" y="363"/>
                    <a:pt x="853" y="371"/>
                    <a:pt x="851" y="375"/>
                  </a:cubicBezTo>
                  <a:cubicBezTo>
                    <a:pt x="849" y="380"/>
                    <a:pt x="843" y="387"/>
                    <a:pt x="839" y="392"/>
                  </a:cubicBezTo>
                  <a:cubicBezTo>
                    <a:pt x="835" y="397"/>
                    <a:pt x="823" y="410"/>
                    <a:pt x="819" y="412"/>
                  </a:cubicBezTo>
                  <a:cubicBezTo>
                    <a:pt x="815" y="415"/>
                    <a:pt x="810" y="419"/>
                    <a:pt x="806" y="417"/>
                  </a:cubicBezTo>
                  <a:cubicBezTo>
                    <a:pt x="803" y="414"/>
                    <a:pt x="802" y="413"/>
                    <a:pt x="799" y="414"/>
                  </a:cubicBezTo>
                  <a:cubicBezTo>
                    <a:pt x="795" y="415"/>
                    <a:pt x="796" y="417"/>
                    <a:pt x="793" y="419"/>
                  </a:cubicBezTo>
                  <a:cubicBezTo>
                    <a:pt x="792" y="420"/>
                    <a:pt x="792" y="420"/>
                    <a:pt x="790" y="421"/>
                  </a:cubicBezTo>
                  <a:cubicBezTo>
                    <a:pt x="787" y="414"/>
                    <a:pt x="787" y="414"/>
                    <a:pt x="787" y="414"/>
                  </a:cubicBezTo>
                  <a:cubicBezTo>
                    <a:pt x="788" y="413"/>
                    <a:pt x="790" y="413"/>
                    <a:pt x="790" y="413"/>
                  </a:cubicBezTo>
                  <a:cubicBezTo>
                    <a:pt x="792" y="412"/>
                    <a:pt x="793" y="400"/>
                    <a:pt x="792" y="398"/>
                  </a:cubicBezTo>
                  <a:cubicBezTo>
                    <a:pt x="790" y="396"/>
                    <a:pt x="795" y="395"/>
                    <a:pt x="797" y="394"/>
                  </a:cubicBezTo>
                  <a:cubicBezTo>
                    <a:pt x="800" y="393"/>
                    <a:pt x="809" y="395"/>
                    <a:pt x="809" y="395"/>
                  </a:cubicBezTo>
                  <a:cubicBezTo>
                    <a:pt x="810" y="395"/>
                    <a:pt x="814" y="383"/>
                    <a:pt x="815" y="380"/>
                  </a:cubicBezTo>
                  <a:cubicBezTo>
                    <a:pt x="815" y="378"/>
                    <a:pt x="820" y="372"/>
                    <a:pt x="821" y="370"/>
                  </a:cubicBezTo>
                  <a:cubicBezTo>
                    <a:pt x="821" y="369"/>
                    <a:pt x="821" y="365"/>
                    <a:pt x="819" y="363"/>
                  </a:cubicBezTo>
                  <a:cubicBezTo>
                    <a:pt x="817" y="360"/>
                    <a:pt x="806" y="367"/>
                    <a:pt x="804" y="369"/>
                  </a:cubicBezTo>
                  <a:cubicBezTo>
                    <a:pt x="802" y="370"/>
                    <a:pt x="794" y="370"/>
                    <a:pt x="793" y="370"/>
                  </a:cubicBezTo>
                  <a:cubicBezTo>
                    <a:pt x="792" y="370"/>
                    <a:pt x="789" y="359"/>
                    <a:pt x="787" y="357"/>
                  </a:cubicBezTo>
                  <a:cubicBezTo>
                    <a:pt x="785" y="355"/>
                    <a:pt x="771" y="353"/>
                    <a:pt x="768" y="351"/>
                  </a:cubicBezTo>
                  <a:cubicBezTo>
                    <a:pt x="765" y="349"/>
                    <a:pt x="765" y="347"/>
                    <a:pt x="765" y="344"/>
                  </a:cubicBezTo>
                  <a:cubicBezTo>
                    <a:pt x="764" y="342"/>
                    <a:pt x="755" y="320"/>
                    <a:pt x="753" y="318"/>
                  </a:cubicBezTo>
                  <a:cubicBezTo>
                    <a:pt x="752" y="316"/>
                    <a:pt x="743" y="315"/>
                    <a:pt x="738" y="312"/>
                  </a:cubicBezTo>
                  <a:cubicBezTo>
                    <a:pt x="734" y="309"/>
                    <a:pt x="718" y="312"/>
                    <a:pt x="715" y="313"/>
                  </a:cubicBezTo>
                  <a:cubicBezTo>
                    <a:pt x="711" y="314"/>
                    <a:pt x="707" y="318"/>
                    <a:pt x="707" y="320"/>
                  </a:cubicBezTo>
                  <a:cubicBezTo>
                    <a:pt x="707" y="322"/>
                    <a:pt x="713" y="322"/>
                    <a:pt x="713" y="323"/>
                  </a:cubicBezTo>
                  <a:cubicBezTo>
                    <a:pt x="714" y="324"/>
                    <a:pt x="714" y="327"/>
                    <a:pt x="712" y="330"/>
                  </a:cubicBezTo>
                  <a:cubicBezTo>
                    <a:pt x="710" y="333"/>
                    <a:pt x="703" y="342"/>
                    <a:pt x="703" y="344"/>
                  </a:cubicBezTo>
                  <a:cubicBezTo>
                    <a:pt x="702" y="346"/>
                    <a:pt x="695" y="350"/>
                    <a:pt x="694" y="351"/>
                  </a:cubicBezTo>
                  <a:cubicBezTo>
                    <a:pt x="693" y="352"/>
                    <a:pt x="683" y="349"/>
                    <a:pt x="682" y="349"/>
                  </a:cubicBezTo>
                  <a:cubicBezTo>
                    <a:pt x="674" y="346"/>
                    <a:pt x="674" y="346"/>
                    <a:pt x="674" y="346"/>
                  </a:cubicBezTo>
                  <a:cubicBezTo>
                    <a:pt x="671" y="346"/>
                    <a:pt x="663" y="343"/>
                    <a:pt x="658" y="348"/>
                  </a:cubicBezTo>
                  <a:cubicBezTo>
                    <a:pt x="652" y="353"/>
                    <a:pt x="646" y="354"/>
                    <a:pt x="641" y="355"/>
                  </a:cubicBezTo>
                  <a:cubicBezTo>
                    <a:pt x="637" y="355"/>
                    <a:pt x="623" y="355"/>
                    <a:pt x="620" y="353"/>
                  </a:cubicBezTo>
                  <a:cubicBezTo>
                    <a:pt x="618" y="352"/>
                    <a:pt x="616" y="346"/>
                    <a:pt x="614" y="346"/>
                  </a:cubicBezTo>
                  <a:cubicBezTo>
                    <a:pt x="612" y="345"/>
                    <a:pt x="600" y="343"/>
                    <a:pt x="598" y="342"/>
                  </a:cubicBezTo>
                  <a:cubicBezTo>
                    <a:pt x="595" y="342"/>
                    <a:pt x="588" y="345"/>
                    <a:pt x="585" y="345"/>
                  </a:cubicBezTo>
                  <a:cubicBezTo>
                    <a:pt x="581" y="345"/>
                    <a:pt x="574" y="342"/>
                    <a:pt x="573" y="340"/>
                  </a:cubicBezTo>
                  <a:cubicBezTo>
                    <a:pt x="572" y="337"/>
                    <a:pt x="573" y="335"/>
                    <a:pt x="572" y="333"/>
                  </a:cubicBezTo>
                  <a:cubicBezTo>
                    <a:pt x="572" y="331"/>
                    <a:pt x="549" y="326"/>
                    <a:pt x="547" y="325"/>
                  </a:cubicBezTo>
                  <a:cubicBezTo>
                    <a:pt x="545" y="325"/>
                    <a:pt x="540" y="332"/>
                    <a:pt x="540" y="335"/>
                  </a:cubicBezTo>
                  <a:cubicBezTo>
                    <a:pt x="540" y="337"/>
                    <a:pt x="544" y="344"/>
                    <a:pt x="542" y="346"/>
                  </a:cubicBezTo>
                  <a:cubicBezTo>
                    <a:pt x="539" y="348"/>
                    <a:pt x="537" y="350"/>
                    <a:pt x="533" y="349"/>
                  </a:cubicBezTo>
                  <a:cubicBezTo>
                    <a:pt x="529" y="348"/>
                    <a:pt x="517" y="348"/>
                    <a:pt x="515" y="346"/>
                  </a:cubicBezTo>
                  <a:cubicBezTo>
                    <a:pt x="513" y="344"/>
                    <a:pt x="510" y="341"/>
                    <a:pt x="509" y="340"/>
                  </a:cubicBezTo>
                  <a:cubicBezTo>
                    <a:pt x="509" y="339"/>
                    <a:pt x="498" y="340"/>
                    <a:pt x="495" y="341"/>
                  </a:cubicBezTo>
                  <a:cubicBezTo>
                    <a:pt x="491" y="342"/>
                    <a:pt x="482" y="345"/>
                    <a:pt x="479" y="346"/>
                  </a:cubicBezTo>
                  <a:cubicBezTo>
                    <a:pt x="477" y="348"/>
                    <a:pt x="469" y="352"/>
                    <a:pt x="469" y="352"/>
                  </a:cubicBezTo>
                  <a:cubicBezTo>
                    <a:pt x="463" y="356"/>
                    <a:pt x="463" y="356"/>
                    <a:pt x="463" y="356"/>
                  </a:cubicBezTo>
                  <a:cubicBezTo>
                    <a:pt x="463" y="356"/>
                    <a:pt x="460" y="355"/>
                    <a:pt x="458" y="354"/>
                  </a:cubicBezTo>
                  <a:cubicBezTo>
                    <a:pt x="457" y="353"/>
                    <a:pt x="455" y="352"/>
                    <a:pt x="454" y="351"/>
                  </a:cubicBezTo>
                  <a:cubicBezTo>
                    <a:pt x="452" y="349"/>
                    <a:pt x="451" y="351"/>
                    <a:pt x="448" y="351"/>
                  </a:cubicBezTo>
                  <a:cubicBezTo>
                    <a:pt x="445" y="352"/>
                    <a:pt x="443" y="351"/>
                    <a:pt x="440" y="349"/>
                  </a:cubicBezTo>
                  <a:cubicBezTo>
                    <a:pt x="438" y="346"/>
                    <a:pt x="433" y="339"/>
                    <a:pt x="430" y="338"/>
                  </a:cubicBezTo>
                  <a:cubicBezTo>
                    <a:pt x="427" y="337"/>
                    <a:pt x="421" y="340"/>
                    <a:pt x="417" y="338"/>
                  </a:cubicBezTo>
                  <a:cubicBezTo>
                    <a:pt x="413" y="336"/>
                    <a:pt x="412" y="335"/>
                    <a:pt x="410" y="335"/>
                  </a:cubicBezTo>
                  <a:cubicBezTo>
                    <a:pt x="409" y="335"/>
                    <a:pt x="402" y="338"/>
                    <a:pt x="402" y="338"/>
                  </a:cubicBezTo>
                  <a:cubicBezTo>
                    <a:pt x="402" y="338"/>
                    <a:pt x="383" y="312"/>
                    <a:pt x="381" y="310"/>
                  </a:cubicBezTo>
                  <a:cubicBezTo>
                    <a:pt x="380" y="307"/>
                    <a:pt x="378" y="303"/>
                    <a:pt x="377" y="303"/>
                  </a:cubicBezTo>
                  <a:cubicBezTo>
                    <a:pt x="375" y="303"/>
                    <a:pt x="366" y="308"/>
                    <a:pt x="363" y="309"/>
                  </a:cubicBezTo>
                  <a:cubicBezTo>
                    <a:pt x="360" y="310"/>
                    <a:pt x="355" y="312"/>
                    <a:pt x="353" y="312"/>
                  </a:cubicBezTo>
                  <a:cubicBezTo>
                    <a:pt x="351" y="312"/>
                    <a:pt x="352" y="307"/>
                    <a:pt x="352" y="306"/>
                  </a:cubicBezTo>
                  <a:cubicBezTo>
                    <a:pt x="351" y="305"/>
                    <a:pt x="336" y="305"/>
                    <a:pt x="335" y="304"/>
                  </a:cubicBezTo>
                  <a:cubicBezTo>
                    <a:pt x="334" y="303"/>
                    <a:pt x="333" y="294"/>
                    <a:pt x="332" y="293"/>
                  </a:cubicBezTo>
                  <a:cubicBezTo>
                    <a:pt x="331" y="292"/>
                    <a:pt x="321" y="292"/>
                    <a:pt x="320" y="292"/>
                  </a:cubicBezTo>
                  <a:cubicBezTo>
                    <a:pt x="318" y="292"/>
                    <a:pt x="314" y="294"/>
                    <a:pt x="313" y="295"/>
                  </a:cubicBezTo>
                  <a:cubicBezTo>
                    <a:pt x="311" y="296"/>
                    <a:pt x="300" y="299"/>
                    <a:pt x="297" y="300"/>
                  </a:cubicBezTo>
                  <a:cubicBezTo>
                    <a:pt x="294" y="300"/>
                    <a:pt x="271" y="306"/>
                    <a:pt x="268" y="306"/>
                  </a:cubicBezTo>
                  <a:cubicBezTo>
                    <a:pt x="265" y="307"/>
                    <a:pt x="261" y="306"/>
                    <a:pt x="260" y="307"/>
                  </a:cubicBezTo>
                  <a:cubicBezTo>
                    <a:pt x="259" y="307"/>
                    <a:pt x="257" y="317"/>
                    <a:pt x="256" y="317"/>
                  </a:cubicBezTo>
                  <a:cubicBezTo>
                    <a:pt x="256" y="318"/>
                    <a:pt x="258" y="321"/>
                    <a:pt x="258" y="323"/>
                  </a:cubicBezTo>
                  <a:cubicBezTo>
                    <a:pt x="257" y="325"/>
                    <a:pt x="252" y="326"/>
                    <a:pt x="251" y="327"/>
                  </a:cubicBezTo>
                  <a:cubicBezTo>
                    <a:pt x="250" y="329"/>
                    <a:pt x="262" y="332"/>
                    <a:pt x="262" y="333"/>
                  </a:cubicBezTo>
                  <a:cubicBezTo>
                    <a:pt x="262" y="334"/>
                    <a:pt x="262" y="338"/>
                    <a:pt x="260" y="339"/>
                  </a:cubicBezTo>
                  <a:cubicBezTo>
                    <a:pt x="259" y="340"/>
                    <a:pt x="253" y="340"/>
                    <a:pt x="251" y="340"/>
                  </a:cubicBezTo>
                  <a:cubicBezTo>
                    <a:pt x="250" y="340"/>
                    <a:pt x="248" y="341"/>
                    <a:pt x="246" y="341"/>
                  </a:cubicBezTo>
                  <a:cubicBezTo>
                    <a:pt x="244" y="341"/>
                    <a:pt x="237" y="336"/>
                    <a:pt x="236" y="336"/>
                  </a:cubicBezTo>
                  <a:cubicBezTo>
                    <a:pt x="234" y="336"/>
                    <a:pt x="228" y="336"/>
                    <a:pt x="225" y="337"/>
                  </a:cubicBezTo>
                  <a:cubicBezTo>
                    <a:pt x="222" y="337"/>
                    <a:pt x="219" y="341"/>
                    <a:pt x="218" y="342"/>
                  </a:cubicBezTo>
                  <a:cubicBezTo>
                    <a:pt x="217" y="343"/>
                    <a:pt x="210" y="340"/>
                    <a:pt x="209" y="340"/>
                  </a:cubicBezTo>
                  <a:cubicBezTo>
                    <a:pt x="207" y="340"/>
                    <a:pt x="200" y="332"/>
                    <a:pt x="199" y="332"/>
                  </a:cubicBezTo>
                  <a:cubicBezTo>
                    <a:pt x="198" y="331"/>
                    <a:pt x="182" y="330"/>
                    <a:pt x="180" y="330"/>
                  </a:cubicBezTo>
                  <a:cubicBezTo>
                    <a:pt x="179" y="330"/>
                    <a:pt x="167" y="339"/>
                    <a:pt x="165" y="340"/>
                  </a:cubicBezTo>
                  <a:cubicBezTo>
                    <a:pt x="164" y="340"/>
                    <a:pt x="167" y="346"/>
                    <a:pt x="166" y="346"/>
                  </a:cubicBezTo>
                  <a:cubicBezTo>
                    <a:pt x="165" y="347"/>
                    <a:pt x="162" y="350"/>
                    <a:pt x="161" y="350"/>
                  </a:cubicBezTo>
                  <a:cubicBezTo>
                    <a:pt x="160" y="350"/>
                    <a:pt x="155" y="342"/>
                    <a:pt x="154" y="343"/>
                  </a:cubicBezTo>
                  <a:cubicBezTo>
                    <a:pt x="153" y="344"/>
                    <a:pt x="149" y="347"/>
                    <a:pt x="149" y="349"/>
                  </a:cubicBezTo>
                  <a:cubicBezTo>
                    <a:pt x="149" y="350"/>
                    <a:pt x="146" y="363"/>
                    <a:pt x="146" y="363"/>
                  </a:cubicBezTo>
                  <a:cubicBezTo>
                    <a:pt x="146" y="363"/>
                    <a:pt x="151" y="368"/>
                    <a:pt x="153" y="369"/>
                  </a:cubicBezTo>
                  <a:cubicBezTo>
                    <a:pt x="155" y="370"/>
                    <a:pt x="161" y="371"/>
                    <a:pt x="163" y="373"/>
                  </a:cubicBezTo>
                  <a:cubicBezTo>
                    <a:pt x="164" y="375"/>
                    <a:pt x="164" y="378"/>
                    <a:pt x="163" y="379"/>
                  </a:cubicBezTo>
                  <a:cubicBezTo>
                    <a:pt x="168" y="385"/>
                    <a:pt x="168" y="385"/>
                    <a:pt x="168" y="385"/>
                  </a:cubicBezTo>
                  <a:cubicBezTo>
                    <a:pt x="167" y="386"/>
                    <a:pt x="166" y="387"/>
                    <a:pt x="165" y="387"/>
                  </a:cubicBezTo>
                  <a:cubicBezTo>
                    <a:pt x="164" y="389"/>
                    <a:pt x="161" y="389"/>
                    <a:pt x="159" y="389"/>
                  </a:cubicBezTo>
                  <a:cubicBezTo>
                    <a:pt x="157" y="389"/>
                    <a:pt x="155" y="392"/>
                    <a:pt x="154" y="394"/>
                  </a:cubicBezTo>
                  <a:cubicBezTo>
                    <a:pt x="154" y="397"/>
                    <a:pt x="149" y="397"/>
                    <a:pt x="149" y="400"/>
                  </a:cubicBezTo>
                  <a:cubicBezTo>
                    <a:pt x="148" y="402"/>
                    <a:pt x="151" y="402"/>
                    <a:pt x="152" y="403"/>
                  </a:cubicBezTo>
                  <a:cubicBezTo>
                    <a:pt x="154" y="403"/>
                    <a:pt x="156" y="406"/>
                    <a:pt x="155" y="408"/>
                  </a:cubicBezTo>
                  <a:cubicBezTo>
                    <a:pt x="155" y="409"/>
                    <a:pt x="155" y="413"/>
                    <a:pt x="155" y="416"/>
                  </a:cubicBezTo>
                  <a:cubicBezTo>
                    <a:pt x="156" y="418"/>
                    <a:pt x="160" y="422"/>
                    <a:pt x="163" y="425"/>
                  </a:cubicBezTo>
                  <a:cubicBezTo>
                    <a:pt x="159" y="429"/>
                    <a:pt x="159" y="429"/>
                    <a:pt x="159" y="429"/>
                  </a:cubicBezTo>
                  <a:cubicBezTo>
                    <a:pt x="158" y="430"/>
                    <a:pt x="157" y="431"/>
                    <a:pt x="155" y="431"/>
                  </a:cubicBezTo>
                  <a:cubicBezTo>
                    <a:pt x="154" y="431"/>
                    <a:pt x="151" y="429"/>
                    <a:pt x="149" y="427"/>
                  </a:cubicBezTo>
                  <a:cubicBezTo>
                    <a:pt x="148" y="426"/>
                    <a:pt x="147" y="425"/>
                    <a:pt x="146" y="425"/>
                  </a:cubicBezTo>
                  <a:cubicBezTo>
                    <a:pt x="145" y="424"/>
                    <a:pt x="138" y="418"/>
                    <a:pt x="136" y="417"/>
                  </a:cubicBezTo>
                  <a:cubicBezTo>
                    <a:pt x="134" y="417"/>
                    <a:pt x="132" y="417"/>
                    <a:pt x="129" y="418"/>
                  </a:cubicBezTo>
                  <a:cubicBezTo>
                    <a:pt x="126" y="418"/>
                    <a:pt x="125" y="417"/>
                    <a:pt x="123" y="415"/>
                  </a:cubicBezTo>
                  <a:cubicBezTo>
                    <a:pt x="121" y="413"/>
                    <a:pt x="115" y="411"/>
                    <a:pt x="113" y="410"/>
                  </a:cubicBezTo>
                  <a:cubicBezTo>
                    <a:pt x="111" y="409"/>
                    <a:pt x="101" y="407"/>
                    <a:pt x="100" y="407"/>
                  </a:cubicBezTo>
                  <a:cubicBezTo>
                    <a:pt x="99" y="407"/>
                    <a:pt x="97" y="412"/>
                    <a:pt x="97" y="412"/>
                  </a:cubicBezTo>
                  <a:cubicBezTo>
                    <a:pt x="96" y="411"/>
                    <a:pt x="95" y="411"/>
                    <a:pt x="95" y="410"/>
                  </a:cubicBezTo>
                  <a:cubicBezTo>
                    <a:pt x="92" y="408"/>
                    <a:pt x="88" y="403"/>
                    <a:pt x="86" y="403"/>
                  </a:cubicBezTo>
                  <a:cubicBezTo>
                    <a:pt x="83" y="402"/>
                    <a:pt x="79" y="400"/>
                    <a:pt x="77" y="399"/>
                  </a:cubicBezTo>
                  <a:cubicBezTo>
                    <a:pt x="75" y="397"/>
                    <a:pt x="72" y="399"/>
                    <a:pt x="72" y="397"/>
                  </a:cubicBezTo>
                  <a:cubicBezTo>
                    <a:pt x="72" y="396"/>
                    <a:pt x="72" y="392"/>
                    <a:pt x="73" y="392"/>
                  </a:cubicBezTo>
                  <a:cubicBezTo>
                    <a:pt x="74" y="392"/>
                    <a:pt x="78" y="393"/>
                    <a:pt x="79" y="392"/>
                  </a:cubicBezTo>
                  <a:cubicBezTo>
                    <a:pt x="79" y="391"/>
                    <a:pt x="84" y="385"/>
                    <a:pt x="84" y="384"/>
                  </a:cubicBezTo>
                  <a:cubicBezTo>
                    <a:pt x="83" y="383"/>
                    <a:pt x="81" y="381"/>
                    <a:pt x="82" y="381"/>
                  </a:cubicBezTo>
                  <a:cubicBezTo>
                    <a:pt x="83" y="380"/>
                    <a:pt x="92" y="378"/>
                    <a:pt x="92" y="377"/>
                  </a:cubicBezTo>
                  <a:cubicBezTo>
                    <a:pt x="93" y="377"/>
                    <a:pt x="91" y="373"/>
                    <a:pt x="90" y="372"/>
                  </a:cubicBezTo>
                  <a:cubicBezTo>
                    <a:pt x="90" y="372"/>
                    <a:pt x="87" y="373"/>
                    <a:pt x="84" y="374"/>
                  </a:cubicBezTo>
                  <a:cubicBezTo>
                    <a:pt x="84" y="369"/>
                    <a:pt x="84" y="369"/>
                    <a:pt x="84" y="369"/>
                  </a:cubicBezTo>
                  <a:cubicBezTo>
                    <a:pt x="85" y="367"/>
                    <a:pt x="93" y="367"/>
                    <a:pt x="94" y="367"/>
                  </a:cubicBezTo>
                  <a:cubicBezTo>
                    <a:pt x="95" y="368"/>
                    <a:pt x="97" y="364"/>
                    <a:pt x="97" y="362"/>
                  </a:cubicBezTo>
                  <a:cubicBezTo>
                    <a:pt x="97" y="360"/>
                    <a:pt x="98" y="354"/>
                    <a:pt x="98" y="352"/>
                  </a:cubicBezTo>
                  <a:cubicBezTo>
                    <a:pt x="98" y="351"/>
                    <a:pt x="85" y="348"/>
                    <a:pt x="83" y="347"/>
                  </a:cubicBezTo>
                  <a:cubicBezTo>
                    <a:pt x="81" y="346"/>
                    <a:pt x="65" y="344"/>
                    <a:pt x="63" y="342"/>
                  </a:cubicBezTo>
                  <a:cubicBezTo>
                    <a:pt x="62" y="341"/>
                    <a:pt x="61" y="337"/>
                    <a:pt x="60" y="335"/>
                  </a:cubicBezTo>
                  <a:cubicBezTo>
                    <a:pt x="58" y="334"/>
                    <a:pt x="53" y="336"/>
                    <a:pt x="53" y="333"/>
                  </a:cubicBezTo>
                  <a:cubicBezTo>
                    <a:pt x="53" y="330"/>
                    <a:pt x="52" y="324"/>
                    <a:pt x="50" y="323"/>
                  </a:cubicBezTo>
                  <a:cubicBezTo>
                    <a:pt x="49" y="322"/>
                    <a:pt x="42" y="324"/>
                    <a:pt x="40" y="324"/>
                  </a:cubicBezTo>
                  <a:cubicBezTo>
                    <a:pt x="39" y="324"/>
                    <a:pt x="36" y="325"/>
                    <a:pt x="33" y="325"/>
                  </a:cubicBezTo>
                  <a:cubicBezTo>
                    <a:pt x="33" y="325"/>
                    <a:pt x="30" y="317"/>
                    <a:pt x="31" y="316"/>
                  </a:cubicBezTo>
                  <a:cubicBezTo>
                    <a:pt x="31" y="314"/>
                    <a:pt x="40" y="316"/>
                    <a:pt x="40" y="314"/>
                  </a:cubicBezTo>
                  <a:cubicBezTo>
                    <a:pt x="41" y="312"/>
                    <a:pt x="35" y="307"/>
                    <a:pt x="33" y="305"/>
                  </a:cubicBezTo>
                  <a:cubicBezTo>
                    <a:pt x="31" y="302"/>
                    <a:pt x="27" y="299"/>
                    <a:pt x="27" y="297"/>
                  </a:cubicBezTo>
                  <a:cubicBezTo>
                    <a:pt x="27" y="295"/>
                    <a:pt x="29" y="291"/>
                    <a:pt x="27" y="289"/>
                  </a:cubicBezTo>
                  <a:cubicBezTo>
                    <a:pt x="25" y="287"/>
                    <a:pt x="19" y="287"/>
                    <a:pt x="16" y="286"/>
                  </a:cubicBezTo>
                  <a:close/>
                </a:path>
              </a:pathLst>
            </a:custGeom>
            <a:solidFill>
              <a:srgbClr val="FD7770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58" name="Freeform 31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6651087" y="3120455"/>
              <a:ext cx="72034" cy="100655"/>
            </a:xfrm>
            <a:custGeom>
              <a:avLst/>
              <a:gdLst>
                <a:gd name="T0" fmla="*/ 0 w 21"/>
                <a:gd name="T1" fmla="*/ 0 h 28"/>
                <a:gd name="T2" fmla="*/ 2147483647 w 21"/>
                <a:gd name="T3" fmla="*/ 0 h 28"/>
                <a:gd name="T4" fmla="*/ 2147483647 w 21"/>
                <a:gd name="T5" fmla="*/ 2147483647 h 28"/>
                <a:gd name="T6" fmla="*/ 2147483647 w 21"/>
                <a:gd name="T7" fmla="*/ 2147483647 h 28"/>
                <a:gd name="T8" fmla="*/ 2147483647 w 21"/>
                <a:gd name="T9" fmla="*/ 2147483647 h 28"/>
                <a:gd name="T10" fmla="*/ 2147483647 w 21"/>
                <a:gd name="T11" fmla="*/ 2147483647 h 28"/>
                <a:gd name="T12" fmla="*/ 2147483647 w 21"/>
                <a:gd name="T13" fmla="*/ 2147483647 h 28"/>
                <a:gd name="T14" fmla="*/ 2147483647 w 21"/>
                <a:gd name="T15" fmla="*/ 2147483647 h 28"/>
                <a:gd name="T16" fmla="*/ 2147483647 w 21"/>
                <a:gd name="T17" fmla="*/ 2147483647 h 28"/>
                <a:gd name="T18" fmla="*/ 2147483647 w 21"/>
                <a:gd name="T19" fmla="*/ 2147483647 h 28"/>
                <a:gd name="T20" fmla="*/ 2147483647 w 21"/>
                <a:gd name="T21" fmla="*/ 2147483647 h 28"/>
                <a:gd name="T22" fmla="*/ 0 w 21"/>
                <a:gd name="T23" fmla="*/ 0 h 2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1"/>
                <a:gd name="T37" fmla="*/ 0 h 28"/>
                <a:gd name="T38" fmla="*/ 21 w 21"/>
                <a:gd name="T39" fmla="*/ 28 h 2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1" h="28">
                  <a:moveTo>
                    <a:pt x="0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3" y="0"/>
                    <a:pt x="9" y="0"/>
                    <a:pt x="11" y="1"/>
                  </a:cubicBezTo>
                  <a:cubicBezTo>
                    <a:pt x="13" y="2"/>
                    <a:pt x="18" y="3"/>
                    <a:pt x="19" y="5"/>
                  </a:cubicBezTo>
                  <a:cubicBezTo>
                    <a:pt x="19" y="7"/>
                    <a:pt x="19" y="9"/>
                    <a:pt x="20" y="10"/>
                  </a:cubicBezTo>
                  <a:cubicBezTo>
                    <a:pt x="21" y="12"/>
                    <a:pt x="20" y="18"/>
                    <a:pt x="20" y="18"/>
                  </a:cubicBezTo>
                  <a:cubicBezTo>
                    <a:pt x="20" y="18"/>
                    <a:pt x="16" y="19"/>
                    <a:pt x="16" y="20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2" y="28"/>
                    <a:pt x="10" y="28"/>
                    <a:pt x="10" y="27"/>
                  </a:cubicBezTo>
                  <a:cubicBezTo>
                    <a:pt x="10" y="25"/>
                    <a:pt x="11" y="17"/>
                    <a:pt x="9" y="15"/>
                  </a:cubicBezTo>
                  <a:cubicBezTo>
                    <a:pt x="8" y="12"/>
                    <a:pt x="3" y="7"/>
                    <a:pt x="2" y="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59" name="Freeform 31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6550239" y="2830473"/>
              <a:ext cx="259322" cy="184534"/>
            </a:xfrm>
            <a:custGeom>
              <a:avLst/>
              <a:gdLst>
                <a:gd name="T0" fmla="*/ 2147483647 w 73"/>
                <a:gd name="T1" fmla="*/ 2147483647 h 51"/>
                <a:gd name="T2" fmla="*/ 0 w 73"/>
                <a:gd name="T3" fmla="*/ 2147483647 h 51"/>
                <a:gd name="T4" fmla="*/ 2147483647 w 73"/>
                <a:gd name="T5" fmla="*/ 2147483647 h 51"/>
                <a:gd name="T6" fmla="*/ 2147483647 w 73"/>
                <a:gd name="T7" fmla="*/ 2147483647 h 51"/>
                <a:gd name="T8" fmla="*/ 2147483647 w 73"/>
                <a:gd name="T9" fmla="*/ 2147483647 h 51"/>
                <a:gd name="T10" fmla="*/ 2147483647 w 73"/>
                <a:gd name="T11" fmla="*/ 2147483647 h 51"/>
                <a:gd name="T12" fmla="*/ 2147483647 w 73"/>
                <a:gd name="T13" fmla="*/ 2147483647 h 51"/>
                <a:gd name="T14" fmla="*/ 2147483647 w 73"/>
                <a:gd name="T15" fmla="*/ 2147483647 h 51"/>
                <a:gd name="T16" fmla="*/ 2147483647 w 73"/>
                <a:gd name="T17" fmla="*/ 2147483647 h 51"/>
                <a:gd name="T18" fmla="*/ 2147483647 w 73"/>
                <a:gd name="T19" fmla="*/ 0 h 51"/>
                <a:gd name="T20" fmla="*/ 2147483647 w 73"/>
                <a:gd name="T21" fmla="*/ 2147483647 h 51"/>
                <a:gd name="T22" fmla="*/ 2147483647 w 73"/>
                <a:gd name="T23" fmla="*/ 2147483647 h 51"/>
                <a:gd name="T24" fmla="*/ 2147483647 w 73"/>
                <a:gd name="T25" fmla="*/ 2147483647 h 51"/>
                <a:gd name="T26" fmla="*/ 2147483647 w 73"/>
                <a:gd name="T27" fmla="*/ 2147483647 h 51"/>
                <a:gd name="T28" fmla="*/ 2147483647 w 73"/>
                <a:gd name="T29" fmla="*/ 2147483647 h 51"/>
                <a:gd name="T30" fmla="*/ 2147483647 w 73"/>
                <a:gd name="T31" fmla="*/ 2147483647 h 51"/>
                <a:gd name="T32" fmla="*/ 2147483647 w 73"/>
                <a:gd name="T33" fmla="*/ 2147483647 h 51"/>
                <a:gd name="T34" fmla="*/ 2147483647 w 73"/>
                <a:gd name="T35" fmla="*/ 2147483647 h 51"/>
                <a:gd name="T36" fmla="*/ 2147483647 w 73"/>
                <a:gd name="T37" fmla="*/ 2147483647 h 51"/>
                <a:gd name="T38" fmla="*/ 2147483647 w 73"/>
                <a:gd name="T39" fmla="*/ 2147483647 h 51"/>
                <a:gd name="T40" fmla="*/ 2147483647 w 73"/>
                <a:gd name="T41" fmla="*/ 2147483647 h 51"/>
                <a:gd name="T42" fmla="*/ 2147483647 w 73"/>
                <a:gd name="T43" fmla="*/ 2147483647 h 51"/>
                <a:gd name="T44" fmla="*/ 2147483647 w 73"/>
                <a:gd name="T45" fmla="*/ 2147483647 h 51"/>
                <a:gd name="T46" fmla="*/ 2147483647 w 73"/>
                <a:gd name="T47" fmla="*/ 2147483647 h 51"/>
                <a:gd name="T48" fmla="*/ 2147483647 w 73"/>
                <a:gd name="T49" fmla="*/ 2147483647 h 51"/>
                <a:gd name="T50" fmla="*/ 2147483647 w 73"/>
                <a:gd name="T51" fmla="*/ 2147483647 h 5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73"/>
                <a:gd name="T79" fmla="*/ 0 h 51"/>
                <a:gd name="T80" fmla="*/ 73 w 73"/>
                <a:gd name="T81" fmla="*/ 51 h 5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73" h="51">
                  <a:moveTo>
                    <a:pt x="5" y="43"/>
                  </a:moveTo>
                  <a:cubicBezTo>
                    <a:pt x="3" y="42"/>
                    <a:pt x="0" y="41"/>
                    <a:pt x="0" y="40"/>
                  </a:cubicBezTo>
                  <a:cubicBezTo>
                    <a:pt x="0" y="39"/>
                    <a:pt x="6" y="34"/>
                    <a:pt x="6" y="32"/>
                  </a:cubicBezTo>
                  <a:cubicBezTo>
                    <a:pt x="6" y="31"/>
                    <a:pt x="4" y="26"/>
                    <a:pt x="3" y="23"/>
                  </a:cubicBezTo>
                  <a:cubicBezTo>
                    <a:pt x="3" y="23"/>
                    <a:pt x="11" y="23"/>
                    <a:pt x="13" y="22"/>
                  </a:cubicBezTo>
                  <a:cubicBezTo>
                    <a:pt x="14" y="20"/>
                    <a:pt x="18" y="19"/>
                    <a:pt x="19" y="18"/>
                  </a:cubicBezTo>
                  <a:cubicBezTo>
                    <a:pt x="20" y="17"/>
                    <a:pt x="21" y="13"/>
                    <a:pt x="21" y="13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9" y="5"/>
                    <a:pt x="38" y="0"/>
                    <a:pt x="38" y="0"/>
                  </a:cubicBezTo>
                  <a:cubicBezTo>
                    <a:pt x="40" y="0"/>
                    <a:pt x="45" y="1"/>
                    <a:pt x="48" y="2"/>
                  </a:cubicBezTo>
                  <a:cubicBezTo>
                    <a:pt x="51" y="3"/>
                    <a:pt x="57" y="3"/>
                    <a:pt x="59" y="5"/>
                  </a:cubicBezTo>
                  <a:cubicBezTo>
                    <a:pt x="61" y="7"/>
                    <a:pt x="59" y="11"/>
                    <a:pt x="59" y="13"/>
                  </a:cubicBezTo>
                  <a:cubicBezTo>
                    <a:pt x="59" y="15"/>
                    <a:pt x="63" y="18"/>
                    <a:pt x="65" y="21"/>
                  </a:cubicBezTo>
                  <a:cubicBezTo>
                    <a:pt x="67" y="23"/>
                    <a:pt x="73" y="28"/>
                    <a:pt x="72" y="30"/>
                  </a:cubicBezTo>
                  <a:cubicBezTo>
                    <a:pt x="72" y="32"/>
                    <a:pt x="63" y="30"/>
                    <a:pt x="63" y="32"/>
                  </a:cubicBezTo>
                  <a:cubicBezTo>
                    <a:pt x="62" y="33"/>
                    <a:pt x="65" y="41"/>
                    <a:pt x="65" y="41"/>
                  </a:cubicBezTo>
                  <a:cubicBezTo>
                    <a:pt x="63" y="42"/>
                    <a:pt x="61" y="43"/>
                    <a:pt x="60" y="43"/>
                  </a:cubicBezTo>
                  <a:cubicBezTo>
                    <a:pt x="59" y="44"/>
                    <a:pt x="59" y="49"/>
                    <a:pt x="57" y="50"/>
                  </a:cubicBezTo>
                  <a:cubicBezTo>
                    <a:pt x="56" y="51"/>
                    <a:pt x="51" y="50"/>
                    <a:pt x="48" y="49"/>
                  </a:cubicBezTo>
                  <a:cubicBezTo>
                    <a:pt x="45" y="49"/>
                    <a:pt x="38" y="47"/>
                    <a:pt x="35" y="46"/>
                  </a:cubicBezTo>
                  <a:cubicBezTo>
                    <a:pt x="33" y="46"/>
                    <a:pt x="23" y="43"/>
                    <a:pt x="20" y="43"/>
                  </a:cubicBezTo>
                  <a:cubicBezTo>
                    <a:pt x="17" y="43"/>
                    <a:pt x="14" y="44"/>
                    <a:pt x="12" y="45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5" y="46"/>
                    <a:pt x="6" y="45"/>
                    <a:pt x="5" y="4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60" name="Freeform 31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523484" y="2969473"/>
              <a:ext cx="485714" cy="301965"/>
            </a:xfrm>
            <a:custGeom>
              <a:avLst/>
              <a:gdLst>
                <a:gd name="T0" fmla="*/ 2147483647 w 138"/>
                <a:gd name="T1" fmla="*/ 2147483647 h 82"/>
                <a:gd name="T2" fmla="*/ 2147483647 w 138"/>
                <a:gd name="T3" fmla="*/ 2147483647 h 82"/>
                <a:gd name="T4" fmla="*/ 2147483647 w 138"/>
                <a:gd name="T5" fmla="*/ 2147483647 h 82"/>
                <a:gd name="T6" fmla="*/ 2147483647 w 138"/>
                <a:gd name="T7" fmla="*/ 2147483647 h 82"/>
                <a:gd name="T8" fmla="*/ 2147483647 w 138"/>
                <a:gd name="T9" fmla="*/ 2147483647 h 82"/>
                <a:gd name="T10" fmla="*/ 2147483647 w 138"/>
                <a:gd name="T11" fmla="*/ 2147483647 h 82"/>
                <a:gd name="T12" fmla="*/ 2147483647 w 138"/>
                <a:gd name="T13" fmla="*/ 2147483647 h 82"/>
                <a:gd name="T14" fmla="*/ 2147483647 w 138"/>
                <a:gd name="T15" fmla="*/ 2147483647 h 82"/>
                <a:gd name="T16" fmla="*/ 2147483647 w 138"/>
                <a:gd name="T17" fmla="*/ 2147483647 h 82"/>
                <a:gd name="T18" fmla="*/ 2147483647 w 138"/>
                <a:gd name="T19" fmla="*/ 2147483647 h 82"/>
                <a:gd name="T20" fmla="*/ 2147483647 w 138"/>
                <a:gd name="T21" fmla="*/ 2147483647 h 82"/>
                <a:gd name="T22" fmla="*/ 2147483647 w 138"/>
                <a:gd name="T23" fmla="*/ 2147483647 h 82"/>
                <a:gd name="T24" fmla="*/ 2147483647 w 138"/>
                <a:gd name="T25" fmla="*/ 2147483647 h 82"/>
                <a:gd name="T26" fmla="*/ 2147483647 w 138"/>
                <a:gd name="T27" fmla="*/ 2147483647 h 82"/>
                <a:gd name="T28" fmla="*/ 2147483647 w 138"/>
                <a:gd name="T29" fmla="*/ 2147483647 h 82"/>
                <a:gd name="T30" fmla="*/ 2147483647 w 138"/>
                <a:gd name="T31" fmla="*/ 2147483647 h 82"/>
                <a:gd name="T32" fmla="*/ 2147483647 w 138"/>
                <a:gd name="T33" fmla="*/ 2147483647 h 82"/>
                <a:gd name="T34" fmla="*/ 2147483647 w 138"/>
                <a:gd name="T35" fmla="*/ 2147483647 h 82"/>
                <a:gd name="T36" fmla="*/ 2147483647 w 138"/>
                <a:gd name="T37" fmla="*/ 2147483647 h 82"/>
                <a:gd name="T38" fmla="*/ 2147483647 w 138"/>
                <a:gd name="T39" fmla="*/ 2147483647 h 82"/>
                <a:gd name="T40" fmla="*/ 2147483647 w 138"/>
                <a:gd name="T41" fmla="*/ 2147483647 h 82"/>
                <a:gd name="T42" fmla="*/ 2147483647 w 138"/>
                <a:gd name="T43" fmla="*/ 2147483647 h 82"/>
                <a:gd name="T44" fmla="*/ 2147483647 w 138"/>
                <a:gd name="T45" fmla="*/ 2147483647 h 82"/>
                <a:gd name="T46" fmla="*/ 2147483647 w 138"/>
                <a:gd name="T47" fmla="*/ 2147483647 h 82"/>
                <a:gd name="T48" fmla="*/ 2147483647 w 138"/>
                <a:gd name="T49" fmla="*/ 2147483647 h 82"/>
                <a:gd name="T50" fmla="*/ 2147483647 w 138"/>
                <a:gd name="T51" fmla="*/ 2147483647 h 82"/>
                <a:gd name="T52" fmla="*/ 2147483647 w 138"/>
                <a:gd name="T53" fmla="*/ 2147483647 h 82"/>
                <a:gd name="T54" fmla="*/ 2147483647 w 138"/>
                <a:gd name="T55" fmla="*/ 2147483647 h 82"/>
                <a:gd name="T56" fmla="*/ 2147483647 w 138"/>
                <a:gd name="T57" fmla="*/ 2147483647 h 82"/>
                <a:gd name="T58" fmla="*/ 2147483647 w 138"/>
                <a:gd name="T59" fmla="*/ 2147483647 h 82"/>
                <a:gd name="T60" fmla="*/ 2147483647 w 138"/>
                <a:gd name="T61" fmla="*/ 2147483647 h 82"/>
                <a:gd name="T62" fmla="*/ 2147483647 w 138"/>
                <a:gd name="T63" fmla="*/ 2147483647 h 82"/>
                <a:gd name="T64" fmla="*/ 2147483647 w 138"/>
                <a:gd name="T65" fmla="*/ 2147483647 h 82"/>
                <a:gd name="T66" fmla="*/ 2147483647 w 138"/>
                <a:gd name="T67" fmla="*/ 2147483647 h 82"/>
                <a:gd name="T68" fmla="*/ 2147483647 w 138"/>
                <a:gd name="T69" fmla="*/ 2147483647 h 82"/>
                <a:gd name="T70" fmla="*/ 2147483647 w 138"/>
                <a:gd name="T71" fmla="*/ 2147483647 h 82"/>
                <a:gd name="T72" fmla="*/ 2147483647 w 138"/>
                <a:gd name="T73" fmla="*/ 2147483647 h 82"/>
                <a:gd name="T74" fmla="*/ 2147483647 w 138"/>
                <a:gd name="T75" fmla="*/ 2147483647 h 82"/>
                <a:gd name="T76" fmla="*/ 2147483647 w 138"/>
                <a:gd name="T77" fmla="*/ 2147483647 h 82"/>
                <a:gd name="T78" fmla="*/ 2147483647 w 138"/>
                <a:gd name="T79" fmla="*/ 2147483647 h 82"/>
                <a:gd name="T80" fmla="*/ 2147483647 w 138"/>
                <a:gd name="T81" fmla="*/ 2147483647 h 82"/>
                <a:gd name="T82" fmla="*/ 2147483647 w 138"/>
                <a:gd name="T83" fmla="*/ 2147483647 h 82"/>
                <a:gd name="T84" fmla="*/ 2147483647 w 138"/>
                <a:gd name="T85" fmla="*/ 2147483647 h 82"/>
                <a:gd name="T86" fmla="*/ 2147483647 w 138"/>
                <a:gd name="T87" fmla="*/ 2147483647 h 82"/>
                <a:gd name="T88" fmla="*/ 2147483647 w 138"/>
                <a:gd name="T89" fmla="*/ 2147483647 h 82"/>
                <a:gd name="T90" fmla="*/ 2147483647 w 138"/>
                <a:gd name="T91" fmla="*/ 2147483647 h 82"/>
                <a:gd name="T92" fmla="*/ 2147483647 w 138"/>
                <a:gd name="T93" fmla="*/ 2147483647 h 82"/>
                <a:gd name="T94" fmla="*/ 2147483647 w 138"/>
                <a:gd name="T95" fmla="*/ 2147483647 h 82"/>
                <a:gd name="T96" fmla="*/ 2147483647 w 138"/>
                <a:gd name="T97" fmla="*/ 2147483647 h 82"/>
                <a:gd name="T98" fmla="*/ 2147483647 w 138"/>
                <a:gd name="T99" fmla="*/ 2147483647 h 82"/>
                <a:gd name="T100" fmla="*/ 2147483647 w 138"/>
                <a:gd name="T101" fmla="*/ 2147483647 h 82"/>
                <a:gd name="T102" fmla="*/ 2147483647 w 138"/>
                <a:gd name="T103" fmla="*/ 2147483647 h 82"/>
                <a:gd name="T104" fmla="*/ 2147483647 w 138"/>
                <a:gd name="T105" fmla="*/ 2147483647 h 82"/>
                <a:gd name="T106" fmla="*/ 2147483647 w 138"/>
                <a:gd name="T107" fmla="*/ 2147483647 h 82"/>
                <a:gd name="T108" fmla="*/ 2147483647 w 138"/>
                <a:gd name="T109" fmla="*/ 2147483647 h 82"/>
                <a:gd name="T110" fmla="*/ 2147483647 w 138"/>
                <a:gd name="T111" fmla="*/ 2147483647 h 82"/>
                <a:gd name="T112" fmla="*/ 2147483647 w 138"/>
                <a:gd name="T113" fmla="*/ 2147483647 h 82"/>
                <a:gd name="T114" fmla="*/ 2147483647 w 138"/>
                <a:gd name="T115" fmla="*/ 2147483647 h 82"/>
                <a:gd name="T116" fmla="*/ 2147483647 w 138"/>
                <a:gd name="T117" fmla="*/ 2147483647 h 8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38"/>
                <a:gd name="T178" fmla="*/ 0 h 82"/>
                <a:gd name="T179" fmla="*/ 138 w 138"/>
                <a:gd name="T180" fmla="*/ 82 h 8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38" h="82">
                  <a:moveTo>
                    <a:pt x="1" y="40"/>
                  </a:moveTo>
                  <a:cubicBezTo>
                    <a:pt x="1" y="39"/>
                    <a:pt x="3" y="35"/>
                    <a:pt x="4" y="35"/>
                  </a:cubicBezTo>
                  <a:cubicBezTo>
                    <a:pt x="5" y="34"/>
                    <a:pt x="6" y="35"/>
                    <a:pt x="7" y="34"/>
                  </a:cubicBezTo>
                  <a:cubicBezTo>
                    <a:pt x="7" y="33"/>
                    <a:pt x="5" y="29"/>
                    <a:pt x="6" y="28"/>
                  </a:cubicBezTo>
                  <a:cubicBezTo>
                    <a:pt x="6" y="28"/>
                    <a:pt x="12" y="22"/>
                    <a:pt x="12" y="22"/>
                  </a:cubicBezTo>
                  <a:cubicBezTo>
                    <a:pt x="13" y="21"/>
                    <a:pt x="16" y="22"/>
                    <a:pt x="16" y="19"/>
                  </a:cubicBezTo>
                  <a:cubicBezTo>
                    <a:pt x="16" y="17"/>
                    <a:pt x="12" y="14"/>
                    <a:pt x="12" y="11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2" y="6"/>
                    <a:pt x="25" y="5"/>
                    <a:pt x="28" y="5"/>
                  </a:cubicBezTo>
                  <a:cubicBezTo>
                    <a:pt x="31" y="5"/>
                    <a:pt x="41" y="8"/>
                    <a:pt x="43" y="8"/>
                  </a:cubicBezTo>
                  <a:cubicBezTo>
                    <a:pt x="46" y="9"/>
                    <a:pt x="53" y="11"/>
                    <a:pt x="56" y="11"/>
                  </a:cubicBezTo>
                  <a:cubicBezTo>
                    <a:pt x="59" y="12"/>
                    <a:pt x="64" y="13"/>
                    <a:pt x="65" y="12"/>
                  </a:cubicBezTo>
                  <a:cubicBezTo>
                    <a:pt x="67" y="11"/>
                    <a:pt x="67" y="6"/>
                    <a:pt x="68" y="5"/>
                  </a:cubicBezTo>
                  <a:cubicBezTo>
                    <a:pt x="69" y="5"/>
                    <a:pt x="71" y="4"/>
                    <a:pt x="73" y="3"/>
                  </a:cubicBezTo>
                  <a:cubicBezTo>
                    <a:pt x="76" y="3"/>
                    <a:pt x="79" y="2"/>
                    <a:pt x="80" y="2"/>
                  </a:cubicBezTo>
                  <a:cubicBezTo>
                    <a:pt x="82" y="2"/>
                    <a:pt x="89" y="0"/>
                    <a:pt x="90" y="1"/>
                  </a:cubicBezTo>
                  <a:cubicBezTo>
                    <a:pt x="92" y="2"/>
                    <a:pt x="93" y="8"/>
                    <a:pt x="93" y="11"/>
                  </a:cubicBezTo>
                  <a:cubicBezTo>
                    <a:pt x="93" y="14"/>
                    <a:pt x="98" y="12"/>
                    <a:pt x="100" y="13"/>
                  </a:cubicBezTo>
                  <a:cubicBezTo>
                    <a:pt x="101" y="15"/>
                    <a:pt x="102" y="19"/>
                    <a:pt x="103" y="20"/>
                  </a:cubicBezTo>
                  <a:cubicBezTo>
                    <a:pt x="105" y="22"/>
                    <a:pt x="121" y="24"/>
                    <a:pt x="123" y="25"/>
                  </a:cubicBezTo>
                  <a:cubicBezTo>
                    <a:pt x="125" y="26"/>
                    <a:pt x="138" y="29"/>
                    <a:pt x="138" y="30"/>
                  </a:cubicBezTo>
                  <a:cubicBezTo>
                    <a:pt x="138" y="32"/>
                    <a:pt x="137" y="38"/>
                    <a:pt x="137" y="40"/>
                  </a:cubicBezTo>
                  <a:cubicBezTo>
                    <a:pt x="137" y="42"/>
                    <a:pt x="135" y="46"/>
                    <a:pt x="134" y="45"/>
                  </a:cubicBezTo>
                  <a:cubicBezTo>
                    <a:pt x="133" y="45"/>
                    <a:pt x="125" y="45"/>
                    <a:pt x="124" y="47"/>
                  </a:cubicBezTo>
                  <a:cubicBezTo>
                    <a:pt x="124" y="52"/>
                    <a:pt x="124" y="52"/>
                    <a:pt x="124" y="52"/>
                  </a:cubicBezTo>
                  <a:cubicBezTo>
                    <a:pt x="122" y="52"/>
                    <a:pt x="119" y="53"/>
                    <a:pt x="118" y="53"/>
                  </a:cubicBezTo>
                  <a:cubicBezTo>
                    <a:pt x="116" y="53"/>
                    <a:pt x="99" y="60"/>
                    <a:pt x="98" y="61"/>
                  </a:cubicBezTo>
                  <a:cubicBezTo>
                    <a:pt x="96" y="62"/>
                    <a:pt x="96" y="64"/>
                    <a:pt x="96" y="65"/>
                  </a:cubicBezTo>
                  <a:cubicBezTo>
                    <a:pt x="97" y="65"/>
                    <a:pt x="101" y="69"/>
                    <a:pt x="102" y="69"/>
                  </a:cubicBezTo>
                  <a:cubicBezTo>
                    <a:pt x="104" y="69"/>
                    <a:pt x="106" y="69"/>
                    <a:pt x="106" y="69"/>
                  </a:cubicBezTo>
                  <a:cubicBezTo>
                    <a:pt x="107" y="70"/>
                    <a:pt x="106" y="73"/>
                    <a:pt x="106" y="73"/>
                  </a:cubicBezTo>
                  <a:cubicBezTo>
                    <a:pt x="102" y="76"/>
                    <a:pt x="97" y="76"/>
                    <a:pt x="95" y="77"/>
                  </a:cubicBezTo>
                  <a:cubicBezTo>
                    <a:pt x="94" y="78"/>
                    <a:pt x="88" y="82"/>
                    <a:pt x="87" y="80"/>
                  </a:cubicBezTo>
                  <a:cubicBezTo>
                    <a:pt x="86" y="77"/>
                    <a:pt x="89" y="74"/>
                    <a:pt x="87" y="73"/>
                  </a:cubicBezTo>
                  <a:cubicBezTo>
                    <a:pt x="85" y="72"/>
                    <a:pt x="80" y="72"/>
                    <a:pt x="80" y="71"/>
                  </a:cubicBezTo>
                  <a:cubicBezTo>
                    <a:pt x="79" y="70"/>
                    <a:pt x="88" y="66"/>
                    <a:pt x="88" y="65"/>
                  </a:cubicBezTo>
                  <a:cubicBezTo>
                    <a:pt x="88" y="64"/>
                    <a:pt x="86" y="62"/>
                    <a:pt x="84" y="62"/>
                  </a:cubicBezTo>
                  <a:cubicBezTo>
                    <a:pt x="83" y="61"/>
                    <a:pt x="75" y="64"/>
                    <a:pt x="74" y="62"/>
                  </a:cubicBezTo>
                  <a:cubicBezTo>
                    <a:pt x="72" y="60"/>
                    <a:pt x="76" y="58"/>
                    <a:pt x="74" y="57"/>
                  </a:cubicBezTo>
                  <a:cubicBezTo>
                    <a:pt x="72" y="56"/>
                    <a:pt x="67" y="58"/>
                    <a:pt x="66" y="59"/>
                  </a:cubicBezTo>
                  <a:cubicBezTo>
                    <a:pt x="64" y="59"/>
                    <a:pt x="61" y="66"/>
                    <a:pt x="59" y="67"/>
                  </a:cubicBezTo>
                  <a:cubicBezTo>
                    <a:pt x="58" y="68"/>
                    <a:pt x="57" y="69"/>
                    <a:pt x="57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3" y="70"/>
                    <a:pt x="51" y="69"/>
                    <a:pt x="50" y="69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2" y="60"/>
                    <a:pt x="56" y="59"/>
                    <a:pt x="56" y="59"/>
                  </a:cubicBezTo>
                  <a:cubicBezTo>
                    <a:pt x="56" y="59"/>
                    <a:pt x="57" y="53"/>
                    <a:pt x="56" y="51"/>
                  </a:cubicBezTo>
                  <a:cubicBezTo>
                    <a:pt x="55" y="50"/>
                    <a:pt x="55" y="48"/>
                    <a:pt x="55" y="46"/>
                  </a:cubicBezTo>
                  <a:cubicBezTo>
                    <a:pt x="54" y="44"/>
                    <a:pt x="49" y="43"/>
                    <a:pt x="47" y="42"/>
                  </a:cubicBezTo>
                  <a:cubicBezTo>
                    <a:pt x="45" y="41"/>
                    <a:pt x="39" y="41"/>
                    <a:pt x="38" y="41"/>
                  </a:cubicBezTo>
                  <a:cubicBezTo>
                    <a:pt x="37" y="41"/>
                    <a:pt x="37" y="41"/>
                    <a:pt x="36" y="41"/>
                  </a:cubicBezTo>
                  <a:cubicBezTo>
                    <a:pt x="33" y="43"/>
                    <a:pt x="30" y="45"/>
                    <a:pt x="29" y="45"/>
                  </a:cubicBezTo>
                  <a:cubicBezTo>
                    <a:pt x="28" y="45"/>
                    <a:pt x="24" y="47"/>
                    <a:pt x="22" y="48"/>
                  </a:cubicBezTo>
                  <a:cubicBezTo>
                    <a:pt x="21" y="48"/>
                    <a:pt x="20" y="47"/>
                    <a:pt x="19" y="46"/>
                  </a:cubicBezTo>
                  <a:cubicBezTo>
                    <a:pt x="17" y="45"/>
                    <a:pt x="14" y="45"/>
                    <a:pt x="13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3"/>
                    <a:pt x="0" y="41"/>
                    <a:pt x="1" y="4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61" name="Freeform 31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6517310" y="2684284"/>
              <a:ext cx="164649" cy="83879"/>
            </a:xfrm>
            <a:custGeom>
              <a:avLst/>
              <a:gdLst>
                <a:gd name="T0" fmla="*/ 2147483647 w 47"/>
                <a:gd name="T1" fmla="*/ 2147483647 h 23"/>
                <a:gd name="T2" fmla="*/ 2147483647 w 47"/>
                <a:gd name="T3" fmla="*/ 2147483647 h 23"/>
                <a:gd name="T4" fmla="*/ 2147483647 w 47"/>
                <a:gd name="T5" fmla="*/ 2147483647 h 23"/>
                <a:gd name="T6" fmla="*/ 2147483647 w 47"/>
                <a:gd name="T7" fmla="*/ 2147483647 h 23"/>
                <a:gd name="T8" fmla="*/ 2147483647 w 47"/>
                <a:gd name="T9" fmla="*/ 2147483647 h 23"/>
                <a:gd name="T10" fmla="*/ 2147483647 w 47"/>
                <a:gd name="T11" fmla="*/ 2147483647 h 23"/>
                <a:gd name="T12" fmla="*/ 2147483647 w 47"/>
                <a:gd name="T13" fmla="*/ 2147483647 h 23"/>
                <a:gd name="T14" fmla="*/ 2147483647 w 47"/>
                <a:gd name="T15" fmla="*/ 2147483647 h 23"/>
                <a:gd name="T16" fmla="*/ 2147483647 w 47"/>
                <a:gd name="T17" fmla="*/ 2147483647 h 23"/>
                <a:gd name="T18" fmla="*/ 2147483647 w 47"/>
                <a:gd name="T19" fmla="*/ 2147483647 h 23"/>
                <a:gd name="T20" fmla="*/ 2147483647 w 47"/>
                <a:gd name="T21" fmla="*/ 2147483647 h 23"/>
                <a:gd name="T22" fmla="*/ 2147483647 w 47"/>
                <a:gd name="T23" fmla="*/ 2147483647 h 23"/>
                <a:gd name="T24" fmla="*/ 2147483647 w 47"/>
                <a:gd name="T25" fmla="*/ 2147483647 h 23"/>
                <a:gd name="T26" fmla="*/ 2147483647 w 47"/>
                <a:gd name="T27" fmla="*/ 2147483647 h 23"/>
                <a:gd name="T28" fmla="*/ 2147483647 w 47"/>
                <a:gd name="T29" fmla="*/ 2147483647 h 23"/>
                <a:gd name="T30" fmla="*/ 2147483647 w 47"/>
                <a:gd name="T31" fmla="*/ 2147483647 h 23"/>
                <a:gd name="T32" fmla="*/ 2147483647 w 47"/>
                <a:gd name="T33" fmla="*/ 2147483647 h 23"/>
                <a:gd name="T34" fmla="*/ 2147483647 w 47"/>
                <a:gd name="T35" fmla="*/ 2147483647 h 2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7"/>
                <a:gd name="T55" fmla="*/ 0 h 23"/>
                <a:gd name="T56" fmla="*/ 47 w 47"/>
                <a:gd name="T57" fmla="*/ 23 h 2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7" h="23">
                  <a:moveTo>
                    <a:pt x="2" y="16"/>
                  </a:moveTo>
                  <a:cubicBezTo>
                    <a:pt x="0" y="15"/>
                    <a:pt x="0" y="13"/>
                    <a:pt x="2" y="12"/>
                  </a:cubicBezTo>
                  <a:cubicBezTo>
                    <a:pt x="3" y="11"/>
                    <a:pt x="5" y="9"/>
                    <a:pt x="6" y="9"/>
                  </a:cubicBezTo>
                  <a:cubicBezTo>
                    <a:pt x="7" y="9"/>
                    <a:pt x="12" y="8"/>
                    <a:pt x="13" y="7"/>
                  </a:cubicBezTo>
                  <a:cubicBezTo>
                    <a:pt x="13" y="6"/>
                    <a:pt x="13" y="4"/>
                    <a:pt x="15" y="3"/>
                  </a:cubicBezTo>
                  <a:cubicBezTo>
                    <a:pt x="16" y="2"/>
                    <a:pt x="25" y="0"/>
                    <a:pt x="27" y="1"/>
                  </a:cubicBezTo>
                  <a:cubicBezTo>
                    <a:pt x="29" y="1"/>
                    <a:pt x="37" y="2"/>
                    <a:pt x="39" y="2"/>
                  </a:cubicBezTo>
                  <a:cubicBezTo>
                    <a:pt x="41" y="2"/>
                    <a:pt x="47" y="3"/>
                    <a:pt x="47" y="2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2" y="16"/>
                    <a:pt x="43" y="22"/>
                    <a:pt x="44" y="23"/>
                  </a:cubicBezTo>
                  <a:cubicBezTo>
                    <a:pt x="44" y="23"/>
                    <a:pt x="38" y="23"/>
                    <a:pt x="35" y="23"/>
                  </a:cubicBezTo>
                  <a:cubicBezTo>
                    <a:pt x="33" y="23"/>
                    <a:pt x="31" y="18"/>
                    <a:pt x="29" y="18"/>
                  </a:cubicBezTo>
                  <a:cubicBezTo>
                    <a:pt x="26" y="18"/>
                    <a:pt x="21" y="18"/>
                    <a:pt x="2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7"/>
                    <a:pt x="21" y="15"/>
                    <a:pt x="21" y="14"/>
                  </a:cubicBezTo>
                  <a:cubicBezTo>
                    <a:pt x="21" y="13"/>
                    <a:pt x="18" y="14"/>
                    <a:pt x="17" y="13"/>
                  </a:cubicBezTo>
                  <a:cubicBezTo>
                    <a:pt x="15" y="13"/>
                    <a:pt x="13" y="12"/>
                    <a:pt x="12" y="13"/>
                  </a:cubicBezTo>
                  <a:cubicBezTo>
                    <a:pt x="10" y="13"/>
                    <a:pt x="4" y="17"/>
                    <a:pt x="2" y="1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62" name="Freeform 316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6494670" y="2816094"/>
              <a:ext cx="152300" cy="95862"/>
            </a:xfrm>
            <a:custGeom>
              <a:avLst/>
              <a:gdLst>
                <a:gd name="T0" fmla="*/ 0 w 43"/>
                <a:gd name="T1" fmla="*/ 2147483647 h 26"/>
                <a:gd name="T2" fmla="*/ 2147483647 w 43"/>
                <a:gd name="T3" fmla="*/ 0 h 26"/>
                <a:gd name="T4" fmla="*/ 2147483647 w 43"/>
                <a:gd name="T5" fmla="*/ 2147483647 h 26"/>
                <a:gd name="T6" fmla="*/ 2147483647 w 43"/>
                <a:gd name="T7" fmla="*/ 2147483647 h 26"/>
                <a:gd name="T8" fmla="*/ 2147483647 w 43"/>
                <a:gd name="T9" fmla="*/ 2147483647 h 26"/>
                <a:gd name="T10" fmla="*/ 2147483647 w 43"/>
                <a:gd name="T11" fmla="*/ 2147483647 h 26"/>
                <a:gd name="T12" fmla="*/ 2147483647 w 43"/>
                <a:gd name="T13" fmla="*/ 2147483647 h 26"/>
                <a:gd name="T14" fmla="*/ 2147483647 w 43"/>
                <a:gd name="T15" fmla="*/ 2147483647 h 26"/>
                <a:gd name="T16" fmla="*/ 2147483647 w 43"/>
                <a:gd name="T17" fmla="*/ 2147483647 h 26"/>
                <a:gd name="T18" fmla="*/ 2147483647 w 43"/>
                <a:gd name="T19" fmla="*/ 2147483647 h 26"/>
                <a:gd name="T20" fmla="*/ 2147483647 w 43"/>
                <a:gd name="T21" fmla="*/ 2147483647 h 26"/>
                <a:gd name="T22" fmla="*/ 2147483647 w 43"/>
                <a:gd name="T23" fmla="*/ 2147483647 h 26"/>
                <a:gd name="T24" fmla="*/ 2147483647 w 43"/>
                <a:gd name="T25" fmla="*/ 2147483647 h 26"/>
                <a:gd name="T26" fmla="*/ 2147483647 w 43"/>
                <a:gd name="T27" fmla="*/ 2147483647 h 26"/>
                <a:gd name="T28" fmla="*/ 0 w 43"/>
                <a:gd name="T29" fmla="*/ 2147483647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3"/>
                <a:gd name="T46" fmla="*/ 0 h 26"/>
                <a:gd name="T47" fmla="*/ 43 w 43"/>
                <a:gd name="T48" fmla="*/ 26 h 2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3" h="26">
                  <a:moveTo>
                    <a:pt x="0" y="2"/>
                  </a:moveTo>
                  <a:cubicBezTo>
                    <a:pt x="0" y="2"/>
                    <a:pt x="5" y="0"/>
                    <a:pt x="8" y="0"/>
                  </a:cubicBezTo>
                  <a:cubicBezTo>
                    <a:pt x="10" y="0"/>
                    <a:pt x="23" y="2"/>
                    <a:pt x="25" y="2"/>
                  </a:cubicBezTo>
                  <a:cubicBezTo>
                    <a:pt x="26" y="2"/>
                    <a:pt x="35" y="4"/>
                    <a:pt x="37" y="4"/>
                  </a:cubicBezTo>
                  <a:cubicBezTo>
                    <a:pt x="39" y="4"/>
                    <a:pt x="41" y="8"/>
                    <a:pt x="43" y="8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6" y="20"/>
                    <a:pt x="35" y="21"/>
                  </a:cubicBezTo>
                  <a:cubicBezTo>
                    <a:pt x="34" y="22"/>
                    <a:pt x="30" y="23"/>
                    <a:pt x="29" y="25"/>
                  </a:cubicBezTo>
                  <a:cubicBezTo>
                    <a:pt x="27" y="26"/>
                    <a:pt x="19" y="26"/>
                    <a:pt x="19" y="26"/>
                  </a:cubicBezTo>
                  <a:cubicBezTo>
                    <a:pt x="19" y="25"/>
                    <a:pt x="19" y="25"/>
                    <a:pt x="19" y="24"/>
                  </a:cubicBezTo>
                  <a:cubicBezTo>
                    <a:pt x="19" y="23"/>
                    <a:pt x="15" y="21"/>
                    <a:pt x="14" y="21"/>
                  </a:cubicBezTo>
                  <a:cubicBezTo>
                    <a:pt x="14" y="21"/>
                    <a:pt x="15" y="16"/>
                    <a:pt x="14" y="15"/>
                  </a:cubicBezTo>
                  <a:cubicBezTo>
                    <a:pt x="13" y="14"/>
                    <a:pt x="1" y="9"/>
                    <a:pt x="1" y="9"/>
                  </a:cubicBezTo>
                  <a:cubicBezTo>
                    <a:pt x="1" y="8"/>
                    <a:pt x="0" y="5"/>
                    <a:pt x="0" y="2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63" name="Freeform 31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6494670" y="2748990"/>
              <a:ext cx="191404" cy="98258"/>
            </a:xfrm>
            <a:custGeom>
              <a:avLst/>
              <a:gdLst>
                <a:gd name="T0" fmla="*/ 0 w 54"/>
                <a:gd name="T1" fmla="*/ 2147483647 h 26"/>
                <a:gd name="T2" fmla="*/ 2147483647 w 54"/>
                <a:gd name="T3" fmla="*/ 2147483647 h 26"/>
                <a:gd name="T4" fmla="*/ 2147483647 w 54"/>
                <a:gd name="T5" fmla="*/ 2147483647 h 26"/>
                <a:gd name="T6" fmla="*/ 2147483647 w 54"/>
                <a:gd name="T7" fmla="*/ 2147483647 h 26"/>
                <a:gd name="T8" fmla="*/ 2147483647 w 54"/>
                <a:gd name="T9" fmla="*/ 2147483647 h 26"/>
                <a:gd name="T10" fmla="*/ 2147483647 w 54"/>
                <a:gd name="T11" fmla="*/ 2147483647 h 26"/>
                <a:gd name="T12" fmla="*/ 2147483647 w 54"/>
                <a:gd name="T13" fmla="*/ 2147483647 h 26"/>
                <a:gd name="T14" fmla="*/ 2147483647 w 54"/>
                <a:gd name="T15" fmla="*/ 0 h 26"/>
                <a:gd name="T16" fmla="*/ 2147483647 w 54"/>
                <a:gd name="T17" fmla="*/ 0 h 26"/>
                <a:gd name="T18" fmla="*/ 2147483647 w 54"/>
                <a:gd name="T19" fmla="*/ 0 h 26"/>
                <a:gd name="T20" fmla="*/ 2147483647 w 54"/>
                <a:gd name="T21" fmla="*/ 2147483647 h 26"/>
                <a:gd name="T22" fmla="*/ 2147483647 w 54"/>
                <a:gd name="T23" fmla="*/ 2147483647 h 26"/>
                <a:gd name="T24" fmla="*/ 2147483647 w 54"/>
                <a:gd name="T25" fmla="*/ 2147483647 h 26"/>
                <a:gd name="T26" fmla="*/ 2147483647 w 54"/>
                <a:gd name="T27" fmla="*/ 2147483647 h 26"/>
                <a:gd name="T28" fmla="*/ 2147483647 w 54"/>
                <a:gd name="T29" fmla="*/ 2147483647 h 26"/>
                <a:gd name="T30" fmla="*/ 2147483647 w 54"/>
                <a:gd name="T31" fmla="*/ 2147483647 h 26"/>
                <a:gd name="T32" fmla="*/ 2147483647 w 54"/>
                <a:gd name="T33" fmla="*/ 2147483647 h 26"/>
                <a:gd name="T34" fmla="*/ 2147483647 w 54"/>
                <a:gd name="T35" fmla="*/ 2147483647 h 26"/>
                <a:gd name="T36" fmla="*/ 0 w 54"/>
                <a:gd name="T37" fmla="*/ 2147483647 h 26"/>
                <a:gd name="T38" fmla="*/ 0 w 54"/>
                <a:gd name="T39" fmla="*/ 2147483647 h 2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4"/>
                <a:gd name="T61" fmla="*/ 0 h 26"/>
                <a:gd name="T62" fmla="*/ 54 w 54"/>
                <a:gd name="T63" fmla="*/ 26 h 2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4" h="26">
                  <a:moveTo>
                    <a:pt x="0" y="14"/>
                  </a:moveTo>
                  <a:cubicBezTo>
                    <a:pt x="1" y="12"/>
                    <a:pt x="3" y="12"/>
                    <a:pt x="3" y="10"/>
                  </a:cubicBezTo>
                  <a:cubicBezTo>
                    <a:pt x="3" y="9"/>
                    <a:pt x="4" y="5"/>
                    <a:pt x="5" y="5"/>
                  </a:cubicBezTo>
                  <a:cubicBezTo>
                    <a:pt x="6" y="5"/>
                    <a:pt x="10" y="3"/>
                    <a:pt x="11" y="4"/>
                  </a:cubicBezTo>
                  <a:cubicBezTo>
                    <a:pt x="12" y="4"/>
                    <a:pt x="16" y="7"/>
                    <a:pt x="16" y="8"/>
                  </a:cubicBezTo>
                  <a:cubicBezTo>
                    <a:pt x="16" y="9"/>
                    <a:pt x="19" y="12"/>
                    <a:pt x="21" y="12"/>
                  </a:cubicBezTo>
                  <a:cubicBezTo>
                    <a:pt x="23" y="12"/>
                    <a:pt x="27" y="7"/>
                    <a:pt x="27" y="5"/>
                  </a:cubicBezTo>
                  <a:cubicBezTo>
                    <a:pt x="27" y="5"/>
                    <a:pt x="27" y="2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32" y="0"/>
                    <a:pt x="35" y="0"/>
                  </a:cubicBezTo>
                  <a:cubicBezTo>
                    <a:pt x="37" y="0"/>
                    <a:pt x="39" y="5"/>
                    <a:pt x="41" y="5"/>
                  </a:cubicBezTo>
                  <a:cubicBezTo>
                    <a:pt x="44" y="5"/>
                    <a:pt x="50" y="5"/>
                    <a:pt x="50" y="5"/>
                  </a:cubicBezTo>
                  <a:cubicBezTo>
                    <a:pt x="51" y="5"/>
                    <a:pt x="52" y="11"/>
                    <a:pt x="52" y="13"/>
                  </a:cubicBezTo>
                  <a:cubicBezTo>
                    <a:pt x="53" y="15"/>
                    <a:pt x="53" y="21"/>
                    <a:pt x="54" y="21"/>
                  </a:cubicBezTo>
                  <a:cubicBezTo>
                    <a:pt x="54" y="21"/>
                    <a:pt x="45" y="26"/>
                    <a:pt x="43" y="26"/>
                  </a:cubicBezTo>
                  <a:cubicBezTo>
                    <a:pt x="41" y="26"/>
                    <a:pt x="39" y="22"/>
                    <a:pt x="37" y="22"/>
                  </a:cubicBezTo>
                  <a:cubicBezTo>
                    <a:pt x="35" y="22"/>
                    <a:pt x="26" y="20"/>
                    <a:pt x="25" y="20"/>
                  </a:cubicBezTo>
                  <a:cubicBezTo>
                    <a:pt x="23" y="20"/>
                    <a:pt x="10" y="18"/>
                    <a:pt x="8" y="18"/>
                  </a:cubicBezTo>
                  <a:cubicBezTo>
                    <a:pt x="5" y="18"/>
                    <a:pt x="0" y="20"/>
                    <a:pt x="0" y="20"/>
                  </a:cubicBezTo>
                  <a:cubicBezTo>
                    <a:pt x="0" y="17"/>
                    <a:pt x="0" y="15"/>
                    <a:pt x="0" y="1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64" name="Freeform 31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6484380" y="2216957"/>
              <a:ext cx="292252" cy="457740"/>
            </a:xfrm>
            <a:custGeom>
              <a:avLst/>
              <a:gdLst>
                <a:gd name="T0" fmla="*/ 2147483647 w 83"/>
                <a:gd name="T1" fmla="*/ 2147483647 h 124"/>
                <a:gd name="T2" fmla="*/ 0 w 83"/>
                <a:gd name="T3" fmla="*/ 2147483647 h 124"/>
                <a:gd name="T4" fmla="*/ 2147483647 w 83"/>
                <a:gd name="T5" fmla="*/ 2147483647 h 124"/>
                <a:gd name="T6" fmla="*/ 2147483647 w 83"/>
                <a:gd name="T7" fmla="*/ 2147483647 h 124"/>
                <a:gd name="T8" fmla="*/ 2147483647 w 83"/>
                <a:gd name="T9" fmla="*/ 2147483647 h 124"/>
                <a:gd name="T10" fmla="*/ 2147483647 w 83"/>
                <a:gd name="T11" fmla="*/ 2147483647 h 124"/>
                <a:gd name="T12" fmla="*/ 2147483647 w 83"/>
                <a:gd name="T13" fmla="*/ 2147483647 h 124"/>
                <a:gd name="T14" fmla="*/ 2147483647 w 83"/>
                <a:gd name="T15" fmla="*/ 2147483647 h 124"/>
                <a:gd name="T16" fmla="*/ 2147483647 w 83"/>
                <a:gd name="T17" fmla="*/ 0 h 124"/>
                <a:gd name="T18" fmla="*/ 2147483647 w 83"/>
                <a:gd name="T19" fmla="*/ 2147483647 h 124"/>
                <a:gd name="T20" fmla="*/ 2147483647 w 83"/>
                <a:gd name="T21" fmla="*/ 2147483647 h 124"/>
                <a:gd name="T22" fmla="*/ 2147483647 w 83"/>
                <a:gd name="T23" fmla="*/ 2147483647 h 124"/>
                <a:gd name="T24" fmla="*/ 2147483647 w 83"/>
                <a:gd name="T25" fmla="*/ 2147483647 h 124"/>
                <a:gd name="T26" fmla="*/ 2147483647 w 83"/>
                <a:gd name="T27" fmla="*/ 2147483647 h 124"/>
                <a:gd name="T28" fmla="*/ 2147483647 w 83"/>
                <a:gd name="T29" fmla="*/ 2147483647 h 124"/>
                <a:gd name="T30" fmla="*/ 2147483647 w 83"/>
                <a:gd name="T31" fmla="*/ 2147483647 h 124"/>
                <a:gd name="T32" fmla="*/ 2147483647 w 83"/>
                <a:gd name="T33" fmla="*/ 2147483647 h 124"/>
                <a:gd name="T34" fmla="*/ 2147483647 w 83"/>
                <a:gd name="T35" fmla="*/ 2147483647 h 124"/>
                <a:gd name="T36" fmla="*/ 2147483647 w 83"/>
                <a:gd name="T37" fmla="*/ 2147483647 h 124"/>
                <a:gd name="T38" fmla="*/ 2147483647 w 83"/>
                <a:gd name="T39" fmla="*/ 2147483647 h 124"/>
                <a:gd name="T40" fmla="*/ 2147483647 w 83"/>
                <a:gd name="T41" fmla="*/ 2147483647 h 124"/>
                <a:gd name="T42" fmla="*/ 2147483647 w 83"/>
                <a:gd name="T43" fmla="*/ 2147483647 h 124"/>
                <a:gd name="T44" fmla="*/ 2147483647 w 83"/>
                <a:gd name="T45" fmla="*/ 2147483647 h 124"/>
                <a:gd name="T46" fmla="*/ 2147483647 w 83"/>
                <a:gd name="T47" fmla="*/ 2147483647 h 124"/>
                <a:gd name="T48" fmla="*/ 2147483647 w 83"/>
                <a:gd name="T49" fmla="*/ 2147483647 h 124"/>
                <a:gd name="T50" fmla="*/ 2147483647 w 83"/>
                <a:gd name="T51" fmla="*/ 2147483647 h 124"/>
                <a:gd name="T52" fmla="*/ 2147483647 w 83"/>
                <a:gd name="T53" fmla="*/ 2147483647 h 124"/>
                <a:gd name="T54" fmla="*/ 2147483647 w 83"/>
                <a:gd name="T55" fmla="*/ 2147483647 h 124"/>
                <a:gd name="T56" fmla="*/ 2147483647 w 83"/>
                <a:gd name="T57" fmla="*/ 2147483647 h 124"/>
                <a:gd name="T58" fmla="*/ 2147483647 w 83"/>
                <a:gd name="T59" fmla="*/ 2147483647 h 124"/>
                <a:gd name="T60" fmla="*/ 2147483647 w 83"/>
                <a:gd name="T61" fmla="*/ 2147483647 h 124"/>
                <a:gd name="T62" fmla="*/ 2147483647 w 83"/>
                <a:gd name="T63" fmla="*/ 2147483647 h 124"/>
                <a:gd name="T64" fmla="*/ 2147483647 w 83"/>
                <a:gd name="T65" fmla="*/ 2147483647 h 124"/>
                <a:gd name="T66" fmla="*/ 2147483647 w 83"/>
                <a:gd name="T67" fmla="*/ 2147483647 h 124"/>
                <a:gd name="T68" fmla="*/ 2147483647 w 83"/>
                <a:gd name="T69" fmla="*/ 2147483647 h 124"/>
                <a:gd name="T70" fmla="*/ 2147483647 w 83"/>
                <a:gd name="T71" fmla="*/ 2147483647 h 124"/>
                <a:gd name="T72" fmla="*/ 2147483647 w 83"/>
                <a:gd name="T73" fmla="*/ 2147483647 h 124"/>
                <a:gd name="T74" fmla="*/ 2147483647 w 83"/>
                <a:gd name="T75" fmla="*/ 2147483647 h 124"/>
                <a:gd name="T76" fmla="*/ 2147483647 w 83"/>
                <a:gd name="T77" fmla="*/ 2147483647 h 124"/>
                <a:gd name="T78" fmla="*/ 2147483647 w 83"/>
                <a:gd name="T79" fmla="*/ 2147483647 h 124"/>
                <a:gd name="T80" fmla="*/ 2147483647 w 83"/>
                <a:gd name="T81" fmla="*/ 2147483647 h 124"/>
                <a:gd name="T82" fmla="*/ 2147483647 w 83"/>
                <a:gd name="T83" fmla="*/ 2147483647 h 124"/>
                <a:gd name="T84" fmla="*/ 2147483647 w 83"/>
                <a:gd name="T85" fmla="*/ 2147483647 h 124"/>
                <a:gd name="T86" fmla="*/ 2147483647 w 83"/>
                <a:gd name="T87" fmla="*/ 2147483647 h 124"/>
                <a:gd name="T88" fmla="*/ 2147483647 w 83"/>
                <a:gd name="T89" fmla="*/ 2147483647 h 124"/>
                <a:gd name="T90" fmla="*/ 2147483647 w 83"/>
                <a:gd name="T91" fmla="*/ 2147483647 h 124"/>
                <a:gd name="T92" fmla="*/ 2147483647 w 83"/>
                <a:gd name="T93" fmla="*/ 2147483647 h 12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83"/>
                <a:gd name="T142" fmla="*/ 0 h 124"/>
                <a:gd name="T143" fmla="*/ 83 w 83"/>
                <a:gd name="T144" fmla="*/ 124 h 12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83" h="124">
                  <a:moveTo>
                    <a:pt x="7" y="2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2" y="9"/>
                    <a:pt x="4" y="8"/>
                    <a:pt x="4" y="8"/>
                  </a:cubicBezTo>
                  <a:cubicBezTo>
                    <a:pt x="6" y="8"/>
                    <a:pt x="13" y="14"/>
                    <a:pt x="15" y="14"/>
                  </a:cubicBezTo>
                  <a:cubicBezTo>
                    <a:pt x="17" y="15"/>
                    <a:pt x="23" y="14"/>
                    <a:pt x="25" y="14"/>
                  </a:cubicBezTo>
                  <a:cubicBezTo>
                    <a:pt x="26" y="14"/>
                    <a:pt x="33" y="18"/>
                    <a:pt x="34" y="16"/>
                  </a:cubicBezTo>
                  <a:cubicBezTo>
                    <a:pt x="36" y="14"/>
                    <a:pt x="39" y="12"/>
                    <a:pt x="39" y="10"/>
                  </a:cubicBezTo>
                  <a:cubicBezTo>
                    <a:pt x="39" y="8"/>
                    <a:pt x="43" y="3"/>
                    <a:pt x="44" y="2"/>
                  </a:cubicBezTo>
                  <a:cubicBezTo>
                    <a:pt x="44" y="1"/>
                    <a:pt x="51" y="0"/>
                    <a:pt x="52" y="0"/>
                  </a:cubicBezTo>
                  <a:cubicBezTo>
                    <a:pt x="53" y="0"/>
                    <a:pt x="56" y="1"/>
                    <a:pt x="58" y="2"/>
                  </a:cubicBezTo>
                  <a:cubicBezTo>
                    <a:pt x="60" y="3"/>
                    <a:pt x="62" y="4"/>
                    <a:pt x="62" y="6"/>
                  </a:cubicBezTo>
                  <a:cubicBezTo>
                    <a:pt x="62" y="8"/>
                    <a:pt x="59" y="11"/>
                    <a:pt x="61" y="12"/>
                  </a:cubicBezTo>
                  <a:cubicBezTo>
                    <a:pt x="62" y="12"/>
                    <a:pt x="62" y="12"/>
                    <a:pt x="63" y="13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8"/>
                    <a:pt x="61" y="21"/>
                    <a:pt x="62" y="23"/>
                  </a:cubicBezTo>
                  <a:cubicBezTo>
                    <a:pt x="64" y="25"/>
                    <a:pt x="71" y="27"/>
                    <a:pt x="71" y="29"/>
                  </a:cubicBezTo>
                  <a:cubicBezTo>
                    <a:pt x="71" y="32"/>
                    <a:pt x="65" y="36"/>
                    <a:pt x="65" y="39"/>
                  </a:cubicBezTo>
                  <a:cubicBezTo>
                    <a:pt x="64" y="42"/>
                    <a:pt x="69" y="45"/>
                    <a:pt x="70" y="48"/>
                  </a:cubicBezTo>
                  <a:cubicBezTo>
                    <a:pt x="71" y="50"/>
                    <a:pt x="71" y="54"/>
                    <a:pt x="71" y="56"/>
                  </a:cubicBezTo>
                  <a:cubicBezTo>
                    <a:pt x="71" y="59"/>
                    <a:pt x="70" y="62"/>
                    <a:pt x="69" y="66"/>
                  </a:cubicBezTo>
                  <a:cubicBezTo>
                    <a:pt x="69" y="69"/>
                    <a:pt x="74" y="70"/>
                    <a:pt x="75" y="72"/>
                  </a:cubicBezTo>
                  <a:cubicBezTo>
                    <a:pt x="76" y="74"/>
                    <a:pt x="71" y="78"/>
                    <a:pt x="72" y="79"/>
                  </a:cubicBezTo>
                  <a:cubicBezTo>
                    <a:pt x="72" y="81"/>
                    <a:pt x="77" y="83"/>
                    <a:pt x="79" y="84"/>
                  </a:cubicBezTo>
                  <a:cubicBezTo>
                    <a:pt x="82" y="85"/>
                    <a:pt x="83" y="88"/>
                    <a:pt x="82" y="91"/>
                  </a:cubicBezTo>
                  <a:cubicBezTo>
                    <a:pt x="81" y="94"/>
                    <a:pt x="65" y="107"/>
                    <a:pt x="63" y="109"/>
                  </a:cubicBezTo>
                  <a:cubicBezTo>
                    <a:pt x="59" y="114"/>
                    <a:pt x="59" y="114"/>
                    <a:pt x="59" y="114"/>
                  </a:cubicBezTo>
                  <a:cubicBezTo>
                    <a:pt x="59" y="114"/>
                    <a:pt x="59" y="114"/>
                    <a:pt x="59" y="114"/>
                  </a:cubicBezTo>
                  <a:cubicBezTo>
                    <a:pt x="58" y="115"/>
                    <a:pt x="56" y="116"/>
                    <a:pt x="55" y="116"/>
                  </a:cubicBezTo>
                  <a:cubicBezTo>
                    <a:pt x="53" y="116"/>
                    <a:pt x="40" y="119"/>
                    <a:pt x="38" y="119"/>
                  </a:cubicBezTo>
                  <a:cubicBezTo>
                    <a:pt x="36" y="119"/>
                    <a:pt x="20" y="124"/>
                    <a:pt x="19" y="123"/>
                  </a:cubicBezTo>
                  <a:cubicBezTo>
                    <a:pt x="17" y="122"/>
                    <a:pt x="16" y="120"/>
                    <a:pt x="14" y="119"/>
                  </a:cubicBezTo>
                  <a:cubicBezTo>
                    <a:pt x="13" y="118"/>
                    <a:pt x="8" y="118"/>
                    <a:pt x="6" y="118"/>
                  </a:cubicBezTo>
                  <a:cubicBezTo>
                    <a:pt x="4" y="118"/>
                    <a:pt x="4" y="116"/>
                    <a:pt x="4" y="115"/>
                  </a:cubicBezTo>
                  <a:cubicBezTo>
                    <a:pt x="5" y="113"/>
                    <a:pt x="7" y="106"/>
                    <a:pt x="7" y="104"/>
                  </a:cubicBezTo>
                  <a:cubicBezTo>
                    <a:pt x="6" y="102"/>
                    <a:pt x="5" y="97"/>
                    <a:pt x="4" y="94"/>
                  </a:cubicBezTo>
                  <a:cubicBezTo>
                    <a:pt x="4" y="92"/>
                    <a:pt x="4" y="87"/>
                    <a:pt x="5" y="87"/>
                  </a:cubicBezTo>
                  <a:cubicBezTo>
                    <a:pt x="6" y="86"/>
                    <a:pt x="13" y="81"/>
                    <a:pt x="15" y="80"/>
                  </a:cubicBezTo>
                  <a:cubicBezTo>
                    <a:pt x="16" y="79"/>
                    <a:pt x="24" y="72"/>
                    <a:pt x="26" y="71"/>
                  </a:cubicBezTo>
                  <a:cubicBezTo>
                    <a:pt x="27" y="70"/>
                    <a:pt x="30" y="66"/>
                    <a:pt x="31" y="66"/>
                  </a:cubicBezTo>
                  <a:cubicBezTo>
                    <a:pt x="32" y="65"/>
                    <a:pt x="36" y="67"/>
                    <a:pt x="37" y="65"/>
                  </a:cubicBezTo>
                  <a:cubicBezTo>
                    <a:pt x="38" y="63"/>
                    <a:pt x="37" y="58"/>
                    <a:pt x="36" y="56"/>
                  </a:cubicBezTo>
                  <a:cubicBezTo>
                    <a:pt x="35" y="55"/>
                    <a:pt x="28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2"/>
                    <a:pt x="25" y="47"/>
                    <a:pt x="25" y="45"/>
                  </a:cubicBezTo>
                  <a:cubicBezTo>
                    <a:pt x="25" y="43"/>
                    <a:pt x="24" y="36"/>
                    <a:pt x="23" y="34"/>
                  </a:cubicBezTo>
                  <a:cubicBezTo>
                    <a:pt x="21" y="32"/>
                    <a:pt x="23" y="27"/>
                    <a:pt x="20" y="25"/>
                  </a:cubicBezTo>
                  <a:cubicBezTo>
                    <a:pt x="17" y="23"/>
                    <a:pt x="8" y="21"/>
                    <a:pt x="7" y="20"/>
                  </a:cubicBezTo>
                  <a:close/>
                </a:path>
              </a:pathLst>
            </a:custGeom>
            <a:solidFill>
              <a:srgbClr val="006487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65" name="Freeform 31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6478206" y="3120455"/>
              <a:ext cx="249031" cy="165362"/>
            </a:xfrm>
            <a:custGeom>
              <a:avLst/>
              <a:gdLst>
                <a:gd name="T0" fmla="*/ 0 w 71"/>
                <a:gd name="T1" fmla="*/ 2147483647 h 45"/>
                <a:gd name="T2" fmla="*/ 2147483647 w 71"/>
                <a:gd name="T3" fmla="*/ 2147483647 h 45"/>
                <a:gd name="T4" fmla="*/ 2147483647 w 71"/>
                <a:gd name="T5" fmla="*/ 2147483647 h 45"/>
                <a:gd name="T6" fmla="*/ 2147483647 w 71"/>
                <a:gd name="T7" fmla="*/ 2147483647 h 45"/>
                <a:gd name="T8" fmla="*/ 2147483647 w 71"/>
                <a:gd name="T9" fmla="*/ 2147483647 h 45"/>
                <a:gd name="T10" fmla="*/ 2147483647 w 71"/>
                <a:gd name="T11" fmla="*/ 2147483647 h 45"/>
                <a:gd name="T12" fmla="*/ 2147483647 w 71"/>
                <a:gd name="T13" fmla="*/ 2147483647 h 45"/>
                <a:gd name="T14" fmla="*/ 2147483647 w 71"/>
                <a:gd name="T15" fmla="*/ 2147483647 h 45"/>
                <a:gd name="T16" fmla="*/ 2147483647 w 71"/>
                <a:gd name="T17" fmla="*/ 2147483647 h 45"/>
                <a:gd name="T18" fmla="*/ 2147483647 w 71"/>
                <a:gd name="T19" fmla="*/ 0 h 45"/>
                <a:gd name="T20" fmla="*/ 2147483647 w 71"/>
                <a:gd name="T21" fmla="*/ 2147483647 h 45"/>
                <a:gd name="T22" fmla="*/ 2147483647 w 71"/>
                <a:gd name="T23" fmla="*/ 2147483647 h 45"/>
                <a:gd name="T24" fmla="*/ 2147483647 w 71"/>
                <a:gd name="T25" fmla="*/ 2147483647 h 45"/>
                <a:gd name="T26" fmla="*/ 2147483647 w 71"/>
                <a:gd name="T27" fmla="*/ 2147483647 h 45"/>
                <a:gd name="T28" fmla="*/ 2147483647 w 71"/>
                <a:gd name="T29" fmla="*/ 2147483647 h 45"/>
                <a:gd name="T30" fmla="*/ 2147483647 w 71"/>
                <a:gd name="T31" fmla="*/ 2147483647 h 45"/>
                <a:gd name="T32" fmla="*/ 2147483647 w 71"/>
                <a:gd name="T33" fmla="*/ 2147483647 h 45"/>
                <a:gd name="T34" fmla="*/ 2147483647 w 71"/>
                <a:gd name="T35" fmla="*/ 2147483647 h 45"/>
                <a:gd name="T36" fmla="*/ 2147483647 w 71"/>
                <a:gd name="T37" fmla="*/ 2147483647 h 45"/>
                <a:gd name="T38" fmla="*/ 2147483647 w 71"/>
                <a:gd name="T39" fmla="*/ 2147483647 h 45"/>
                <a:gd name="T40" fmla="*/ 2147483647 w 71"/>
                <a:gd name="T41" fmla="*/ 2147483647 h 45"/>
                <a:gd name="T42" fmla="*/ 2147483647 w 71"/>
                <a:gd name="T43" fmla="*/ 2147483647 h 45"/>
                <a:gd name="T44" fmla="*/ 2147483647 w 71"/>
                <a:gd name="T45" fmla="*/ 2147483647 h 45"/>
                <a:gd name="T46" fmla="*/ 2147483647 w 71"/>
                <a:gd name="T47" fmla="*/ 2147483647 h 45"/>
                <a:gd name="T48" fmla="*/ 2147483647 w 71"/>
                <a:gd name="T49" fmla="*/ 2147483647 h 45"/>
                <a:gd name="T50" fmla="*/ 2147483647 w 71"/>
                <a:gd name="T51" fmla="*/ 2147483647 h 45"/>
                <a:gd name="T52" fmla="*/ 2147483647 w 71"/>
                <a:gd name="T53" fmla="*/ 2147483647 h 45"/>
                <a:gd name="T54" fmla="*/ 2147483647 w 71"/>
                <a:gd name="T55" fmla="*/ 2147483647 h 45"/>
                <a:gd name="T56" fmla="*/ 2147483647 w 71"/>
                <a:gd name="T57" fmla="*/ 2147483647 h 45"/>
                <a:gd name="T58" fmla="*/ 2147483647 w 71"/>
                <a:gd name="T59" fmla="*/ 2147483647 h 45"/>
                <a:gd name="T60" fmla="*/ 0 w 71"/>
                <a:gd name="T61" fmla="*/ 2147483647 h 4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1"/>
                <a:gd name="T94" fmla="*/ 0 h 45"/>
                <a:gd name="T95" fmla="*/ 71 w 71"/>
                <a:gd name="T96" fmla="*/ 45 h 45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1" h="45">
                  <a:moveTo>
                    <a:pt x="0" y="21"/>
                  </a:moveTo>
                  <a:cubicBezTo>
                    <a:pt x="2" y="21"/>
                    <a:pt x="6" y="21"/>
                    <a:pt x="6" y="20"/>
                  </a:cubicBezTo>
                  <a:cubicBezTo>
                    <a:pt x="8" y="19"/>
                    <a:pt x="10" y="10"/>
                    <a:pt x="12" y="10"/>
                  </a:cubicBezTo>
                  <a:cubicBezTo>
                    <a:pt x="13" y="9"/>
                    <a:pt x="17" y="7"/>
                    <a:pt x="18" y="6"/>
                  </a:cubicBezTo>
                  <a:cubicBezTo>
                    <a:pt x="18" y="5"/>
                    <a:pt x="20" y="4"/>
                    <a:pt x="19" y="3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7" y="4"/>
                    <a:pt x="30" y="4"/>
                    <a:pt x="32" y="5"/>
                  </a:cubicBezTo>
                  <a:cubicBezTo>
                    <a:pt x="33" y="6"/>
                    <a:pt x="34" y="7"/>
                    <a:pt x="35" y="7"/>
                  </a:cubicBezTo>
                  <a:cubicBezTo>
                    <a:pt x="37" y="6"/>
                    <a:pt x="41" y="4"/>
                    <a:pt x="42" y="4"/>
                  </a:cubicBezTo>
                  <a:cubicBezTo>
                    <a:pt x="43" y="4"/>
                    <a:pt x="46" y="2"/>
                    <a:pt x="49" y="0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2" y="7"/>
                    <a:pt x="57" y="12"/>
                    <a:pt x="58" y="15"/>
                  </a:cubicBezTo>
                  <a:cubicBezTo>
                    <a:pt x="60" y="17"/>
                    <a:pt x="59" y="25"/>
                    <a:pt x="59" y="27"/>
                  </a:cubicBezTo>
                  <a:cubicBezTo>
                    <a:pt x="59" y="28"/>
                    <a:pt x="61" y="28"/>
                    <a:pt x="63" y="28"/>
                  </a:cubicBezTo>
                  <a:cubicBezTo>
                    <a:pt x="64" y="28"/>
                    <a:pt x="66" y="29"/>
                    <a:pt x="66" y="29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30"/>
                    <a:pt x="70" y="30"/>
                    <a:pt x="71" y="31"/>
                  </a:cubicBezTo>
                  <a:cubicBezTo>
                    <a:pt x="71" y="33"/>
                    <a:pt x="71" y="34"/>
                    <a:pt x="69" y="34"/>
                  </a:cubicBezTo>
                  <a:cubicBezTo>
                    <a:pt x="67" y="34"/>
                    <a:pt x="65" y="35"/>
                    <a:pt x="64" y="38"/>
                  </a:cubicBezTo>
                  <a:cubicBezTo>
                    <a:pt x="63" y="39"/>
                    <a:pt x="63" y="41"/>
                    <a:pt x="63" y="43"/>
                  </a:cubicBezTo>
                  <a:cubicBezTo>
                    <a:pt x="63" y="43"/>
                    <a:pt x="58" y="42"/>
                    <a:pt x="57" y="42"/>
                  </a:cubicBezTo>
                  <a:cubicBezTo>
                    <a:pt x="55" y="42"/>
                    <a:pt x="50" y="41"/>
                    <a:pt x="48" y="41"/>
                  </a:cubicBezTo>
                  <a:cubicBezTo>
                    <a:pt x="45" y="41"/>
                    <a:pt x="42" y="45"/>
                    <a:pt x="40" y="45"/>
                  </a:cubicBezTo>
                  <a:cubicBezTo>
                    <a:pt x="38" y="45"/>
                    <a:pt x="30" y="44"/>
                    <a:pt x="28" y="44"/>
                  </a:cubicBezTo>
                  <a:cubicBezTo>
                    <a:pt x="27" y="44"/>
                    <a:pt x="22" y="42"/>
                    <a:pt x="22" y="42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3" y="36"/>
                    <a:pt x="10" y="35"/>
                  </a:cubicBezTo>
                  <a:cubicBezTo>
                    <a:pt x="7" y="34"/>
                    <a:pt x="8" y="33"/>
                    <a:pt x="6" y="31"/>
                  </a:cubicBezTo>
                  <a:cubicBezTo>
                    <a:pt x="5" y="29"/>
                    <a:pt x="3" y="26"/>
                    <a:pt x="2" y="26"/>
                  </a:cubicBezTo>
                  <a:lnTo>
                    <a:pt x="0" y="21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66" name="Freeform 32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459683" y="2849645"/>
              <a:ext cx="88499" cy="47931"/>
            </a:xfrm>
            <a:custGeom>
              <a:avLst/>
              <a:gdLst>
                <a:gd name="T0" fmla="*/ 2147483647 w 25"/>
                <a:gd name="T1" fmla="*/ 2147483647 h 13"/>
                <a:gd name="T2" fmla="*/ 0 w 25"/>
                <a:gd name="T3" fmla="*/ 2147483647 h 13"/>
                <a:gd name="T4" fmla="*/ 2147483647 w 25"/>
                <a:gd name="T5" fmla="*/ 2147483647 h 13"/>
                <a:gd name="T6" fmla="*/ 2147483647 w 25"/>
                <a:gd name="T7" fmla="*/ 0 h 13"/>
                <a:gd name="T8" fmla="*/ 2147483647 w 25"/>
                <a:gd name="T9" fmla="*/ 2147483647 h 13"/>
                <a:gd name="T10" fmla="*/ 2147483647 w 25"/>
                <a:gd name="T11" fmla="*/ 2147483647 h 13"/>
                <a:gd name="T12" fmla="*/ 2147483647 w 25"/>
                <a:gd name="T13" fmla="*/ 214748364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5"/>
                <a:gd name="T22" fmla="*/ 0 h 13"/>
                <a:gd name="T23" fmla="*/ 25 w 25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5" h="13">
                  <a:moveTo>
                    <a:pt x="1" y="13"/>
                  </a:moveTo>
                  <a:cubicBezTo>
                    <a:pt x="1" y="12"/>
                    <a:pt x="0" y="10"/>
                    <a:pt x="0" y="10"/>
                  </a:cubicBezTo>
                  <a:cubicBezTo>
                    <a:pt x="3" y="9"/>
                    <a:pt x="6" y="7"/>
                    <a:pt x="6" y="6"/>
                  </a:cubicBezTo>
                  <a:cubicBezTo>
                    <a:pt x="7" y="5"/>
                    <a:pt x="11" y="2"/>
                    <a:pt x="11" y="0"/>
                  </a:cubicBezTo>
                  <a:cubicBezTo>
                    <a:pt x="11" y="0"/>
                    <a:pt x="23" y="5"/>
                    <a:pt x="24" y="6"/>
                  </a:cubicBezTo>
                  <a:cubicBezTo>
                    <a:pt x="25" y="7"/>
                    <a:pt x="24" y="12"/>
                    <a:pt x="24" y="12"/>
                  </a:cubicBezTo>
                  <a:cubicBezTo>
                    <a:pt x="23" y="12"/>
                    <a:pt x="3" y="13"/>
                    <a:pt x="1" y="1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67" name="Freeform 32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385591" y="3074921"/>
              <a:ext cx="152300" cy="64707"/>
            </a:xfrm>
            <a:custGeom>
              <a:avLst/>
              <a:gdLst>
                <a:gd name="T0" fmla="*/ 2147483647 w 43"/>
                <a:gd name="T1" fmla="*/ 2147483647 h 18"/>
                <a:gd name="T2" fmla="*/ 0 w 43"/>
                <a:gd name="T3" fmla="*/ 2147483647 h 18"/>
                <a:gd name="T4" fmla="*/ 0 w 43"/>
                <a:gd name="T5" fmla="*/ 2147483647 h 18"/>
                <a:gd name="T6" fmla="*/ 2147483647 w 43"/>
                <a:gd name="T7" fmla="*/ 2147483647 h 18"/>
                <a:gd name="T8" fmla="*/ 2147483647 w 43"/>
                <a:gd name="T9" fmla="*/ 2147483647 h 18"/>
                <a:gd name="T10" fmla="*/ 2147483647 w 43"/>
                <a:gd name="T11" fmla="*/ 0 h 18"/>
                <a:gd name="T12" fmla="*/ 2147483647 w 43"/>
                <a:gd name="T13" fmla="*/ 2147483647 h 18"/>
                <a:gd name="T14" fmla="*/ 2147483647 w 43"/>
                <a:gd name="T15" fmla="*/ 2147483647 h 18"/>
                <a:gd name="T16" fmla="*/ 2147483647 w 43"/>
                <a:gd name="T17" fmla="*/ 2147483647 h 18"/>
                <a:gd name="T18" fmla="*/ 2147483647 w 43"/>
                <a:gd name="T19" fmla="*/ 2147483647 h 18"/>
                <a:gd name="T20" fmla="*/ 2147483647 w 43"/>
                <a:gd name="T21" fmla="*/ 2147483647 h 18"/>
                <a:gd name="T22" fmla="*/ 2147483647 w 43"/>
                <a:gd name="T23" fmla="*/ 2147483647 h 18"/>
                <a:gd name="T24" fmla="*/ 2147483647 w 43"/>
                <a:gd name="T25" fmla="*/ 2147483647 h 18"/>
                <a:gd name="T26" fmla="*/ 2147483647 w 43"/>
                <a:gd name="T27" fmla="*/ 2147483647 h 18"/>
                <a:gd name="T28" fmla="*/ 2147483647 w 43"/>
                <a:gd name="T29" fmla="*/ 2147483647 h 18"/>
                <a:gd name="T30" fmla="*/ 2147483647 w 43"/>
                <a:gd name="T31" fmla="*/ 2147483647 h 18"/>
                <a:gd name="T32" fmla="*/ 2147483647 w 43"/>
                <a:gd name="T33" fmla="*/ 2147483647 h 18"/>
                <a:gd name="T34" fmla="*/ 2147483647 w 43"/>
                <a:gd name="T35" fmla="*/ 2147483647 h 18"/>
                <a:gd name="T36" fmla="*/ 2147483647 w 43"/>
                <a:gd name="T37" fmla="*/ 2147483647 h 18"/>
                <a:gd name="T38" fmla="*/ 2147483647 w 43"/>
                <a:gd name="T39" fmla="*/ 2147483647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3"/>
                <a:gd name="T61" fmla="*/ 0 h 18"/>
                <a:gd name="T62" fmla="*/ 43 w 43"/>
                <a:gd name="T63" fmla="*/ 18 h 1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3" h="18">
                  <a:moveTo>
                    <a:pt x="1" y="14"/>
                  </a:moveTo>
                  <a:cubicBezTo>
                    <a:pt x="0" y="13"/>
                    <a:pt x="0" y="10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" y="7"/>
                    <a:pt x="6" y="8"/>
                    <a:pt x="6" y="7"/>
                  </a:cubicBezTo>
                  <a:cubicBezTo>
                    <a:pt x="8" y="5"/>
                    <a:pt x="11" y="3"/>
                    <a:pt x="11" y="2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4" y="0"/>
                    <a:pt x="18" y="0"/>
                    <a:pt x="19" y="1"/>
                  </a:cubicBezTo>
                  <a:cubicBezTo>
                    <a:pt x="20" y="2"/>
                    <a:pt x="21" y="3"/>
                    <a:pt x="23" y="3"/>
                  </a:cubicBezTo>
                  <a:cubicBezTo>
                    <a:pt x="25" y="3"/>
                    <a:pt x="30" y="1"/>
                    <a:pt x="32" y="1"/>
                  </a:cubicBezTo>
                  <a:cubicBezTo>
                    <a:pt x="34" y="1"/>
                    <a:pt x="38" y="2"/>
                    <a:pt x="38" y="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2" y="6"/>
                    <a:pt x="40" y="10"/>
                    <a:pt x="40" y="11"/>
                  </a:cubicBezTo>
                  <a:cubicBezTo>
                    <a:pt x="40" y="11"/>
                    <a:pt x="34" y="10"/>
                    <a:pt x="32" y="10"/>
                  </a:cubicBezTo>
                  <a:cubicBezTo>
                    <a:pt x="30" y="10"/>
                    <a:pt x="27" y="13"/>
                    <a:pt x="25" y="13"/>
                  </a:cubicBezTo>
                  <a:cubicBezTo>
                    <a:pt x="24" y="13"/>
                    <a:pt x="18" y="14"/>
                    <a:pt x="17" y="15"/>
                  </a:cubicBezTo>
                  <a:cubicBezTo>
                    <a:pt x="16" y="15"/>
                    <a:pt x="14" y="18"/>
                    <a:pt x="14" y="18"/>
                  </a:cubicBezTo>
                  <a:cubicBezTo>
                    <a:pt x="14" y="18"/>
                    <a:pt x="7" y="18"/>
                    <a:pt x="6" y="18"/>
                  </a:cubicBezTo>
                  <a:cubicBezTo>
                    <a:pt x="4" y="18"/>
                    <a:pt x="1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4"/>
                    <a:pt x="1" y="1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68" name="Freeform 32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6365010" y="3113265"/>
              <a:ext cx="183172" cy="98258"/>
            </a:xfrm>
            <a:custGeom>
              <a:avLst/>
              <a:gdLst>
                <a:gd name="T0" fmla="*/ 2147483647 w 52"/>
                <a:gd name="T1" fmla="*/ 2147483647 h 27"/>
                <a:gd name="T2" fmla="*/ 0 w 52"/>
                <a:gd name="T3" fmla="*/ 2147483647 h 27"/>
                <a:gd name="T4" fmla="*/ 2147483647 w 52"/>
                <a:gd name="T5" fmla="*/ 2147483647 h 27"/>
                <a:gd name="T6" fmla="*/ 2147483647 w 52"/>
                <a:gd name="T7" fmla="*/ 2147483647 h 27"/>
                <a:gd name="T8" fmla="*/ 2147483647 w 52"/>
                <a:gd name="T9" fmla="*/ 2147483647 h 27"/>
                <a:gd name="T10" fmla="*/ 2147483647 w 52"/>
                <a:gd name="T11" fmla="*/ 2147483647 h 27"/>
                <a:gd name="T12" fmla="*/ 2147483647 w 52"/>
                <a:gd name="T13" fmla="*/ 2147483647 h 27"/>
                <a:gd name="T14" fmla="*/ 2147483647 w 52"/>
                <a:gd name="T15" fmla="*/ 2147483647 h 27"/>
                <a:gd name="T16" fmla="*/ 2147483647 w 52"/>
                <a:gd name="T17" fmla="*/ 2147483647 h 27"/>
                <a:gd name="T18" fmla="*/ 2147483647 w 52"/>
                <a:gd name="T19" fmla="*/ 2147483647 h 27"/>
                <a:gd name="T20" fmla="*/ 2147483647 w 52"/>
                <a:gd name="T21" fmla="*/ 2147483647 h 27"/>
                <a:gd name="T22" fmla="*/ 2147483647 w 52"/>
                <a:gd name="T23" fmla="*/ 0 h 27"/>
                <a:gd name="T24" fmla="*/ 2147483647 w 52"/>
                <a:gd name="T25" fmla="*/ 2147483647 h 27"/>
                <a:gd name="T26" fmla="*/ 2147483647 w 52"/>
                <a:gd name="T27" fmla="*/ 2147483647 h 27"/>
                <a:gd name="T28" fmla="*/ 2147483647 w 52"/>
                <a:gd name="T29" fmla="*/ 2147483647 h 27"/>
                <a:gd name="T30" fmla="*/ 2147483647 w 52"/>
                <a:gd name="T31" fmla="*/ 2147483647 h 27"/>
                <a:gd name="T32" fmla="*/ 2147483647 w 52"/>
                <a:gd name="T33" fmla="*/ 2147483647 h 27"/>
                <a:gd name="T34" fmla="*/ 2147483647 w 52"/>
                <a:gd name="T35" fmla="*/ 2147483647 h 27"/>
                <a:gd name="T36" fmla="*/ 2147483647 w 52"/>
                <a:gd name="T37" fmla="*/ 2147483647 h 27"/>
                <a:gd name="T38" fmla="*/ 2147483647 w 52"/>
                <a:gd name="T39" fmla="*/ 2147483647 h 27"/>
                <a:gd name="T40" fmla="*/ 2147483647 w 52"/>
                <a:gd name="T41" fmla="*/ 2147483647 h 27"/>
                <a:gd name="T42" fmla="*/ 2147483647 w 52"/>
                <a:gd name="T43" fmla="*/ 2147483647 h 27"/>
                <a:gd name="T44" fmla="*/ 2147483647 w 52"/>
                <a:gd name="T45" fmla="*/ 2147483647 h 27"/>
                <a:gd name="T46" fmla="*/ 2147483647 w 52"/>
                <a:gd name="T47" fmla="*/ 2147483647 h 27"/>
                <a:gd name="T48" fmla="*/ 2147483647 w 52"/>
                <a:gd name="T49" fmla="*/ 2147483647 h 2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2"/>
                <a:gd name="T76" fmla="*/ 0 h 27"/>
                <a:gd name="T77" fmla="*/ 52 w 52"/>
                <a:gd name="T78" fmla="*/ 27 h 2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2" h="27">
                  <a:moveTo>
                    <a:pt x="2" y="19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1" y="16"/>
                    <a:pt x="2" y="14"/>
                    <a:pt x="2" y="13"/>
                  </a:cubicBezTo>
                  <a:cubicBezTo>
                    <a:pt x="2" y="11"/>
                    <a:pt x="2" y="9"/>
                    <a:pt x="3" y="8"/>
                  </a:cubicBezTo>
                  <a:cubicBezTo>
                    <a:pt x="4" y="8"/>
                    <a:pt x="6" y="9"/>
                    <a:pt x="6" y="9"/>
                  </a:cubicBezTo>
                  <a:cubicBezTo>
                    <a:pt x="7" y="8"/>
                    <a:pt x="7" y="7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10" y="8"/>
                    <a:pt x="12" y="8"/>
                  </a:cubicBezTo>
                  <a:cubicBezTo>
                    <a:pt x="13" y="8"/>
                    <a:pt x="20" y="8"/>
                    <a:pt x="20" y="8"/>
                  </a:cubicBezTo>
                  <a:cubicBezTo>
                    <a:pt x="20" y="8"/>
                    <a:pt x="22" y="5"/>
                    <a:pt x="23" y="5"/>
                  </a:cubicBezTo>
                  <a:cubicBezTo>
                    <a:pt x="24" y="4"/>
                    <a:pt x="30" y="3"/>
                    <a:pt x="31" y="3"/>
                  </a:cubicBezTo>
                  <a:cubicBezTo>
                    <a:pt x="33" y="3"/>
                    <a:pt x="36" y="0"/>
                    <a:pt x="38" y="0"/>
                  </a:cubicBezTo>
                  <a:cubicBezTo>
                    <a:pt x="40" y="0"/>
                    <a:pt x="46" y="1"/>
                    <a:pt x="46" y="1"/>
                  </a:cubicBezTo>
                  <a:cubicBezTo>
                    <a:pt x="45" y="2"/>
                    <a:pt x="50" y="4"/>
                    <a:pt x="51" y="5"/>
                  </a:cubicBezTo>
                  <a:cubicBezTo>
                    <a:pt x="52" y="6"/>
                    <a:pt x="50" y="7"/>
                    <a:pt x="50" y="8"/>
                  </a:cubicBezTo>
                  <a:cubicBezTo>
                    <a:pt x="49" y="9"/>
                    <a:pt x="45" y="11"/>
                    <a:pt x="44" y="12"/>
                  </a:cubicBezTo>
                  <a:cubicBezTo>
                    <a:pt x="42" y="12"/>
                    <a:pt x="40" y="21"/>
                    <a:pt x="38" y="22"/>
                  </a:cubicBezTo>
                  <a:cubicBezTo>
                    <a:pt x="38" y="23"/>
                    <a:pt x="34" y="23"/>
                    <a:pt x="32" y="23"/>
                  </a:cubicBezTo>
                  <a:cubicBezTo>
                    <a:pt x="32" y="23"/>
                    <a:pt x="32" y="23"/>
                    <a:pt x="31" y="23"/>
                  </a:cubicBezTo>
                  <a:cubicBezTo>
                    <a:pt x="30" y="23"/>
                    <a:pt x="24" y="24"/>
                    <a:pt x="23" y="24"/>
                  </a:cubicBezTo>
                  <a:cubicBezTo>
                    <a:pt x="22" y="24"/>
                    <a:pt x="21" y="25"/>
                    <a:pt x="20" y="25"/>
                  </a:cubicBezTo>
                  <a:cubicBezTo>
                    <a:pt x="19" y="26"/>
                    <a:pt x="18" y="26"/>
                    <a:pt x="17" y="27"/>
                  </a:cubicBezTo>
                  <a:cubicBezTo>
                    <a:pt x="15" y="27"/>
                    <a:pt x="11" y="26"/>
                    <a:pt x="10" y="25"/>
                  </a:cubicBezTo>
                  <a:cubicBezTo>
                    <a:pt x="8" y="25"/>
                    <a:pt x="4" y="21"/>
                    <a:pt x="3" y="20"/>
                  </a:cubicBezTo>
                  <a:lnTo>
                    <a:pt x="2" y="19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69" name="Freeform 32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6309441" y="2873611"/>
              <a:ext cx="271670" cy="222879"/>
            </a:xfrm>
            <a:custGeom>
              <a:avLst/>
              <a:gdLst>
                <a:gd name="T0" fmla="*/ 2147483647 w 77"/>
                <a:gd name="T1" fmla="*/ 2147483647 h 60"/>
                <a:gd name="T2" fmla="*/ 2147483647 w 77"/>
                <a:gd name="T3" fmla="*/ 0 h 60"/>
                <a:gd name="T4" fmla="*/ 2147483647 w 77"/>
                <a:gd name="T5" fmla="*/ 2147483647 h 60"/>
                <a:gd name="T6" fmla="*/ 2147483647 w 77"/>
                <a:gd name="T7" fmla="*/ 2147483647 h 60"/>
                <a:gd name="T8" fmla="*/ 2147483647 w 77"/>
                <a:gd name="T9" fmla="*/ 2147483647 h 60"/>
                <a:gd name="T10" fmla="*/ 2147483647 w 77"/>
                <a:gd name="T11" fmla="*/ 2147483647 h 60"/>
                <a:gd name="T12" fmla="*/ 2147483647 w 77"/>
                <a:gd name="T13" fmla="*/ 2147483647 h 60"/>
                <a:gd name="T14" fmla="*/ 2147483647 w 77"/>
                <a:gd name="T15" fmla="*/ 2147483647 h 60"/>
                <a:gd name="T16" fmla="*/ 2147483647 w 77"/>
                <a:gd name="T17" fmla="*/ 2147483647 h 60"/>
                <a:gd name="T18" fmla="*/ 2147483647 w 77"/>
                <a:gd name="T19" fmla="*/ 2147483647 h 60"/>
                <a:gd name="T20" fmla="*/ 2147483647 w 77"/>
                <a:gd name="T21" fmla="*/ 2147483647 h 60"/>
                <a:gd name="T22" fmla="*/ 2147483647 w 77"/>
                <a:gd name="T23" fmla="*/ 2147483647 h 60"/>
                <a:gd name="T24" fmla="*/ 2147483647 w 77"/>
                <a:gd name="T25" fmla="*/ 2147483647 h 60"/>
                <a:gd name="T26" fmla="*/ 2147483647 w 77"/>
                <a:gd name="T27" fmla="*/ 2147483647 h 60"/>
                <a:gd name="T28" fmla="*/ 2147483647 w 77"/>
                <a:gd name="T29" fmla="*/ 2147483647 h 60"/>
                <a:gd name="T30" fmla="*/ 2147483647 w 77"/>
                <a:gd name="T31" fmla="*/ 2147483647 h 60"/>
                <a:gd name="T32" fmla="*/ 2147483647 w 77"/>
                <a:gd name="T33" fmla="*/ 2147483647 h 60"/>
                <a:gd name="T34" fmla="*/ 2147483647 w 77"/>
                <a:gd name="T35" fmla="*/ 2147483647 h 60"/>
                <a:gd name="T36" fmla="*/ 2147483647 w 77"/>
                <a:gd name="T37" fmla="*/ 2147483647 h 60"/>
                <a:gd name="T38" fmla="*/ 2147483647 w 77"/>
                <a:gd name="T39" fmla="*/ 2147483647 h 60"/>
                <a:gd name="T40" fmla="*/ 2147483647 w 77"/>
                <a:gd name="T41" fmla="*/ 2147483647 h 60"/>
                <a:gd name="T42" fmla="*/ 2147483647 w 77"/>
                <a:gd name="T43" fmla="*/ 2147483647 h 60"/>
                <a:gd name="T44" fmla="*/ 2147483647 w 77"/>
                <a:gd name="T45" fmla="*/ 2147483647 h 60"/>
                <a:gd name="T46" fmla="*/ 2147483647 w 77"/>
                <a:gd name="T47" fmla="*/ 2147483647 h 60"/>
                <a:gd name="T48" fmla="*/ 2147483647 w 77"/>
                <a:gd name="T49" fmla="*/ 2147483647 h 60"/>
                <a:gd name="T50" fmla="*/ 2147483647 w 77"/>
                <a:gd name="T51" fmla="*/ 2147483647 h 60"/>
                <a:gd name="T52" fmla="*/ 2147483647 w 77"/>
                <a:gd name="T53" fmla="*/ 2147483647 h 60"/>
                <a:gd name="T54" fmla="*/ 2147483647 w 77"/>
                <a:gd name="T55" fmla="*/ 2147483647 h 60"/>
                <a:gd name="T56" fmla="*/ 2147483647 w 77"/>
                <a:gd name="T57" fmla="*/ 2147483647 h 60"/>
                <a:gd name="T58" fmla="*/ 2147483647 w 77"/>
                <a:gd name="T59" fmla="*/ 2147483647 h 60"/>
                <a:gd name="T60" fmla="*/ 2147483647 w 77"/>
                <a:gd name="T61" fmla="*/ 2147483647 h 60"/>
                <a:gd name="T62" fmla="*/ 2147483647 w 77"/>
                <a:gd name="T63" fmla="*/ 2147483647 h 60"/>
                <a:gd name="T64" fmla="*/ 2147483647 w 77"/>
                <a:gd name="T65" fmla="*/ 2147483647 h 60"/>
                <a:gd name="T66" fmla="*/ 0 w 77"/>
                <a:gd name="T67" fmla="*/ 2147483647 h 60"/>
                <a:gd name="T68" fmla="*/ 2147483647 w 77"/>
                <a:gd name="T69" fmla="*/ 2147483647 h 60"/>
                <a:gd name="T70" fmla="*/ 2147483647 w 77"/>
                <a:gd name="T71" fmla="*/ 2147483647 h 60"/>
                <a:gd name="T72" fmla="*/ 2147483647 w 77"/>
                <a:gd name="T73" fmla="*/ 2147483647 h 6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7"/>
                <a:gd name="T112" fmla="*/ 0 h 60"/>
                <a:gd name="T113" fmla="*/ 77 w 77"/>
                <a:gd name="T114" fmla="*/ 60 h 6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7" h="60">
                  <a:moveTo>
                    <a:pt x="16" y="6"/>
                  </a:moveTo>
                  <a:cubicBezTo>
                    <a:pt x="17" y="5"/>
                    <a:pt x="29" y="0"/>
                    <a:pt x="31" y="0"/>
                  </a:cubicBezTo>
                  <a:cubicBezTo>
                    <a:pt x="33" y="0"/>
                    <a:pt x="34" y="6"/>
                    <a:pt x="35" y="6"/>
                  </a:cubicBezTo>
                  <a:cubicBezTo>
                    <a:pt x="36" y="6"/>
                    <a:pt x="39" y="4"/>
                    <a:pt x="43" y="3"/>
                  </a:cubicBezTo>
                  <a:cubicBezTo>
                    <a:pt x="43" y="3"/>
                    <a:pt x="44" y="5"/>
                    <a:pt x="44" y="6"/>
                  </a:cubicBezTo>
                  <a:cubicBezTo>
                    <a:pt x="46" y="6"/>
                    <a:pt x="66" y="5"/>
                    <a:pt x="67" y="5"/>
                  </a:cubicBezTo>
                  <a:cubicBezTo>
                    <a:pt x="68" y="5"/>
                    <a:pt x="72" y="7"/>
                    <a:pt x="72" y="8"/>
                  </a:cubicBezTo>
                  <a:cubicBezTo>
                    <a:pt x="72" y="9"/>
                    <a:pt x="72" y="9"/>
                    <a:pt x="72" y="10"/>
                  </a:cubicBezTo>
                  <a:cubicBezTo>
                    <a:pt x="73" y="13"/>
                    <a:pt x="75" y="18"/>
                    <a:pt x="75" y="19"/>
                  </a:cubicBezTo>
                  <a:cubicBezTo>
                    <a:pt x="75" y="21"/>
                    <a:pt x="69" y="26"/>
                    <a:pt x="69" y="27"/>
                  </a:cubicBezTo>
                  <a:cubicBezTo>
                    <a:pt x="69" y="28"/>
                    <a:pt x="72" y="29"/>
                    <a:pt x="74" y="30"/>
                  </a:cubicBezTo>
                  <a:cubicBezTo>
                    <a:pt x="75" y="32"/>
                    <a:pt x="74" y="33"/>
                    <a:pt x="73" y="35"/>
                  </a:cubicBezTo>
                  <a:cubicBezTo>
                    <a:pt x="73" y="35"/>
                    <a:pt x="73" y="35"/>
                    <a:pt x="73" y="36"/>
                  </a:cubicBezTo>
                  <a:cubicBezTo>
                    <a:pt x="73" y="39"/>
                    <a:pt x="77" y="42"/>
                    <a:pt x="77" y="44"/>
                  </a:cubicBezTo>
                  <a:cubicBezTo>
                    <a:pt x="77" y="47"/>
                    <a:pt x="74" y="46"/>
                    <a:pt x="73" y="47"/>
                  </a:cubicBezTo>
                  <a:cubicBezTo>
                    <a:pt x="73" y="47"/>
                    <a:pt x="67" y="53"/>
                    <a:pt x="67" y="53"/>
                  </a:cubicBezTo>
                  <a:cubicBezTo>
                    <a:pt x="66" y="54"/>
                    <a:pt x="68" y="58"/>
                    <a:pt x="68" y="59"/>
                  </a:cubicBezTo>
                  <a:cubicBezTo>
                    <a:pt x="67" y="60"/>
                    <a:pt x="66" y="59"/>
                    <a:pt x="65" y="60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6"/>
                    <a:pt x="56" y="55"/>
                    <a:pt x="54" y="55"/>
                  </a:cubicBezTo>
                  <a:cubicBezTo>
                    <a:pt x="52" y="55"/>
                    <a:pt x="47" y="57"/>
                    <a:pt x="45" y="57"/>
                  </a:cubicBezTo>
                  <a:cubicBezTo>
                    <a:pt x="43" y="57"/>
                    <a:pt x="42" y="56"/>
                    <a:pt x="41" y="55"/>
                  </a:cubicBezTo>
                  <a:cubicBezTo>
                    <a:pt x="40" y="54"/>
                    <a:pt x="36" y="54"/>
                    <a:pt x="36" y="54"/>
                  </a:cubicBezTo>
                  <a:cubicBezTo>
                    <a:pt x="36" y="53"/>
                    <a:pt x="35" y="50"/>
                    <a:pt x="34" y="50"/>
                  </a:cubicBezTo>
                  <a:cubicBezTo>
                    <a:pt x="33" y="50"/>
                    <a:pt x="29" y="50"/>
                    <a:pt x="28" y="49"/>
                  </a:cubicBezTo>
                  <a:cubicBezTo>
                    <a:pt x="26" y="48"/>
                    <a:pt x="23" y="47"/>
                    <a:pt x="22" y="47"/>
                  </a:cubicBezTo>
                  <a:cubicBezTo>
                    <a:pt x="21" y="47"/>
                    <a:pt x="20" y="49"/>
                    <a:pt x="19" y="49"/>
                  </a:cubicBezTo>
                  <a:cubicBezTo>
                    <a:pt x="18" y="48"/>
                    <a:pt x="18" y="45"/>
                    <a:pt x="16" y="44"/>
                  </a:cubicBezTo>
                  <a:cubicBezTo>
                    <a:pt x="15" y="43"/>
                    <a:pt x="10" y="41"/>
                    <a:pt x="10" y="41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8"/>
                    <a:pt x="7" y="37"/>
                    <a:pt x="7" y="37"/>
                  </a:cubicBezTo>
                  <a:cubicBezTo>
                    <a:pt x="7" y="35"/>
                    <a:pt x="4" y="32"/>
                    <a:pt x="4" y="30"/>
                  </a:cubicBezTo>
                  <a:cubicBezTo>
                    <a:pt x="4" y="28"/>
                    <a:pt x="4" y="26"/>
                    <a:pt x="4" y="24"/>
                  </a:cubicBezTo>
                  <a:cubicBezTo>
                    <a:pt x="2" y="23"/>
                    <a:pt x="0" y="21"/>
                    <a:pt x="0" y="20"/>
                  </a:cubicBezTo>
                  <a:cubicBezTo>
                    <a:pt x="0" y="19"/>
                    <a:pt x="2" y="16"/>
                    <a:pt x="2" y="15"/>
                  </a:cubicBezTo>
                  <a:cubicBezTo>
                    <a:pt x="2" y="13"/>
                    <a:pt x="1" y="10"/>
                    <a:pt x="1" y="10"/>
                  </a:cubicBezTo>
                  <a:cubicBezTo>
                    <a:pt x="4" y="9"/>
                    <a:pt x="16" y="7"/>
                    <a:pt x="16" y="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70" name="Freeform 32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6257988" y="3019800"/>
              <a:ext cx="179056" cy="93465"/>
            </a:xfrm>
            <a:custGeom>
              <a:avLst/>
              <a:gdLst>
                <a:gd name="T0" fmla="*/ 0 w 51"/>
                <a:gd name="T1" fmla="*/ 2147483647 h 25"/>
                <a:gd name="T2" fmla="*/ 2147483647 w 51"/>
                <a:gd name="T3" fmla="*/ 2147483647 h 25"/>
                <a:gd name="T4" fmla="*/ 2147483647 w 51"/>
                <a:gd name="T5" fmla="*/ 0 h 25"/>
                <a:gd name="T6" fmla="*/ 2147483647 w 51"/>
                <a:gd name="T7" fmla="*/ 2147483647 h 25"/>
                <a:gd name="T8" fmla="*/ 2147483647 w 51"/>
                <a:gd name="T9" fmla="*/ 2147483647 h 25"/>
                <a:gd name="T10" fmla="*/ 2147483647 w 51"/>
                <a:gd name="T11" fmla="*/ 2147483647 h 25"/>
                <a:gd name="T12" fmla="*/ 2147483647 w 51"/>
                <a:gd name="T13" fmla="*/ 2147483647 h 25"/>
                <a:gd name="T14" fmla="*/ 2147483647 w 51"/>
                <a:gd name="T15" fmla="*/ 2147483647 h 25"/>
                <a:gd name="T16" fmla="*/ 2147483647 w 51"/>
                <a:gd name="T17" fmla="*/ 2147483647 h 25"/>
                <a:gd name="T18" fmla="*/ 2147483647 w 51"/>
                <a:gd name="T19" fmla="*/ 2147483647 h 25"/>
                <a:gd name="T20" fmla="*/ 2147483647 w 51"/>
                <a:gd name="T21" fmla="*/ 2147483647 h 25"/>
                <a:gd name="T22" fmla="*/ 2147483647 w 51"/>
                <a:gd name="T23" fmla="*/ 2147483647 h 25"/>
                <a:gd name="T24" fmla="*/ 2147483647 w 51"/>
                <a:gd name="T25" fmla="*/ 2147483647 h 25"/>
                <a:gd name="T26" fmla="*/ 2147483647 w 51"/>
                <a:gd name="T27" fmla="*/ 2147483647 h 25"/>
                <a:gd name="T28" fmla="*/ 2147483647 w 51"/>
                <a:gd name="T29" fmla="*/ 2147483647 h 25"/>
                <a:gd name="T30" fmla="*/ 2147483647 w 51"/>
                <a:gd name="T31" fmla="*/ 2147483647 h 25"/>
                <a:gd name="T32" fmla="*/ 2147483647 w 51"/>
                <a:gd name="T33" fmla="*/ 2147483647 h 25"/>
                <a:gd name="T34" fmla="*/ 2147483647 w 51"/>
                <a:gd name="T35" fmla="*/ 2147483647 h 25"/>
                <a:gd name="T36" fmla="*/ 0 w 51"/>
                <a:gd name="T37" fmla="*/ 2147483647 h 2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1"/>
                <a:gd name="T58" fmla="*/ 0 h 25"/>
                <a:gd name="T59" fmla="*/ 51 w 51"/>
                <a:gd name="T60" fmla="*/ 25 h 2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1" h="25">
                  <a:moveTo>
                    <a:pt x="0" y="9"/>
                  </a:moveTo>
                  <a:cubicBezTo>
                    <a:pt x="0" y="8"/>
                    <a:pt x="17" y="2"/>
                    <a:pt x="19" y="2"/>
                  </a:cubicBezTo>
                  <a:cubicBezTo>
                    <a:pt x="20" y="2"/>
                    <a:pt x="21" y="1"/>
                    <a:pt x="22" y="0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5" y="2"/>
                    <a:pt x="30" y="4"/>
                    <a:pt x="31" y="5"/>
                  </a:cubicBezTo>
                  <a:cubicBezTo>
                    <a:pt x="33" y="6"/>
                    <a:pt x="33" y="9"/>
                    <a:pt x="34" y="10"/>
                  </a:cubicBezTo>
                  <a:cubicBezTo>
                    <a:pt x="35" y="10"/>
                    <a:pt x="36" y="8"/>
                    <a:pt x="37" y="8"/>
                  </a:cubicBezTo>
                  <a:cubicBezTo>
                    <a:pt x="38" y="8"/>
                    <a:pt x="41" y="9"/>
                    <a:pt x="43" y="10"/>
                  </a:cubicBezTo>
                  <a:cubicBezTo>
                    <a:pt x="44" y="11"/>
                    <a:pt x="48" y="11"/>
                    <a:pt x="49" y="11"/>
                  </a:cubicBezTo>
                  <a:cubicBezTo>
                    <a:pt x="50" y="11"/>
                    <a:pt x="51" y="14"/>
                    <a:pt x="51" y="15"/>
                  </a:cubicBezTo>
                  <a:cubicBezTo>
                    <a:pt x="51" y="16"/>
                    <a:pt x="49" y="17"/>
                    <a:pt x="48" y="17"/>
                  </a:cubicBezTo>
                  <a:cubicBezTo>
                    <a:pt x="48" y="18"/>
                    <a:pt x="45" y="20"/>
                    <a:pt x="43" y="22"/>
                  </a:cubicBezTo>
                  <a:cubicBezTo>
                    <a:pt x="43" y="23"/>
                    <a:pt x="39" y="22"/>
                    <a:pt x="37" y="23"/>
                  </a:cubicBezTo>
                  <a:cubicBezTo>
                    <a:pt x="37" y="23"/>
                    <a:pt x="37" y="23"/>
                    <a:pt x="37" y="24"/>
                  </a:cubicBezTo>
                  <a:cubicBezTo>
                    <a:pt x="36" y="24"/>
                    <a:pt x="31" y="23"/>
                    <a:pt x="29" y="23"/>
                  </a:cubicBezTo>
                  <a:cubicBezTo>
                    <a:pt x="28" y="23"/>
                    <a:pt x="25" y="21"/>
                    <a:pt x="23" y="21"/>
                  </a:cubicBezTo>
                  <a:cubicBezTo>
                    <a:pt x="22" y="21"/>
                    <a:pt x="20" y="25"/>
                    <a:pt x="19" y="25"/>
                  </a:cubicBezTo>
                  <a:cubicBezTo>
                    <a:pt x="17" y="25"/>
                    <a:pt x="13" y="25"/>
                    <a:pt x="13" y="25"/>
                  </a:cubicBezTo>
                  <a:cubicBezTo>
                    <a:pt x="14" y="23"/>
                    <a:pt x="0" y="10"/>
                    <a:pt x="0" y="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71" name="Freeform 32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410288" y="2746594"/>
              <a:ext cx="41162" cy="50327"/>
            </a:xfrm>
            <a:custGeom>
              <a:avLst/>
              <a:gdLst>
                <a:gd name="T0" fmla="*/ 2147483647 w 12"/>
                <a:gd name="T1" fmla="*/ 2147483647 h 14"/>
                <a:gd name="T2" fmla="*/ 2147483647 w 12"/>
                <a:gd name="T3" fmla="*/ 2147483647 h 14"/>
                <a:gd name="T4" fmla="*/ 2147483647 w 12"/>
                <a:gd name="T5" fmla="*/ 2147483647 h 14"/>
                <a:gd name="T6" fmla="*/ 2147483647 w 12"/>
                <a:gd name="T7" fmla="*/ 2147483647 h 14"/>
                <a:gd name="T8" fmla="*/ 2147483647 w 12"/>
                <a:gd name="T9" fmla="*/ 2147483647 h 14"/>
                <a:gd name="T10" fmla="*/ 2147483647 w 12"/>
                <a:gd name="T11" fmla="*/ 2147483647 h 1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14"/>
                <a:gd name="T20" fmla="*/ 12 w 12"/>
                <a:gd name="T21" fmla="*/ 14 h 1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14">
                  <a:moveTo>
                    <a:pt x="1" y="6"/>
                  </a:moveTo>
                  <a:cubicBezTo>
                    <a:pt x="2" y="4"/>
                    <a:pt x="10" y="0"/>
                    <a:pt x="11" y="1"/>
                  </a:cubicBezTo>
                  <a:cubicBezTo>
                    <a:pt x="12" y="1"/>
                    <a:pt x="10" y="4"/>
                    <a:pt x="10" y="5"/>
                  </a:cubicBezTo>
                  <a:cubicBezTo>
                    <a:pt x="9" y="7"/>
                    <a:pt x="8" y="11"/>
                    <a:pt x="7" y="12"/>
                  </a:cubicBezTo>
                  <a:cubicBezTo>
                    <a:pt x="5" y="12"/>
                    <a:pt x="2" y="14"/>
                    <a:pt x="1" y="13"/>
                  </a:cubicBezTo>
                  <a:cubicBezTo>
                    <a:pt x="0" y="12"/>
                    <a:pt x="1" y="8"/>
                    <a:pt x="1" y="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72" name="Freeform 32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6237407" y="2250509"/>
              <a:ext cx="333414" cy="603930"/>
            </a:xfrm>
            <a:custGeom>
              <a:avLst/>
              <a:gdLst>
                <a:gd name="T0" fmla="*/ 0 w 96"/>
                <a:gd name="T1" fmla="*/ 2147483647 h 163"/>
                <a:gd name="T2" fmla="*/ 2147483647 w 96"/>
                <a:gd name="T3" fmla="*/ 2147483647 h 163"/>
                <a:gd name="T4" fmla="*/ 2147483647 w 96"/>
                <a:gd name="T5" fmla="*/ 2147483647 h 163"/>
                <a:gd name="T6" fmla="*/ 2147483647 w 96"/>
                <a:gd name="T7" fmla="*/ 2147483647 h 163"/>
                <a:gd name="T8" fmla="*/ 2147483647 w 96"/>
                <a:gd name="T9" fmla="*/ 2147483647 h 163"/>
                <a:gd name="T10" fmla="*/ 2147483647 w 96"/>
                <a:gd name="T11" fmla="*/ 2147483647 h 163"/>
                <a:gd name="T12" fmla="*/ 2147483647 w 96"/>
                <a:gd name="T13" fmla="*/ 2147483647 h 163"/>
                <a:gd name="T14" fmla="*/ 2147483647 w 96"/>
                <a:gd name="T15" fmla="*/ 2147483647 h 163"/>
                <a:gd name="T16" fmla="*/ 2147483647 w 96"/>
                <a:gd name="T17" fmla="*/ 2147483647 h 163"/>
                <a:gd name="T18" fmla="*/ 2147483647 w 96"/>
                <a:gd name="T19" fmla="*/ 2147483647 h 163"/>
                <a:gd name="T20" fmla="*/ 2147483647 w 96"/>
                <a:gd name="T21" fmla="*/ 2147483647 h 163"/>
                <a:gd name="T22" fmla="*/ 2147483647 w 96"/>
                <a:gd name="T23" fmla="*/ 2147483647 h 163"/>
                <a:gd name="T24" fmla="*/ 2147483647 w 96"/>
                <a:gd name="T25" fmla="*/ 2147483647 h 163"/>
                <a:gd name="T26" fmla="*/ 2147483647 w 96"/>
                <a:gd name="T27" fmla="*/ 2147483647 h 163"/>
                <a:gd name="T28" fmla="*/ 2147483647 w 96"/>
                <a:gd name="T29" fmla="*/ 2147483647 h 163"/>
                <a:gd name="T30" fmla="*/ 2147483647 w 96"/>
                <a:gd name="T31" fmla="*/ 2147483647 h 163"/>
                <a:gd name="T32" fmla="*/ 2147483647 w 96"/>
                <a:gd name="T33" fmla="*/ 2147483647 h 163"/>
                <a:gd name="T34" fmla="*/ 2147483647 w 96"/>
                <a:gd name="T35" fmla="*/ 2147483647 h 163"/>
                <a:gd name="T36" fmla="*/ 2147483647 w 96"/>
                <a:gd name="T37" fmla="*/ 2147483647 h 163"/>
                <a:gd name="T38" fmla="*/ 2147483647 w 96"/>
                <a:gd name="T39" fmla="*/ 2147483647 h 163"/>
                <a:gd name="T40" fmla="*/ 2147483647 w 96"/>
                <a:gd name="T41" fmla="*/ 2147483647 h 163"/>
                <a:gd name="T42" fmla="*/ 2147483647 w 96"/>
                <a:gd name="T43" fmla="*/ 2147483647 h 163"/>
                <a:gd name="T44" fmla="*/ 2147483647 w 96"/>
                <a:gd name="T45" fmla="*/ 0 h 163"/>
                <a:gd name="T46" fmla="*/ 2147483647 w 96"/>
                <a:gd name="T47" fmla="*/ 2147483647 h 163"/>
                <a:gd name="T48" fmla="*/ 2147483647 w 96"/>
                <a:gd name="T49" fmla="*/ 2147483647 h 163"/>
                <a:gd name="T50" fmla="*/ 2147483647 w 96"/>
                <a:gd name="T51" fmla="*/ 2147483647 h 163"/>
                <a:gd name="T52" fmla="*/ 2147483647 w 96"/>
                <a:gd name="T53" fmla="*/ 2147483647 h 163"/>
                <a:gd name="T54" fmla="*/ 2147483647 w 96"/>
                <a:gd name="T55" fmla="*/ 2147483647 h 163"/>
                <a:gd name="T56" fmla="*/ 2147483647 w 96"/>
                <a:gd name="T57" fmla="*/ 2147483647 h 163"/>
                <a:gd name="T58" fmla="*/ 2147483647 w 96"/>
                <a:gd name="T59" fmla="*/ 2147483647 h 163"/>
                <a:gd name="T60" fmla="*/ 2147483647 w 96"/>
                <a:gd name="T61" fmla="*/ 2147483647 h 163"/>
                <a:gd name="T62" fmla="*/ 2147483647 w 96"/>
                <a:gd name="T63" fmla="*/ 2147483647 h 163"/>
                <a:gd name="T64" fmla="*/ 2147483647 w 96"/>
                <a:gd name="T65" fmla="*/ 2147483647 h 163"/>
                <a:gd name="T66" fmla="*/ 2147483647 w 96"/>
                <a:gd name="T67" fmla="*/ 2147483647 h 163"/>
                <a:gd name="T68" fmla="*/ 2147483647 w 96"/>
                <a:gd name="T69" fmla="*/ 2147483647 h 163"/>
                <a:gd name="T70" fmla="*/ 2147483647 w 96"/>
                <a:gd name="T71" fmla="*/ 2147483647 h 163"/>
                <a:gd name="T72" fmla="*/ 2147483647 w 96"/>
                <a:gd name="T73" fmla="*/ 2147483647 h 163"/>
                <a:gd name="T74" fmla="*/ 2147483647 w 96"/>
                <a:gd name="T75" fmla="*/ 2147483647 h 163"/>
                <a:gd name="T76" fmla="*/ 2147483647 w 96"/>
                <a:gd name="T77" fmla="*/ 2147483647 h 163"/>
                <a:gd name="T78" fmla="*/ 2147483647 w 96"/>
                <a:gd name="T79" fmla="*/ 2147483647 h 163"/>
                <a:gd name="T80" fmla="*/ 2147483647 w 96"/>
                <a:gd name="T81" fmla="*/ 2147483647 h 163"/>
                <a:gd name="T82" fmla="*/ 2147483647 w 96"/>
                <a:gd name="T83" fmla="*/ 2147483647 h 163"/>
                <a:gd name="T84" fmla="*/ 2147483647 w 96"/>
                <a:gd name="T85" fmla="*/ 2147483647 h 163"/>
                <a:gd name="T86" fmla="*/ 2147483647 w 96"/>
                <a:gd name="T87" fmla="*/ 2147483647 h 163"/>
                <a:gd name="T88" fmla="*/ 2147483647 w 96"/>
                <a:gd name="T89" fmla="*/ 2147483647 h 163"/>
                <a:gd name="T90" fmla="*/ 2147483647 w 96"/>
                <a:gd name="T91" fmla="*/ 2147483647 h 163"/>
                <a:gd name="T92" fmla="*/ 2147483647 w 96"/>
                <a:gd name="T93" fmla="*/ 2147483647 h 163"/>
                <a:gd name="T94" fmla="*/ 2147483647 w 96"/>
                <a:gd name="T95" fmla="*/ 2147483647 h 163"/>
                <a:gd name="T96" fmla="*/ 2147483647 w 96"/>
                <a:gd name="T97" fmla="*/ 2147483647 h 163"/>
                <a:gd name="T98" fmla="*/ 2147483647 w 96"/>
                <a:gd name="T99" fmla="*/ 2147483647 h 163"/>
                <a:gd name="T100" fmla="*/ 0 w 96"/>
                <a:gd name="T101" fmla="*/ 2147483647 h 163"/>
                <a:gd name="T102" fmla="*/ 0 w 96"/>
                <a:gd name="T103" fmla="*/ 2147483647 h 16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6"/>
                <a:gd name="T157" fmla="*/ 0 h 163"/>
                <a:gd name="T158" fmla="*/ 96 w 96"/>
                <a:gd name="T159" fmla="*/ 163 h 16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6" h="163">
                  <a:moveTo>
                    <a:pt x="0" y="126"/>
                  </a:moveTo>
                  <a:cubicBezTo>
                    <a:pt x="0" y="126"/>
                    <a:pt x="1" y="126"/>
                    <a:pt x="3" y="123"/>
                  </a:cubicBezTo>
                  <a:cubicBezTo>
                    <a:pt x="6" y="120"/>
                    <a:pt x="3" y="115"/>
                    <a:pt x="4" y="114"/>
                  </a:cubicBezTo>
                  <a:cubicBezTo>
                    <a:pt x="6" y="113"/>
                    <a:pt x="9" y="112"/>
                    <a:pt x="9" y="110"/>
                  </a:cubicBezTo>
                  <a:cubicBezTo>
                    <a:pt x="9" y="108"/>
                    <a:pt x="7" y="103"/>
                    <a:pt x="7" y="102"/>
                  </a:cubicBezTo>
                  <a:cubicBezTo>
                    <a:pt x="7" y="101"/>
                    <a:pt x="12" y="100"/>
                    <a:pt x="11" y="97"/>
                  </a:cubicBezTo>
                  <a:cubicBezTo>
                    <a:pt x="11" y="95"/>
                    <a:pt x="5" y="92"/>
                    <a:pt x="6" y="89"/>
                  </a:cubicBezTo>
                  <a:cubicBezTo>
                    <a:pt x="7" y="85"/>
                    <a:pt x="4" y="74"/>
                    <a:pt x="6" y="72"/>
                  </a:cubicBezTo>
                  <a:cubicBezTo>
                    <a:pt x="8" y="70"/>
                    <a:pt x="10" y="66"/>
                    <a:pt x="12" y="66"/>
                  </a:cubicBezTo>
                  <a:cubicBezTo>
                    <a:pt x="13" y="66"/>
                    <a:pt x="18" y="67"/>
                    <a:pt x="19" y="67"/>
                  </a:cubicBezTo>
                  <a:cubicBezTo>
                    <a:pt x="20" y="67"/>
                    <a:pt x="21" y="62"/>
                    <a:pt x="21" y="60"/>
                  </a:cubicBezTo>
                  <a:cubicBezTo>
                    <a:pt x="21" y="58"/>
                    <a:pt x="16" y="57"/>
                    <a:pt x="17" y="56"/>
                  </a:cubicBezTo>
                  <a:cubicBezTo>
                    <a:pt x="18" y="56"/>
                    <a:pt x="23" y="51"/>
                    <a:pt x="24" y="49"/>
                  </a:cubicBezTo>
                  <a:cubicBezTo>
                    <a:pt x="24" y="47"/>
                    <a:pt x="25" y="40"/>
                    <a:pt x="25" y="40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2" y="37"/>
                    <a:pt x="39" y="27"/>
                    <a:pt x="39" y="27"/>
                  </a:cubicBezTo>
                  <a:cubicBezTo>
                    <a:pt x="39" y="26"/>
                    <a:pt x="38" y="22"/>
                    <a:pt x="38" y="22"/>
                  </a:cubicBezTo>
                  <a:cubicBezTo>
                    <a:pt x="38" y="22"/>
                    <a:pt x="44" y="14"/>
                    <a:pt x="45" y="14"/>
                  </a:cubicBezTo>
                  <a:cubicBezTo>
                    <a:pt x="45" y="14"/>
                    <a:pt x="50" y="17"/>
                    <a:pt x="51" y="16"/>
                  </a:cubicBezTo>
                  <a:cubicBezTo>
                    <a:pt x="51" y="15"/>
                    <a:pt x="52" y="8"/>
                    <a:pt x="53" y="8"/>
                  </a:cubicBezTo>
                  <a:cubicBezTo>
                    <a:pt x="54" y="8"/>
                    <a:pt x="65" y="10"/>
                    <a:pt x="66" y="9"/>
                  </a:cubicBezTo>
                  <a:cubicBezTo>
                    <a:pt x="67" y="9"/>
                    <a:pt x="69" y="1"/>
                    <a:pt x="69" y="1"/>
                  </a:cubicBezTo>
                  <a:cubicBezTo>
                    <a:pt x="69" y="1"/>
                    <a:pt x="70" y="1"/>
                    <a:pt x="71" y="0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9" y="11"/>
                    <a:pt x="88" y="13"/>
                    <a:pt x="91" y="15"/>
                  </a:cubicBezTo>
                  <a:cubicBezTo>
                    <a:pt x="94" y="17"/>
                    <a:pt x="92" y="22"/>
                    <a:pt x="94" y="24"/>
                  </a:cubicBezTo>
                  <a:cubicBezTo>
                    <a:pt x="95" y="26"/>
                    <a:pt x="96" y="33"/>
                    <a:pt x="96" y="35"/>
                  </a:cubicBezTo>
                  <a:cubicBezTo>
                    <a:pt x="96" y="37"/>
                    <a:pt x="95" y="42"/>
                    <a:pt x="95" y="43"/>
                  </a:cubicBezTo>
                  <a:cubicBezTo>
                    <a:pt x="92" y="43"/>
                    <a:pt x="84" y="45"/>
                    <a:pt x="83" y="46"/>
                  </a:cubicBezTo>
                  <a:cubicBezTo>
                    <a:pt x="83" y="46"/>
                    <a:pt x="79" y="49"/>
                    <a:pt x="78" y="50"/>
                  </a:cubicBezTo>
                  <a:cubicBezTo>
                    <a:pt x="77" y="51"/>
                    <a:pt x="75" y="55"/>
                    <a:pt x="74" y="55"/>
                  </a:cubicBezTo>
                  <a:cubicBezTo>
                    <a:pt x="74" y="56"/>
                    <a:pt x="79" y="60"/>
                    <a:pt x="77" y="60"/>
                  </a:cubicBezTo>
                  <a:cubicBezTo>
                    <a:pt x="76" y="61"/>
                    <a:pt x="72" y="66"/>
                    <a:pt x="70" y="67"/>
                  </a:cubicBezTo>
                  <a:cubicBezTo>
                    <a:pt x="68" y="68"/>
                    <a:pt x="56" y="75"/>
                    <a:pt x="55" y="77"/>
                  </a:cubicBezTo>
                  <a:cubicBezTo>
                    <a:pt x="53" y="79"/>
                    <a:pt x="47" y="86"/>
                    <a:pt x="46" y="90"/>
                  </a:cubicBezTo>
                  <a:cubicBezTo>
                    <a:pt x="44" y="93"/>
                    <a:pt x="44" y="101"/>
                    <a:pt x="45" y="103"/>
                  </a:cubicBezTo>
                  <a:cubicBezTo>
                    <a:pt x="46" y="105"/>
                    <a:pt x="49" y="107"/>
                    <a:pt x="52" y="108"/>
                  </a:cubicBezTo>
                  <a:cubicBezTo>
                    <a:pt x="54" y="108"/>
                    <a:pt x="59" y="113"/>
                    <a:pt x="60" y="114"/>
                  </a:cubicBezTo>
                  <a:cubicBezTo>
                    <a:pt x="60" y="115"/>
                    <a:pt x="59" y="119"/>
                    <a:pt x="57" y="119"/>
                  </a:cubicBezTo>
                  <a:cubicBezTo>
                    <a:pt x="55" y="120"/>
                    <a:pt x="53" y="125"/>
                    <a:pt x="51" y="125"/>
                  </a:cubicBezTo>
                  <a:cubicBezTo>
                    <a:pt x="49" y="125"/>
                    <a:pt x="43" y="127"/>
                    <a:pt x="42" y="128"/>
                  </a:cubicBezTo>
                  <a:cubicBezTo>
                    <a:pt x="41" y="129"/>
                    <a:pt x="42" y="136"/>
                    <a:pt x="41" y="138"/>
                  </a:cubicBezTo>
                  <a:cubicBezTo>
                    <a:pt x="40" y="141"/>
                    <a:pt x="36" y="151"/>
                    <a:pt x="35" y="153"/>
                  </a:cubicBezTo>
                  <a:cubicBezTo>
                    <a:pt x="34" y="155"/>
                    <a:pt x="34" y="155"/>
                    <a:pt x="33" y="156"/>
                  </a:cubicBezTo>
                  <a:cubicBezTo>
                    <a:pt x="33" y="157"/>
                    <a:pt x="26" y="155"/>
                    <a:pt x="24" y="156"/>
                  </a:cubicBezTo>
                  <a:cubicBezTo>
                    <a:pt x="21" y="158"/>
                    <a:pt x="23" y="162"/>
                    <a:pt x="23" y="162"/>
                  </a:cubicBezTo>
                  <a:cubicBezTo>
                    <a:pt x="22" y="162"/>
                    <a:pt x="15" y="163"/>
                    <a:pt x="14" y="162"/>
                  </a:cubicBezTo>
                  <a:cubicBezTo>
                    <a:pt x="12" y="160"/>
                    <a:pt x="10" y="155"/>
                    <a:pt x="11" y="154"/>
                  </a:cubicBezTo>
                  <a:cubicBezTo>
                    <a:pt x="12" y="152"/>
                    <a:pt x="14" y="150"/>
                    <a:pt x="12" y="149"/>
                  </a:cubicBezTo>
                  <a:cubicBezTo>
                    <a:pt x="10" y="147"/>
                    <a:pt x="7" y="144"/>
                    <a:pt x="6" y="142"/>
                  </a:cubicBezTo>
                  <a:cubicBezTo>
                    <a:pt x="5" y="140"/>
                    <a:pt x="0" y="130"/>
                    <a:pt x="0" y="127"/>
                  </a:cubicBezTo>
                  <a:cubicBezTo>
                    <a:pt x="0" y="127"/>
                    <a:pt x="0" y="127"/>
                    <a:pt x="0" y="126"/>
                  </a:cubicBezTo>
                  <a:close/>
                </a:path>
              </a:pathLst>
            </a:custGeom>
            <a:solidFill>
              <a:srgbClr val="006487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73" name="Freeform 32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6290918" y="3170783"/>
              <a:ext cx="82324" cy="55121"/>
            </a:xfrm>
            <a:custGeom>
              <a:avLst/>
              <a:gdLst>
                <a:gd name="T0" fmla="*/ 0 w 23"/>
                <a:gd name="T1" fmla="*/ 2147483647 h 15"/>
                <a:gd name="T2" fmla="*/ 2147483647 w 23"/>
                <a:gd name="T3" fmla="*/ 2147483647 h 15"/>
                <a:gd name="T4" fmla="*/ 2147483647 w 23"/>
                <a:gd name="T5" fmla="*/ 2147483647 h 15"/>
                <a:gd name="T6" fmla="*/ 2147483647 w 23"/>
                <a:gd name="T7" fmla="*/ 2147483647 h 15"/>
                <a:gd name="T8" fmla="*/ 2147483647 w 23"/>
                <a:gd name="T9" fmla="*/ 0 h 15"/>
                <a:gd name="T10" fmla="*/ 2147483647 w 23"/>
                <a:gd name="T11" fmla="*/ 2147483647 h 15"/>
                <a:gd name="T12" fmla="*/ 2147483647 w 23"/>
                <a:gd name="T13" fmla="*/ 2147483647 h 15"/>
                <a:gd name="T14" fmla="*/ 2147483647 w 23"/>
                <a:gd name="T15" fmla="*/ 2147483647 h 15"/>
                <a:gd name="T16" fmla="*/ 2147483647 w 23"/>
                <a:gd name="T17" fmla="*/ 2147483647 h 15"/>
                <a:gd name="T18" fmla="*/ 2147483647 w 23"/>
                <a:gd name="T19" fmla="*/ 2147483647 h 15"/>
                <a:gd name="T20" fmla="*/ 2147483647 w 23"/>
                <a:gd name="T21" fmla="*/ 2147483647 h 15"/>
                <a:gd name="T22" fmla="*/ 2147483647 w 23"/>
                <a:gd name="T23" fmla="*/ 2147483647 h 15"/>
                <a:gd name="T24" fmla="*/ 0 w 23"/>
                <a:gd name="T25" fmla="*/ 2147483647 h 1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3"/>
                <a:gd name="T40" fmla="*/ 0 h 15"/>
                <a:gd name="T41" fmla="*/ 23 w 23"/>
                <a:gd name="T42" fmla="*/ 15 h 1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3" h="15">
                  <a:moveTo>
                    <a:pt x="0" y="11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5" y="4"/>
                    <a:pt x="8" y="5"/>
                    <a:pt x="8" y="5"/>
                  </a:cubicBezTo>
                  <a:cubicBezTo>
                    <a:pt x="9" y="5"/>
                    <a:pt x="12" y="2"/>
                    <a:pt x="14" y="2"/>
                  </a:cubicBezTo>
                  <a:cubicBezTo>
                    <a:pt x="16" y="2"/>
                    <a:pt x="20" y="1"/>
                    <a:pt x="21" y="0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9" y="7"/>
                    <a:pt x="17" y="8"/>
                    <a:pt x="17" y="9"/>
                  </a:cubicBezTo>
                  <a:cubicBezTo>
                    <a:pt x="17" y="10"/>
                    <a:pt x="15" y="12"/>
                    <a:pt x="14" y="14"/>
                  </a:cubicBezTo>
                  <a:cubicBezTo>
                    <a:pt x="14" y="15"/>
                    <a:pt x="10" y="14"/>
                    <a:pt x="9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3"/>
                    <a:pt x="3" y="12"/>
                    <a:pt x="3" y="12"/>
                  </a:cubicBezTo>
                  <a:cubicBezTo>
                    <a:pt x="3" y="11"/>
                    <a:pt x="1" y="11"/>
                    <a:pt x="0" y="1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74" name="Freeform 328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6185954" y="3096490"/>
              <a:ext cx="203753" cy="91069"/>
            </a:xfrm>
            <a:custGeom>
              <a:avLst/>
              <a:gdLst>
                <a:gd name="T0" fmla="*/ 2147483647 w 58"/>
                <a:gd name="T1" fmla="*/ 2147483647 h 25"/>
                <a:gd name="T2" fmla="*/ 0 w 58"/>
                <a:gd name="T3" fmla="*/ 2147483647 h 25"/>
                <a:gd name="T4" fmla="*/ 2147483647 w 58"/>
                <a:gd name="T5" fmla="*/ 2147483647 h 25"/>
                <a:gd name="T6" fmla="*/ 2147483647 w 58"/>
                <a:gd name="T7" fmla="*/ 2147483647 h 25"/>
                <a:gd name="T8" fmla="*/ 2147483647 w 58"/>
                <a:gd name="T9" fmla="*/ 2147483647 h 25"/>
                <a:gd name="T10" fmla="*/ 2147483647 w 58"/>
                <a:gd name="T11" fmla="*/ 2147483647 h 25"/>
                <a:gd name="T12" fmla="*/ 2147483647 w 58"/>
                <a:gd name="T13" fmla="*/ 2147483647 h 25"/>
                <a:gd name="T14" fmla="*/ 2147483647 w 58"/>
                <a:gd name="T15" fmla="*/ 2147483647 h 25"/>
                <a:gd name="T16" fmla="*/ 2147483647 w 58"/>
                <a:gd name="T17" fmla="*/ 2147483647 h 25"/>
                <a:gd name="T18" fmla="*/ 2147483647 w 58"/>
                <a:gd name="T19" fmla="*/ 2147483647 h 25"/>
                <a:gd name="T20" fmla="*/ 2147483647 w 58"/>
                <a:gd name="T21" fmla="*/ 0 h 25"/>
                <a:gd name="T22" fmla="*/ 2147483647 w 58"/>
                <a:gd name="T23" fmla="*/ 2147483647 h 25"/>
                <a:gd name="T24" fmla="*/ 2147483647 w 58"/>
                <a:gd name="T25" fmla="*/ 2147483647 h 25"/>
                <a:gd name="T26" fmla="*/ 2147483647 w 58"/>
                <a:gd name="T27" fmla="*/ 2147483647 h 25"/>
                <a:gd name="T28" fmla="*/ 2147483647 w 58"/>
                <a:gd name="T29" fmla="*/ 2147483647 h 25"/>
                <a:gd name="T30" fmla="*/ 2147483647 w 58"/>
                <a:gd name="T31" fmla="*/ 2147483647 h 25"/>
                <a:gd name="T32" fmla="*/ 2147483647 w 58"/>
                <a:gd name="T33" fmla="*/ 2147483647 h 25"/>
                <a:gd name="T34" fmla="*/ 2147483647 w 58"/>
                <a:gd name="T35" fmla="*/ 2147483647 h 25"/>
                <a:gd name="T36" fmla="*/ 2147483647 w 58"/>
                <a:gd name="T37" fmla="*/ 2147483647 h 25"/>
                <a:gd name="T38" fmla="*/ 2147483647 w 58"/>
                <a:gd name="T39" fmla="*/ 2147483647 h 25"/>
                <a:gd name="T40" fmla="*/ 2147483647 w 58"/>
                <a:gd name="T41" fmla="*/ 2147483647 h 25"/>
                <a:gd name="T42" fmla="*/ 2147483647 w 58"/>
                <a:gd name="T43" fmla="*/ 2147483647 h 25"/>
                <a:gd name="T44" fmla="*/ 2147483647 w 58"/>
                <a:gd name="T45" fmla="*/ 2147483647 h 25"/>
                <a:gd name="T46" fmla="*/ 2147483647 w 58"/>
                <a:gd name="T47" fmla="*/ 2147483647 h 25"/>
                <a:gd name="T48" fmla="*/ 2147483647 w 58"/>
                <a:gd name="T49" fmla="*/ 2147483647 h 25"/>
                <a:gd name="T50" fmla="*/ 2147483647 w 58"/>
                <a:gd name="T51" fmla="*/ 2147483647 h 25"/>
                <a:gd name="T52" fmla="*/ 2147483647 w 58"/>
                <a:gd name="T53" fmla="*/ 2147483647 h 25"/>
                <a:gd name="T54" fmla="*/ 2147483647 w 58"/>
                <a:gd name="T55" fmla="*/ 2147483647 h 25"/>
                <a:gd name="T56" fmla="*/ 2147483647 w 58"/>
                <a:gd name="T57" fmla="*/ 2147483647 h 2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8"/>
                <a:gd name="T88" fmla="*/ 0 h 25"/>
                <a:gd name="T89" fmla="*/ 58 w 58"/>
                <a:gd name="T90" fmla="*/ 25 h 2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8" h="25">
                  <a:moveTo>
                    <a:pt x="6" y="20"/>
                  </a:moveTo>
                  <a:cubicBezTo>
                    <a:pt x="5" y="20"/>
                    <a:pt x="1" y="19"/>
                    <a:pt x="0" y="19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4"/>
                    <a:pt x="2" y="14"/>
                    <a:pt x="3" y="14"/>
                  </a:cubicBezTo>
                  <a:cubicBezTo>
                    <a:pt x="4" y="14"/>
                    <a:pt x="5" y="15"/>
                    <a:pt x="7" y="15"/>
                  </a:cubicBezTo>
                  <a:cubicBezTo>
                    <a:pt x="9" y="15"/>
                    <a:pt x="14" y="13"/>
                    <a:pt x="15" y="13"/>
                  </a:cubicBezTo>
                  <a:cubicBezTo>
                    <a:pt x="16" y="13"/>
                    <a:pt x="23" y="12"/>
                    <a:pt x="24" y="12"/>
                  </a:cubicBezTo>
                  <a:cubicBezTo>
                    <a:pt x="28" y="15"/>
                    <a:pt x="26" y="8"/>
                    <a:pt x="27" y="7"/>
                  </a:cubicBezTo>
                  <a:cubicBezTo>
                    <a:pt x="29" y="6"/>
                    <a:pt x="32" y="5"/>
                    <a:pt x="33" y="4"/>
                  </a:cubicBezTo>
                  <a:cubicBezTo>
                    <a:pt x="33" y="4"/>
                    <a:pt x="37" y="4"/>
                    <a:pt x="39" y="4"/>
                  </a:cubicBezTo>
                  <a:cubicBezTo>
                    <a:pt x="40" y="4"/>
                    <a:pt x="42" y="0"/>
                    <a:pt x="43" y="0"/>
                  </a:cubicBezTo>
                  <a:cubicBezTo>
                    <a:pt x="45" y="0"/>
                    <a:pt x="48" y="2"/>
                    <a:pt x="49" y="2"/>
                  </a:cubicBezTo>
                  <a:cubicBezTo>
                    <a:pt x="51" y="2"/>
                    <a:pt x="56" y="3"/>
                    <a:pt x="57" y="3"/>
                  </a:cubicBezTo>
                  <a:cubicBezTo>
                    <a:pt x="57" y="4"/>
                    <a:pt x="57" y="7"/>
                    <a:pt x="58" y="8"/>
                  </a:cubicBezTo>
                  <a:cubicBezTo>
                    <a:pt x="58" y="8"/>
                    <a:pt x="58" y="9"/>
                    <a:pt x="58" y="9"/>
                  </a:cubicBezTo>
                  <a:cubicBezTo>
                    <a:pt x="58" y="11"/>
                    <a:pt x="58" y="12"/>
                    <a:pt x="57" y="13"/>
                  </a:cubicBezTo>
                  <a:cubicBezTo>
                    <a:pt x="57" y="13"/>
                    <a:pt x="55" y="12"/>
                    <a:pt x="54" y="12"/>
                  </a:cubicBezTo>
                  <a:cubicBezTo>
                    <a:pt x="53" y="13"/>
                    <a:pt x="53" y="15"/>
                    <a:pt x="53" y="17"/>
                  </a:cubicBezTo>
                  <a:cubicBezTo>
                    <a:pt x="53" y="18"/>
                    <a:pt x="52" y="20"/>
                    <a:pt x="51" y="20"/>
                  </a:cubicBezTo>
                  <a:cubicBezTo>
                    <a:pt x="50" y="21"/>
                    <a:pt x="46" y="22"/>
                    <a:pt x="44" y="22"/>
                  </a:cubicBezTo>
                  <a:cubicBezTo>
                    <a:pt x="42" y="22"/>
                    <a:pt x="39" y="25"/>
                    <a:pt x="38" y="25"/>
                  </a:cubicBezTo>
                  <a:cubicBezTo>
                    <a:pt x="38" y="25"/>
                    <a:pt x="35" y="24"/>
                    <a:pt x="31" y="24"/>
                  </a:cubicBezTo>
                  <a:cubicBezTo>
                    <a:pt x="28" y="23"/>
                    <a:pt x="25" y="23"/>
                    <a:pt x="24" y="23"/>
                  </a:cubicBezTo>
                  <a:cubicBezTo>
                    <a:pt x="23" y="22"/>
                    <a:pt x="21" y="20"/>
                    <a:pt x="20" y="19"/>
                  </a:cubicBezTo>
                  <a:cubicBezTo>
                    <a:pt x="19" y="19"/>
                    <a:pt x="15" y="19"/>
                    <a:pt x="15" y="19"/>
                  </a:cubicBezTo>
                  <a:cubicBezTo>
                    <a:pt x="13" y="19"/>
                    <a:pt x="12" y="22"/>
                    <a:pt x="1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1"/>
                    <a:pt x="6" y="20"/>
                    <a:pt x="6" y="20"/>
                  </a:cubicBezTo>
                  <a:close/>
                </a:path>
              </a:pathLst>
            </a:custGeom>
            <a:solidFill>
              <a:srgbClr val="006487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75" name="Freeform 329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6208593" y="2832870"/>
              <a:ext cx="51453" cy="55121"/>
            </a:xfrm>
            <a:custGeom>
              <a:avLst/>
              <a:gdLst>
                <a:gd name="T0" fmla="*/ 2147483647 w 14"/>
                <a:gd name="T1" fmla="*/ 2147483647 h 15"/>
                <a:gd name="T2" fmla="*/ 0 w 14"/>
                <a:gd name="T3" fmla="*/ 2147483647 h 15"/>
                <a:gd name="T4" fmla="*/ 2147483647 w 14"/>
                <a:gd name="T5" fmla="*/ 2147483647 h 15"/>
                <a:gd name="T6" fmla="*/ 2147483647 w 14"/>
                <a:gd name="T7" fmla="*/ 0 h 15"/>
                <a:gd name="T8" fmla="*/ 2147483647 w 14"/>
                <a:gd name="T9" fmla="*/ 2147483647 h 15"/>
                <a:gd name="T10" fmla="*/ 2147483647 w 14"/>
                <a:gd name="T11" fmla="*/ 2147483647 h 15"/>
                <a:gd name="T12" fmla="*/ 2147483647 w 14"/>
                <a:gd name="T13" fmla="*/ 2147483647 h 15"/>
                <a:gd name="T14" fmla="*/ 2147483647 w 14"/>
                <a:gd name="T15" fmla="*/ 2147483647 h 15"/>
                <a:gd name="T16" fmla="*/ 2147483647 w 14"/>
                <a:gd name="T17" fmla="*/ 2147483647 h 15"/>
                <a:gd name="T18" fmla="*/ 2147483647 w 14"/>
                <a:gd name="T19" fmla="*/ 2147483647 h 15"/>
                <a:gd name="T20" fmla="*/ 2147483647 w 14"/>
                <a:gd name="T21" fmla="*/ 2147483647 h 1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"/>
                <a:gd name="T34" fmla="*/ 0 h 15"/>
                <a:gd name="T35" fmla="*/ 14 w 14"/>
                <a:gd name="T36" fmla="*/ 15 h 1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" h="15">
                  <a:moveTo>
                    <a:pt x="1" y="9"/>
                  </a:moveTo>
                  <a:cubicBezTo>
                    <a:pt x="0" y="9"/>
                    <a:pt x="0" y="5"/>
                    <a:pt x="0" y="5"/>
                  </a:cubicBezTo>
                  <a:cubicBezTo>
                    <a:pt x="0" y="4"/>
                    <a:pt x="6" y="2"/>
                    <a:pt x="7" y="2"/>
                  </a:cubicBezTo>
                  <a:cubicBezTo>
                    <a:pt x="8" y="1"/>
                    <a:pt x="10" y="0"/>
                    <a:pt x="11" y="0"/>
                  </a:cubicBezTo>
                  <a:cubicBezTo>
                    <a:pt x="13" y="0"/>
                    <a:pt x="12" y="4"/>
                    <a:pt x="13" y="5"/>
                  </a:cubicBezTo>
                  <a:cubicBezTo>
                    <a:pt x="14" y="6"/>
                    <a:pt x="11" y="5"/>
                    <a:pt x="11" y="6"/>
                  </a:cubicBezTo>
                  <a:cubicBezTo>
                    <a:pt x="11" y="7"/>
                    <a:pt x="13" y="9"/>
                    <a:pt x="13" y="9"/>
                  </a:cubicBezTo>
                  <a:cubicBezTo>
                    <a:pt x="14" y="10"/>
                    <a:pt x="12" y="12"/>
                    <a:pt x="11" y="13"/>
                  </a:cubicBezTo>
                  <a:cubicBezTo>
                    <a:pt x="10" y="13"/>
                    <a:pt x="11" y="15"/>
                    <a:pt x="10" y="14"/>
                  </a:cubicBezTo>
                  <a:cubicBezTo>
                    <a:pt x="9" y="14"/>
                    <a:pt x="8" y="10"/>
                    <a:pt x="7" y="10"/>
                  </a:cubicBezTo>
                  <a:cubicBezTo>
                    <a:pt x="6" y="10"/>
                    <a:pt x="2" y="10"/>
                    <a:pt x="1" y="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76" name="Freeform 330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6146850" y="2763370"/>
              <a:ext cx="78208" cy="112638"/>
            </a:xfrm>
            <a:custGeom>
              <a:avLst/>
              <a:gdLst>
                <a:gd name="T0" fmla="*/ 0 w 22"/>
                <a:gd name="T1" fmla="*/ 2147483647 h 30"/>
                <a:gd name="T2" fmla="*/ 2147483647 w 22"/>
                <a:gd name="T3" fmla="*/ 2147483647 h 30"/>
                <a:gd name="T4" fmla="*/ 2147483647 w 22"/>
                <a:gd name="T5" fmla="*/ 2147483647 h 30"/>
                <a:gd name="T6" fmla="*/ 2147483647 w 22"/>
                <a:gd name="T7" fmla="*/ 0 h 30"/>
                <a:gd name="T8" fmla="*/ 2147483647 w 22"/>
                <a:gd name="T9" fmla="*/ 2147483647 h 30"/>
                <a:gd name="T10" fmla="*/ 2147483647 w 22"/>
                <a:gd name="T11" fmla="*/ 2147483647 h 30"/>
                <a:gd name="T12" fmla="*/ 2147483647 w 22"/>
                <a:gd name="T13" fmla="*/ 2147483647 h 30"/>
                <a:gd name="T14" fmla="*/ 2147483647 w 22"/>
                <a:gd name="T15" fmla="*/ 2147483647 h 30"/>
                <a:gd name="T16" fmla="*/ 2147483647 w 22"/>
                <a:gd name="T17" fmla="*/ 2147483647 h 30"/>
                <a:gd name="T18" fmla="*/ 2147483647 w 22"/>
                <a:gd name="T19" fmla="*/ 2147483647 h 30"/>
                <a:gd name="T20" fmla="*/ 2147483647 w 22"/>
                <a:gd name="T21" fmla="*/ 2147483647 h 30"/>
                <a:gd name="T22" fmla="*/ 2147483647 w 22"/>
                <a:gd name="T23" fmla="*/ 2147483647 h 30"/>
                <a:gd name="T24" fmla="*/ 0 w 22"/>
                <a:gd name="T25" fmla="*/ 2147483647 h 3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"/>
                <a:gd name="T40" fmla="*/ 0 h 30"/>
                <a:gd name="T41" fmla="*/ 22 w 22"/>
                <a:gd name="T42" fmla="*/ 30 h 3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" h="30">
                  <a:moveTo>
                    <a:pt x="0" y="21"/>
                  </a:moveTo>
                  <a:cubicBezTo>
                    <a:pt x="0" y="18"/>
                    <a:pt x="0" y="8"/>
                    <a:pt x="2" y="7"/>
                  </a:cubicBezTo>
                  <a:cubicBezTo>
                    <a:pt x="4" y="6"/>
                    <a:pt x="10" y="6"/>
                    <a:pt x="11" y="5"/>
                  </a:cubicBezTo>
                  <a:cubicBezTo>
                    <a:pt x="12" y="4"/>
                    <a:pt x="13" y="0"/>
                    <a:pt x="15" y="0"/>
                  </a:cubicBezTo>
                  <a:cubicBezTo>
                    <a:pt x="16" y="0"/>
                    <a:pt x="19" y="0"/>
                    <a:pt x="19" y="2"/>
                  </a:cubicBezTo>
                  <a:cubicBezTo>
                    <a:pt x="19" y="3"/>
                    <a:pt x="16" y="9"/>
                    <a:pt x="16" y="10"/>
                  </a:cubicBezTo>
                  <a:cubicBezTo>
                    <a:pt x="17" y="11"/>
                    <a:pt x="22" y="14"/>
                    <a:pt x="22" y="15"/>
                  </a:cubicBezTo>
                  <a:cubicBezTo>
                    <a:pt x="21" y="16"/>
                    <a:pt x="14" y="18"/>
                    <a:pt x="13" y="20"/>
                  </a:cubicBezTo>
                  <a:cubicBezTo>
                    <a:pt x="13" y="21"/>
                    <a:pt x="11" y="25"/>
                    <a:pt x="11" y="26"/>
                  </a:cubicBezTo>
                  <a:cubicBezTo>
                    <a:pt x="11" y="27"/>
                    <a:pt x="12" y="28"/>
                    <a:pt x="13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28"/>
                    <a:pt x="5" y="26"/>
                    <a:pt x="4" y="25"/>
                  </a:cubicBezTo>
                  <a:cubicBezTo>
                    <a:pt x="3" y="23"/>
                    <a:pt x="0" y="23"/>
                    <a:pt x="0" y="2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77" name="Freeform 331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6093339" y="3139627"/>
              <a:ext cx="115254" cy="71896"/>
            </a:xfrm>
            <a:custGeom>
              <a:avLst/>
              <a:gdLst>
                <a:gd name="T0" fmla="*/ 2147483647 w 34"/>
                <a:gd name="T1" fmla="*/ 2147483647 h 19"/>
                <a:gd name="T2" fmla="*/ 0 w 34"/>
                <a:gd name="T3" fmla="*/ 2147483647 h 19"/>
                <a:gd name="T4" fmla="*/ 2147483647 w 34"/>
                <a:gd name="T5" fmla="*/ 2147483647 h 19"/>
                <a:gd name="T6" fmla="*/ 2147483647 w 34"/>
                <a:gd name="T7" fmla="*/ 2147483647 h 19"/>
                <a:gd name="T8" fmla="*/ 2147483647 w 34"/>
                <a:gd name="T9" fmla="*/ 2147483647 h 19"/>
                <a:gd name="T10" fmla="*/ 2147483647 w 34"/>
                <a:gd name="T11" fmla="*/ 2147483647 h 19"/>
                <a:gd name="T12" fmla="*/ 2147483647 w 34"/>
                <a:gd name="T13" fmla="*/ 0 h 19"/>
                <a:gd name="T14" fmla="*/ 2147483647 w 34"/>
                <a:gd name="T15" fmla="*/ 2147483647 h 19"/>
                <a:gd name="T16" fmla="*/ 2147483647 w 34"/>
                <a:gd name="T17" fmla="*/ 2147483647 h 19"/>
                <a:gd name="T18" fmla="*/ 2147483647 w 34"/>
                <a:gd name="T19" fmla="*/ 2147483647 h 19"/>
                <a:gd name="T20" fmla="*/ 2147483647 w 34"/>
                <a:gd name="T21" fmla="*/ 2147483647 h 19"/>
                <a:gd name="T22" fmla="*/ 2147483647 w 34"/>
                <a:gd name="T23" fmla="*/ 2147483647 h 19"/>
                <a:gd name="T24" fmla="*/ 2147483647 w 34"/>
                <a:gd name="T25" fmla="*/ 2147483647 h 19"/>
                <a:gd name="T26" fmla="*/ 2147483647 w 34"/>
                <a:gd name="T27" fmla="*/ 2147483647 h 19"/>
                <a:gd name="T28" fmla="*/ 2147483647 w 34"/>
                <a:gd name="T29" fmla="*/ 2147483647 h 19"/>
                <a:gd name="T30" fmla="*/ 2147483647 w 34"/>
                <a:gd name="T31" fmla="*/ 2147483647 h 19"/>
                <a:gd name="T32" fmla="*/ 2147483647 w 34"/>
                <a:gd name="T33" fmla="*/ 2147483647 h 19"/>
                <a:gd name="T34" fmla="*/ 2147483647 w 34"/>
                <a:gd name="T35" fmla="*/ 2147483647 h 19"/>
                <a:gd name="T36" fmla="*/ 2147483647 w 34"/>
                <a:gd name="T37" fmla="*/ 2147483647 h 19"/>
                <a:gd name="T38" fmla="*/ 2147483647 w 34"/>
                <a:gd name="T39" fmla="*/ 2147483647 h 1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4"/>
                <a:gd name="T61" fmla="*/ 0 h 19"/>
                <a:gd name="T62" fmla="*/ 34 w 34"/>
                <a:gd name="T63" fmla="*/ 19 h 1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4" h="19">
                  <a:moveTo>
                    <a:pt x="6" y="14"/>
                  </a:moveTo>
                  <a:cubicBezTo>
                    <a:pt x="5" y="14"/>
                    <a:pt x="0" y="15"/>
                    <a:pt x="0" y="13"/>
                  </a:cubicBezTo>
                  <a:cubicBezTo>
                    <a:pt x="0" y="12"/>
                    <a:pt x="3" y="7"/>
                    <a:pt x="5" y="6"/>
                  </a:cubicBezTo>
                  <a:cubicBezTo>
                    <a:pt x="7" y="5"/>
                    <a:pt x="11" y="3"/>
                    <a:pt x="12" y="2"/>
                  </a:cubicBezTo>
                  <a:cubicBezTo>
                    <a:pt x="12" y="2"/>
                    <a:pt x="12" y="1"/>
                    <a:pt x="12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1"/>
                    <a:pt x="20" y="0"/>
                    <a:pt x="21" y="0"/>
                  </a:cubicBezTo>
                  <a:cubicBezTo>
                    <a:pt x="22" y="0"/>
                    <a:pt x="26" y="1"/>
                    <a:pt x="28" y="1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8" y="7"/>
                    <a:pt x="32" y="8"/>
                    <a:pt x="33" y="8"/>
                  </a:cubicBezTo>
                  <a:cubicBezTo>
                    <a:pt x="33" y="8"/>
                    <a:pt x="34" y="9"/>
                    <a:pt x="34" y="10"/>
                  </a:cubicBezTo>
                  <a:cubicBezTo>
                    <a:pt x="34" y="10"/>
                    <a:pt x="34" y="11"/>
                    <a:pt x="34" y="11"/>
                  </a:cubicBezTo>
                  <a:cubicBezTo>
                    <a:pt x="34" y="12"/>
                    <a:pt x="32" y="14"/>
                    <a:pt x="32" y="14"/>
                  </a:cubicBezTo>
                  <a:cubicBezTo>
                    <a:pt x="31" y="15"/>
                    <a:pt x="28" y="12"/>
                    <a:pt x="27" y="12"/>
                  </a:cubicBezTo>
                  <a:cubicBezTo>
                    <a:pt x="26" y="12"/>
                    <a:pt x="24" y="18"/>
                    <a:pt x="23" y="19"/>
                  </a:cubicBezTo>
                  <a:cubicBezTo>
                    <a:pt x="22" y="19"/>
                    <a:pt x="20" y="12"/>
                    <a:pt x="18" y="12"/>
                  </a:cubicBezTo>
                  <a:cubicBezTo>
                    <a:pt x="18" y="12"/>
                    <a:pt x="16" y="16"/>
                    <a:pt x="15" y="17"/>
                  </a:cubicBezTo>
                  <a:cubicBezTo>
                    <a:pt x="14" y="18"/>
                    <a:pt x="12" y="18"/>
                    <a:pt x="12" y="1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6"/>
                    <a:pt x="8" y="15"/>
                    <a:pt x="6" y="1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78" name="Freeform 332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6105688" y="3168386"/>
              <a:ext cx="323123" cy="352292"/>
            </a:xfrm>
            <a:custGeom>
              <a:avLst/>
              <a:gdLst>
                <a:gd name="T0" fmla="*/ 2147483647 w 92"/>
                <a:gd name="T1" fmla="*/ 2147483647 h 96"/>
                <a:gd name="T2" fmla="*/ 2147483647 w 92"/>
                <a:gd name="T3" fmla="*/ 2147483647 h 96"/>
                <a:gd name="T4" fmla="*/ 2147483647 w 92"/>
                <a:gd name="T5" fmla="*/ 2147483647 h 96"/>
                <a:gd name="T6" fmla="*/ 2147483647 w 92"/>
                <a:gd name="T7" fmla="*/ 2147483647 h 96"/>
                <a:gd name="T8" fmla="*/ 2147483647 w 92"/>
                <a:gd name="T9" fmla="*/ 2147483647 h 96"/>
                <a:gd name="T10" fmla="*/ 2147483647 w 92"/>
                <a:gd name="T11" fmla="*/ 2147483647 h 96"/>
                <a:gd name="T12" fmla="*/ 2147483647 w 92"/>
                <a:gd name="T13" fmla="*/ 2147483647 h 96"/>
                <a:gd name="T14" fmla="*/ 2147483647 w 92"/>
                <a:gd name="T15" fmla="*/ 2147483647 h 96"/>
                <a:gd name="T16" fmla="*/ 2147483647 w 92"/>
                <a:gd name="T17" fmla="*/ 2147483647 h 96"/>
                <a:gd name="T18" fmla="*/ 2147483647 w 92"/>
                <a:gd name="T19" fmla="*/ 2147483647 h 96"/>
                <a:gd name="T20" fmla="*/ 2147483647 w 92"/>
                <a:gd name="T21" fmla="*/ 2147483647 h 96"/>
                <a:gd name="T22" fmla="*/ 2147483647 w 92"/>
                <a:gd name="T23" fmla="*/ 2147483647 h 96"/>
                <a:gd name="T24" fmla="*/ 2147483647 w 92"/>
                <a:gd name="T25" fmla="*/ 2147483647 h 96"/>
                <a:gd name="T26" fmla="*/ 2147483647 w 92"/>
                <a:gd name="T27" fmla="*/ 2147483647 h 96"/>
                <a:gd name="T28" fmla="*/ 2147483647 w 92"/>
                <a:gd name="T29" fmla="*/ 0 h 96"/>
                <a:gd name="T30" fmla="*/ 2147483647 w 92"/>
                <a:gd name="T31" fmla="*/ 0 h 96"/>
                <a:gd name="T32" fmla="*/ 2147483647 w 92"/>
                <a:gd name="T33" fmla="*/ 2147483647 h 96"/>
                <a:gd name="T34" fmla="*/ 2147483647 w 92"/>
                <a:gd name="T35" fmla="*/ 2147483647 h 96"/>
                <a:gd name="T36" fmla="*/ 2147483647 w 92"/>
                <a:gd name="T37" fmla="*/ 2147483647 h 96"/>
                <a:gd name="T38" fmla="*/ 2147483647 w 92"/>
                <a:gd name="T39" fmla="*/ 2147483647 h 96"/>
                <a:gd name="T40" fmla="*/ 2147483647 w 92"/>
                <a:gd name="T41" fmla="*/ 2147483647 h 96"/>
                <a:gd name="T42" fmla="*/ 2147483647 w 92"/>
                <a:gd name="T43" fmla="*/ 2147483647 h 96"/>
                <a:gd name="T44" fmla="*/ 2147483647 w 92"/>
                <a:gd name="T45" fmla="*/ 2147483647 h 96"/>
                <a:gd name="T46" fmla="*/ 2147483647 w 92"/>
                <a:gd name="T47" fmla="*/ 2147483647 h 96"/>
                <a:gd name="T48" fmla="*/ 2147483647 w 92"/>
                <a:gd name="T49" fmla="*/ 2147483647 h 96"/>
                <a:gd name="T50" fmla="*/ 2147483647 w 92"/>
                <a:gd name="T51" fmla="*/ 2147483647 h 96"/>
                <a:gd name="T52" fmla="*/ 2147483647 w 92"/>
                <a:gd name="T53" fmla="*/ 2147483647 h 96"/>
                <a:gd name="T54" fmla="*/ 2147483647 w 92"/>
                <a:gd name="T55" fmla="*/ 2147483647 h 96"/>
                <a:gd name="T56" fmla="*/ 2147483647 w 92"/>
                <a:gd name="T57" fmla="*/ 2147483647 h 96"/>
                <a:gd name="T58" fmla="*/ 2147483647 w 92"/>
                <a:gd name="T59" fmla="*/ 2147483647 h 96"/>
                <a:gd name="T60" fmla="*/ 2147483647 w 92"/>
                <a:gd name="T61" fmla="*/ 2147483647 h 96"/>
                <a:gd name="T62" fmla="*/ 2147483647 w 92"/>
                <a:gd name="T63" fmla="*/ 2147483647 h 96"/>
                <a:gd name="T64" fmla="*/ 2147483647 w 92"/>
                <a:gd name="T65" fmla="*/ 2147483647 h 96"/>
                <a:gd name="T66" fmla="*/ 2147483647 w 92"/>
                <a:gd name="T67" fmla="*/ 2147483647 h 96"/>
                <a:gd name="T68" fmla="*/ 2147483647 w 92"/>
                <a:gd name="T69" fmla="*/ 2147483647 h 96"/>
                <a:gd name="T70" fmla="*/ 2147483647 w 92"/>
                <a:gd name="T71" fmla="*/ 2147483647 h 96"/>
                <a:gd name="T72" fmla="*/ 2147483647 w 92"/>
                <a:gd name="T73" fmla="*/ 2147483647 h 96"/>
                <a:gd name="T74" fmla="*/ 2147483647 w 92"/>
                <a:gd name="T75" fmla="*/ 2147483647 h 96"/>
                <a:gd name="T76" fmla="*/ 2147483647 w 92"/>
                <a:gd name="T77" fmla="*/ 2147483647 h 96"/>
                <a:gd name="T78" fmla="*/ 2147483647 w 92"/>
                <a:gd name="T79" fmla="*/ 2147483647 h 96"/>
                <a:gd name="T80" fmla="*/ 2147483647 w 92"/>
                <a:gd name="T81" fmla="*/ 2147483647 h 96"/>
                <a:gd name="T82" fmla="*/ 2147483647 w 92"/>
                <a:gd name="T83" fmla="*/ 2147483647 h 96"/>
                <a:gd name="T84" fmla="*/ 2147483647 w 92"/>
                <a:gd name="T85" fmla="*/ 2147483647 h 96"/>
                <a:gd name="T86" fmla="*/ 2147483647 w 92"/>
                <a:gd name="T87" fmla="*/ 2147483647 h 96"/>
                <a:gd name="T88" fmla="*/ 2147483647 w 92"/>
                <a:gd name="T89" fmla="*/ 2147483647 h 96"/>
                <a:gd name="T90" fmla="*/ 2147483647 w 92"/>
                <a:gd name="T91" fmla="*/ 2147483647 h 96"/>
                <a:gd name="T92" fmla="*/ 2147483647 w 92"/>
                <a:gd name="T93" fmla="*/ 2147483647 h 96"/>
                <a:gd name="T94" fmla="*/ 2147483647 w 92"/>
                <a:gd name="T95" fmla="*/ 2147483647 h 96"/>
                <a:gd name="T96" fmla="*/ 2147483647 w 92"/>
                <a:gd name="T97" fmla="*/ 2147483647 h 96"/>
                <a:gd name="T98" fmla="*/ 2147483647 w 92"/>
                <a:gd name="T99" fmla="*/ 2147483647 h 96"/>
                <a:gd name="T100" fmla="*/ 2147483647 w 92"/>
                <a:gd name="T101" fmla="*/ 2147483647 h 96"/>
                <a:gd name="T102" fmla="*/ 2147483647 w 92"/>
                <a:gd name="T103" fmla="*/ 2147483647 h 96"/>
                <a:gd name="T104" fmla="*/ 2147483647 w 92"/>
                <a:gd name="T105" fmla="*/ 2147483647 h 96"/>
                <a:gd name="T106" fmla="*/ 2147483647 w 92"/>
                <a:gd name="T107" fmla="*/ 2147483647 h 96"/>
                <a:gd name="T108" fmla="*/ 2147483647 w 92"/>
                <a:gd name="T109" fmla="*/ 2147483647 h 96"/>
                <a:gd name="T110" fmla="*/ 2147483647 w 92"/>
                <a:gd name="T111" fmla="*/ 2147483647 h 96"/>
                <a:gd name="T112" fmla="*/ 2147483647 w 92"/>
                <a:gd name="T113" fmla="*/ 2147483647 h 96"/>
                <a:gd name="T114" fmla="*/ 2147483647 w 92"/>
                <a:gd name="T115" fmla="*/ 2147483647 h 9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2"/>
                <a:gd name="T175" fmla="*/ 0 h 96"/>
                <a:gd name="T176" fmla="*/ 92 w 92"/>
                <a:gd name="T177" fmla="*/ 96 h 9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2" h="96">
                  <a:moveTo>
                    <a:pt x="3" y="25"/>
                  </a:moveTo>
                  <a:cubicBezTo>
                    <a:pt x="3" y="23"/>
                    <a:pt x="0" y="20"/>
                    <a:pt x="2" y="19"/>
                  </a:cubicBezTo>
                  <a:cubicBezTo>
                    <a:pt x="4" y="17"/>
                    <a:pt x="5" y="15"/>
                    <a:pt x="4" y="13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9"/>
                    <a:pt x="14" y="5"/>
                    <a:pt x="14" y="5"/>
                  </a:cubicBezTo>
                  <a:cubicBezTo>
                    <a:pt x="16" y="5"/>
                    <a:pt x="18" y="12"/>
                    <a:pt x="19" y="12"/>
                  </a:cubicBezTo>
                  <a:cubicBezTo>
                    <a:pt x="20" y="11"/>
                    <a:pt x="22" y="5"/>
                    <a:pt x="23" y="5"/>
                  </a:cubicBezTo>
                  <a:cubicBezTo>
                    <a:pt x="24" y="5"/>
                    <a:pt x="27" y="8"/>
                    <a:pt x="28" y="7"/>
                  </a:cubicBezTo>
                  <a:cubicBezTo>
                    <a:pt x="28" y="7"/>
                    <a:pt x="30" y="5"/>
                    <a:pt x="30" y="4"/>
                  </a:cubicBezTo>
                  <a:cubicBezTo>
                    <a:pt x="30" y="4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3"/>
                    <a:pt x="36" y="0"/>
                    <a:pt x="38" y="0"/>
                  </a:cubicBezTo>
                  <a:cubicBezTo>
                    <a:pt x="38" y="0"/>
                    <a:pt x="42" y="0"/>
                    <a:pt x="43" y="0"/>
                  </a:cubicBezTo>
                  <a:cubicBezTo>
                    <a:pt x="44" y="1"/>
                    <a:pt x="46" y="3"/>
                    <a:pt x="47" y="4"/>
                  </a:cubicBezTo>
                  <a:cubicBezTo>
                    <a:pt x="48" y="4"/>
                    <a:pt x="51" y="4"/>
                    <a:pt x="54" y="5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2" y="12"/>
                    <a:pt x="43" y="15"/>
                    <a:pt x="43" y="15"/>
                  </a:cubicBezTo>
                  <a:cubicBezTo>
                    <a:pt x="43" y="16"/>
                    <a:pt x="46" y="19"/>
                    <a:pt x="46" y="21"/>
                  </a:cubicBezTo>
                  <a:cubicBezTo>
                    <a:pt x="46" y="22"/>
                    <a:pt x="41" y="24"/>
                    <a:pt x="44" y="27"/>
                  </a:cubicBezTo>
                  <a:cubicBezTo>
                    <a:pt x="47" y="30"/>
                    <a:pt x="53" y="31"/>
                    <a:pt x="55" y="33"/>
                  </a:cubicBezTo>
                  <a:cubicBezTo>
                    <a:pt x="56" y="35"/>
                    <a:pt x="61" y="45"/>
                    <a:pt x="62" y="45"/>
                  </a:cubicBezTo>
                  <a:cubicBezTo>
                    <a:pt x="63" y="46"/>
                    <a:pt x="68" y="48"/>
                    <a:pt x="69" y="48"/>
                  </a:cubicBezTo>
                  <a:cubicBezTo>
                    <a:pt x="70" y="48"/>
                    <a:pt x="74" y="47"/>
                    <a:pt x="75" y="49"/>
                  </a:cubicBezTo>
                  <a:cubicBezTo>
                    <a:pt x="75" y="50"/>
                    <a:pt x="72" y="52"/>
                    <a:pt x="73" y="53"/>
                  </a:cubicBezTo>
                  <a:cubicBezTo>
                    <a:pt x="74" y="53"/>
                    <a:pt x="85" y="58"/>
                    <a:pt x="87" y="59"/>
                  </a:cubicBezTo>
                  <a:cubicBezTo>
                    <a:pt x="90" y="60"/>
                    <a:pt x="92" y="63"/>
                    <a:pt x="92" y="65"/>
                  </a:cubicBezTo>
                  <a:cubicBezTo>
                    <a:pt x="92" y="66"/>
                    <a:pt x="91" y="67"/>
                    <a:pt x="90" y="68"/>
                  </a:cubicBezTo>
                  <a:cubicBezTo>
                    <a:pt x="90" y="69"/>
                    <a:pt x="82" y="62"/>
                    <a:pt x="81" y="63"/>
                  </a:cubicBezTo>
                  <a:cubicBezTo>
                    <a:pt x="80" y="63"/>
                    <a:pt x="77" y="68"/>
                    <a:pt x="78" y="69"/>
                  </a:cubicBezTo>
                  <a:cubicBezTo>
                    <a:pt x="79" y="70"/>
                    <a:pt x="82" y="70"/>
                    <a:pt x="82" y="71"/>
                  </a:cubicBezTo>
                  <a:cubicBezTo>
                    <a:pt x="82" y="73"/>
                    <a:pt x="82" y="75"/>
                    <a:pt x="82" y="76"/>
                  </a:cubicBezTo>
                  <a:cubicBezTo>
                    <a:pt x="81" y="78"/>
                    <a:pt x="78" y="77"/>
                    <a:pt x="78" y="78"/>
                  </a:cubicBezTo>
                  <a:cubicBezTo>
                    <a:pt x="78" y="79"/>
                    <a:pt x="76" y="83"/>
                    <a:pt x="74" y="84"/>
                  </a:cubicBezTo>
                  <a:cubicBezTo>
                    <a:pt x="73" y="84"/>
                    <a:pt x="70" y="85"/>
                    <a:pt x="70" y="84"/>
                  </a:cubicBezTo>
                  <a:cubicBezTo>
                    <a:pt x="69" y="81"/>
                    <a:pt x="68" y="84"/>
                    <a:pt x="67" y="86"/>
                  </a:cubicBezTo>
                  <a:cubicBezTo>
                    <a:pt x="67" y="88"/>
                    <a:pt x="68" y="93"/>
                    <a:pt x="66" y="94"/>
                  </a:cubicBezTo>
                  <a:cubicBezTo>
                    <a:pt x="65" y="95"/>
                    <a:pt x="62" y="96"/>
                    <a:pt x="61" y="94"/>
                  </a:cubicBezTo>
                  <a:cubicBezTo>
                    <a:pt x="60" y="93"/>
                    <a:pt x="58" y="92"/>
                    <a:pt x="56" y="90"/>
                  </a:cubicBezTo>
                  <a:cubicBezTo>
                    <a:pt x="53" y="89"/>
                    <a:pt x="45" y="85"/>
                    <a:pt x="45" y="83"/>
                  </a:cubicBezTo>
                  <a:cubicBezTo>
                    <a:pt x="46" y="82"/>
                    <a:pt x="49" y="81"/>
                    <a:pt x="52" y="81"/>
                  </a:cubicBezTo>
                  <a:cubicBezTo>
                    <a:pt x="55" y="82"/>
                    <a:pt x="63" y="81"/>
                    <a:pt x="65" y="81"/>
                  </a:cubicBezTo>
                  <a:cubicBezTo>
                    <a:pt x="67" y="81"/>
                    <a:pt x="69" y="81"/>
                    <a:pt x="70" y="79"/>
                  </a:cubicBezTo>
                  <a:cubicBezTo>
                    <a:pt x="72" y="78"/>
                    <a:pt x="73" y="79"/>
                    <a:pt x="73" y="76"/>
                  </a:cubicBezTo>
                  <a:cubicBezTo>
                    <a:pt x="73" y="74"/>
                    <a:pt x="71" y="67"/>
                    <a:pt x="70" y="66"/>
                  </a:cubicBezTo>
                  <a:cubicBezTo>
                    <a:pt x="68" y="64"/>
                    <a:pt x="65" y="65"/>
                    <a:pt x="65" y="63"/>
                  </a:cubicBezTo>
                  <a:cubicBezTo>
                    <a:pt x="64" y="62"/>
                    <a:pt x="58" y="55"/>
                    <a:pt x="55" y="55"/>
                  </a:cubicBezTo>
                  <a:cubicBezTo>
                    <a:pt x="52" y="54"/>
                    <a:pt x="50" y="54"/>
                    <a:pt x="47" y="53"/>
                  </a:cubicBezTo>
                  <a:cubicBezTo>
                    <a:pt x="45" y="51"/>
                    <a:pt x="38" y="46"/>
                    <a:pt x="37" y="44"/>
                  </a:cubicBezTo>
                  <a:cubicBezTo>
                    <a:pt x="35" y="42"/>
                    <a:pt x="32" y="41"/>
                    <a:pt x="31" y="38"/>
                  </a:cubicBezTo>
                  <a:cubicBezTo>
                    <a:pt x="30" y="34"/>
                    <a:pt x="29" y="31"/>
                    <a:pt x="27" y="28"/>
                  </a:cubicBezTo>
                  <a:cubicBezTo>
                    <a:pt x="24" y="25"/>
                    <a:pt x="21" y="25"/>
                    <a:pt x="18" y="25"/>
                  </a:cubicBezTo>
                  <a:cubicBezTo>
                    <a:pt x="15" y="25"/>
                    <a:pt x="15" y="30"/>
                    <a:pt x="12" y="30"/>
                  </a:cubicBezTo>
                  <a:cubicBezTo>
                    <a:pt x="11" y="30"/>
                    <a:pt x="11" y="30"/>
                    <a:pt x="10" y="30"/>
                  </a:cubicBezTo>
                  <a:cubicBezTo>
                    <a:pt x="10" y="29"/>
                    <a:pt x="10" y="27"/>
                    <a:pt x="9" y="26"/>
                  </a:cubicBezTo>
                  <a:cubicBezTo>
                    <a:pt x="7" y="25"/>
                    <a:pt x="3" y="27"/>
                    <a:pt x="3" y="25"/>
                  </a:cubicBezTo>
                  <a:close/>
                </a:path>
              </a:pathLst>
            </a:custGeom>
            <a:solidFill>
              <a:srgbClr val="006487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79" name="Freeform 333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6089223" y="2873611"/>
              <a:ext cx="242857" cy="280396"/>
            </a:xfrm>
            <a:custGeom>
              <a:avLst/>
              <a:gdLst>
                <a:gd name="T0" fmla="*/ 2147483647 w 70"/>
                <a:gd name="T1" fmla="*/ 2147483647 h 75"/>
                <a:gd name="T2" fmla="*/ 2147483647 w 70"/>
                <a:gd name="T3" fmla="*/ 2147483647 h 75"/>
                <a:gd name="T4" fmla="*/ 2147483647 w 70"/>
                <a:gd name="T5" fmla="*/ 2147483647 h 75"/>
                <a:gd name="T6" fmla="*/ 2147483647 w 70"/>
                <a:gd name="T7" fmla="*/ 2147483647 h 75"/>
                <a:gd name="T8" fmla="*/ 2147483647 w 70"/>
                <a:gd name="T9" fmla="*/ 2147483647 h 75"/>
                <a:gd name="T10" fmla="*/ 2147483647 w 70"/>
                <a:gd name="T11" fmla="*/ 0 h 75"/>
                <a:gd name="T12" fmla="*/ 2147483647 w 70"/>
                <a:gd name="T13" fmla="*/ 0 h 75"/>
                <a:gd name="T14" fmla="*/ 2147483647 w 70"/>
                <a:gd name="T15" fmla="*/ 2147483647 h 75"/>
                <a:gd name="T16" fmla="*/ 2147483647 w 70"/>
                <a:gd name="T17" fmla="*/ 2147483647 h 75"/>
                <a:gd name="T18" fmla="*/ 2147483647 w 70"/>
                <a:gd name="T19" fmla="*/ 2147483647 h 75"/>
                <a:gd name="T20" fmla="*/ 2147483647 w 70"/>
                <a:gd name="T21" fmla="*/ 2147483647 h 75"/>
                <a:gd name="T22" fmla="*/ 2147483647 w 70"/>
                <a:gd name="T23" fmla="*/ 2147483647 h 75"/>
                <a:gd name="T24" fmla="*/ 2147483647 w 70"/>
                <a:gd name="T25" fmla="*/ 2147483647 h 75"/>
                <a:gd name="T26" fmla="*/ 2147483647 w 70"/>
                <a:gd name="T27" fmla="*/ 2147483647 h 75"/>
                <a:gd name="T28" fmla="*/ 2147483647 w 70"/>
                <a:gd name="T29" fmla="*/ 2147483647 h 75"/>
                <a:gd name="T30" fmla="*/ 2147483647 w 70"/>
                <a:gd name="T31" fmla="*/ 2147483647 h 75"/>
                <a:gd name="T32" fmla="*/ 2147483647 w 70"/>
                <a:gd name="T33" fmla="*/ 2147483647 h 75"/>
                <a:gd name="T34" fmla="*/ 2147483647 w 70"/>
                <a:gd name="T35" fmla="*/ 2147483647 h 75"/>
                <a:gd name="T36" fmla="*/ 2147483647 w 70"/>
                <a:gd name="T37" fmla="*/ 2147483647 h 75"/>
                <a:gd name="T38" fmla="*/ 2147483647 w 70"/>
                <a:gd name="T39" fmla="*/ 2147483647 h 75"/>
                <a:gd name="T40" fmla="*/ 2147483647 w 70"/>
                <a:gd name="T41" fmla="*/ 2147483647 h 75"/>
                <a:gd name="T42" fmla="*/ 2147483647 w 70"/>
                <a:gd name="T43" fmla="*/ 2147483647 h 75"/>
                <a:gd name="T44" fmla="*/ 2147483647 w 70"/>
                <a:gd name="T45" fmla="*/ 2147483647 h 75"/>
                <a:gd name="T46" fmla="*/ 2147483647 w 70"/>
                <a:gd name="T47" fmla="*/ 2147483647 h 75"/>
                <a:gd name="T48" fmla="*/ 2147483647 w 70"/>
                <a:gd name="T49" fmla="*/ 2147483647 h 75"/>
                <a:gd name="T50" fmla="*/ 2147483647 w 70"/>
                <a:gd name="T51" fmla="*/ 2147483647 h 75"/>
                <a:gd name="T52" fmla="*/ 2147483647 w 70"/>
                <a:gd name="T53" fmla="*/ 2147483647 h 75"/>
                <a:gd name="T54" fmla="*/ 2147483647 w 70"/>
                <a:gd name="T55" fmla="*/ 2147483647 h 75"/>
                <a:gd name="T56" fmla="*/ 2147483647 w 70"/>
                <a:gd name="T57" fmla="*/ 2147483647 h 75"/>
                <a:gd name="T58" fmla="*/ 2147483647 w 70"/>
                <a:gd name="T59" fmla="*/ 2147483647 h 75"/>
                <a:gd name="T60" fmla="*/ 2147483647 w 70"/>
                <a:gd name="T61" fmla="*/ 2147483647 h 75"/>
                <a:gd name="T62" fmla="*/ 2147483647 w 70"/>
                <a:gd name="T63" fmla="*/ 2147483647 h 75"/>
                <a:gd name="T64" fmla="*/ 2147483647 w 70"/>
                <a:gd name="T65" fmla="*/ 2147483647 h 75"/>
                <a:gd name="T66" fmla="*/ 2147483647 w 70"/>
                <a:gd name="T67" fmla="*/ 2147483647 h 75"/>
                <a:gd name="T68" fmla="*/ 2147483647 w 70"/>
                <a:gd name="T69" fmla="*/ 2147483647 h 75"/>
                <a:gd name="T70" fmla="*/ 2147483647 w 70"/>
                <a:gd name="T71" fmla="*/ 2147483647 h 75"/>
                <a:gd name="T72" fmla="*/ 2147483647 w 70"/>
                <a:gd name="T73" fmla="*/ 2147483647 h 75"/>
                <a:gd name="T74" fmla="*/ 2147483647 w 70"/>
                <a:gd name="T75" fmla="*/ 2147483647 h 75"/>
                <a:gd name="T76" fmla="*/ 2147483647 w 70"/>
                <a:gd name="T77" fmla="*/ 2147483647 h 75"/>
                <a:gd name="T78" fmla="*/ 2147483647 w 70"/>
                <a:gd name="T79" fmla="*/ 2147483647 h 75"/>
                <a:gd name="T80" fmla="*/ 2147483647 w 70"/>
                <a:gd name="T81" fmla="*/ 2147483647 h 75"/>
                <a:gd name="T82" fmla="*/ 2147483647 w 70"/>
                <a:gd name="T83" fmla="*/ 2147483647 h 75"/>
                <a:gd name="T84" fmla="*/ 2147483647 w 70"/>
                <a:gd name="T85" fmla="*/ 2147483647 h 75"/>
                <a:gd name="T86" fmla="*/ 2147483647 w 70"/>
                <a:gd name="T87" fmla="*/ 2147483647 h 75"/>
                <a:gd name="T88" fmla="*/ 2147483647 w 70"/>
                <a:gd name="T89" fmla="*/ 2147483647 h 75"/>
                <a:gd name="T90" fmla="*/ 2147483647 w 70"/>
                <a:gd name="T91" fmla="*/ 2147483647 h 75"/>
                <a:gd name="T92" fmla="*/ 2147483647 w 70"/>
                <a:gd name="T93" fmla="*/ 2147483647 h 75"/>
                <a:gd name="T94" fmla="*/ 2147483647 w 70"/>
                <a:gd name="T95" fmla="*/ 2147483647 h 7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0"/>
                <a:gd name="T145" fmla="*/ 0 h 75"/>
                <a:gd name="T146" fmla="*/ 70 w 70"/>
                <a:gd name="T147" fmla="*/ 75 h 7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0" h="75">
                  <a:moveTo>
                    <a:pt x="8" y="14"/>
                  </a:moveTo>
                  <a:cubicBezTo>
                    <a:pt x="10" y="13"/>
                    <a:pt x="14" y="12"/>
                    <a:pt x="15" y="12"/>
                  </a:cubicBezTo>
                  <a:cubicBezTo>
                    <a:pt x="16" y="12"/>
                    <a:pt x="18" y="15"/>
                    <a:pt x="19" y="15"/>
                  </a:cubicBezTo>
                  <a:cubicBezTo>
                    <a:pt x="20" y="14"/>
                    <a:pt x="25" y="12"/>
                    <a:pt x="25" y="11"/>
                  </a:cubicBezTo>
                  <a:cubicBezTo>
                    <a:pt x="25" y="9"/>
                    <a:pt x="23" y="8"/>
                    <a:pt x="22" y="6"/>
                  </a:cubicBezTo>
                  <a:cubicBezTo>
                    <a:pt x="22" y="5"/>
                    <a:pt x="19" y="2"/>
                    <a:pt x="19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1"/>
                    <a:pt x="31" y="3"/>
                    <a:pt x="32" y="3"/>
                  </a:cubicBezTo>
                  <a:cubicBezTo>
                    <a:pt x="33" y="4"/>
                    <a:pt x="36" y="5"/>
                    <a:pt x="38" y="5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1" y="6"/>
                    <a:pt x="40" y="9"/>
                    <a:pt x="41" y="9"/>
                  </a:cubicBezTo>
                  <a:cubicBezTo>
                    <a:pt x="42" y="9"/>
                    <a:pt x="47" y="8"/>
                    <a:pt x="48" y="8"/>
                  </a:cubicBezTo>
                  <a:cubicBezTo>
                    <a:pt x="49" y="7"/>
                    <a:pt x="53" y="5"/>
                    <a:pt x="54" y="5"/>
                  </a:cubicBezTo>
                  <a:cubicBezTo>
                    <a:pt x="55" y="4"/>
                    <a:pt x="56" y="3"/>
                    <a:pt x="57" y="4"/>
                  </a:cubicBezTo>
                  <a:cubicBezTo>
                    <a:pt x="58" y="4"/>
                    <a:pt x="57" y="8"/>
                    <a:pt x="58" y="9"/>
                  </a:cubicBezTo>
                  <a:cubicBezTo>
                    <a:pt x="59" y="9"/>
                    <a:pt x="62" y="10"/>
                    <a:pt x="64" y="10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10"/>
                    <a:pt x="65" y="13"/>
                    <a:pt x="65" y="15"/>
                  </a:cubicBezTo>
                  <a:cubicBezTo>
                    <a:pt x="65" y="16"/>
                    <a:pt x="63" y="19"/>
                    <a:pt x="63" y="20"/>
                  </a:cubicBezTo>
                  <a:cubicBezTo>
                    <a:pt x="63" y="21"/>
                    <a:pt x="65" y="23"/>
                    <a:pt x="67" y="24"/>
                  </a:cubicBezTo>
                  <a:cubicBezTo>
                    <a:pt x="67" y="26"/>
                    <a:pt x="67" y="28"/>
                    <a:pt x="67" y="30"/>
                  </a:cubicBezTo>
                  <a:cubicBezTo>
                    <a:pt x="67" y="32"/>
                    <a:pt x="70" y="35"/>
                    <a:pt x="70" y="37"/>
                  </a:cubicBezTo>
                  <a:cubicBezTo>
                    <a:pt x="70" y="37"/>
                    <a:pt x="70" y="38"/>
                    <a:pt x="70" y="39"/>
                  </a:cubicBezTo>
                  <a:cubicBezTo>
                    <a:pt x="69" y="40"/>
                    <a:pt x="68" y="41"/>
                    <a:pt x="67" y="41"/>
                  </a:cubicBezTo>
                  <a:cubicBezTo>
                    <a:pt x="65" y="41"/>
                    <a:pt x="48" y="47"/>
                    <a:pt x="48" y="48"/>
                  </a:cubicBezTo>
                  <a:cubicBezTo>
                    <a:pt x="48" y="49"/>
                    <a:pt x="62" y="62"/>
                    <a:pt x="61" y="64"/>
                  </a:cubicBezTo>
                  <a:cubicBezTo>
                    <a:pt x="60" y="65"/>
                    <a:pt x="57" y="66"/>
                    <a:pt x="55" y="67"/>
                  </a:cubicBezTo>
                  <a:cubicBezTo>
                    <a:pt x="54" y="68"/>
                    <a:pt x="56" y="75"/>
                    <a:pt x="52" y="72"/>
                  </a:cubicBezTo>
                  <a:cubicBezTo>
                    <a:pt x="51" y="72"/>
                    <a:pt x="44" y="73"/>
                    <a:pt x="43" y="73"/>
                  </a:cubicBezTo>
                  <a:cubicBezTo>
                    <a:pt x="42" y="73"/>
                    <a:pt x="37" y="75"/>
                    <a:pt x="35" y="75"/>
                  </a:cubicBezTo>
                  <a:cubicBezTo>
                    <a:pt x="33" y="75"/>
                    <a:pt x="32" y="74"/>
                    <a:pt x="31" y="74"/>
                  </a:cubicBezTo>
                  <a:cubicBezTo>
                    <a:pt x="30" y="74"/>
                    <a:pt x="30" y="74"/>
                    <a:pt x="29" y="73"/>
                  </a:cubicBezTo>
                  <a:cubicBezTo>
                    <a:pt x="27" y="73"/>
                    <a:pt x="23" y="72"/>
                    <a:pt x="22" y="72"/>
                  </a:cubicBezTo>
                  <a:cubicBezTo>
                    <a:pt x="21" y="72"/>
                    <a:pt x="17" y="73"/>
                    <a:pt x="16" y="73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14" y="70"/>
                    <a:pt x="16" y="63"/>
                    <a:pt x="17" y="62"/>
                  </a:cubicBezTo>
                  <a:cubicBezTo>
                    <a:pt x="18" y="60"/>
                    <a:pt x="8" y="59"/>
                    <a:pt x="6" y="58"/>
                  </a:cubicBezTo>
                  <a:cubicBezTo>
                    <a:pt x="5" y="57"/>
                    <a:pt x="4" y="56"/>
                    <a:pt x="4" y="55"/>
                  </a:cubicBezTo>
                  <a:cubicBezTo>
                    <a:pt x="4" y="54"/>
                    <a:pt x="4" y="53"/>
                    <a:pt x="4" y="53"/>
                  </a:cubicBezTo>
                  <a:cubicBezTo>
                    <a:pt x="4" y="50"/>
                    <a:pt x="5" y="47"/>
                    <a:pt x="3" y="46"/>
                  </a:cubicBezTo>
                  <a:cubicBezTo>
                    <a:pt x="2" y="45"/>
                    <a:pt x="2" y="44"/>
                    <a:pt x="2" y="43"/>
                  </a:cubicBezTo>
                  <a:cubicBezTo>
                    <a:pt x="1" y="42"/>
                    <a:pt x="1" y="41"/>
                    <a:pt x="1" y="40"/>
                  </a:cubicBezTo>
                  <a:cubicBezTo>
                    <a:pt x="1" y="39"/>
                    <a:pt x="3" y="36"/>
                    <a:pt x="2" y="35"/>
                  </a:cubicBezTo>
                  <a:cubicBezTo>
                    <a:pt x="1" y="34"/>
                    <a:pt x="0" y="32"/>
                    <a:pt x="1" y="31"/>
                  </a:cubicBezTo>
                  <a:cubicBezTo>
                    <a:pt x="2" y="31"/>
                    <a:pt x="7" y="31"/>
                    <a:pt x="8" y="30"/>
                  </a:cubicBezTo>
                  <a:cubicBezTo>
                    <a:pt x="9" y="29"/>
                    <a:pt x="9" y="25"/>
                    <a:pt x="9" y="23"/>
                  </a:cubicBezTo>
                  <a:cubicBezTo>
                    <a:pt x="9" y="21"/>
                    <a:pt x="10" y="19"/>
                    <a:pt x="9" y="18"/>
                  </a:cubicBezTo>
                  <a:cubicBezTo>
                    <a:pt x="9" y="17"/>
                    <a:pt x="8" y="14"/>
                    <a:pt x="8" y="14"/>
                  </a:cubicBezTo>
                  <a:close/>
                </a:path>
              </a:pathLst>
            </a:custGeom>
            <a:solidFill>
              <a:srgbClr val="006487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80" name="Freeform 334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6035712" y="2926335"/>
              <a:ext cx="88499" cy="107845"/>
            </a:xfrm>
            <a:custGeom>
              <a:avLst/>
              <a:gdLst>
                <a:gd name="T0" fmla="*/ 2147483647 w 25"/>
                <a:gd name="T1" fmla="*/ 2147483647 h 29"/>
                <a:gd name="T2" fmla="*/ 2147483647 w 25"/>
                <a:gd name="T3" fmla="*/ 2147483647 h 29"/>
                <a:gd name="T4" fmla="*/ 2147483647 w 25"/>
                <a:gd name="T5" fmla="*/ 2147483647 h 29"/>
                <a:gd name="T6" fmla="*/ 2147483647 w 25"/>
                <a:gd name="T7" fmla="*/ 2147483647 h 29"/>
                <a:gd name="T8" fmla="*/ 2147483647 w 25"/>
                <a:gd name="T9" fmla="*/ 0 h 29"/>
                <a:gd name="T10" fmla="*/ 2147483647 w 25"/>
                <a:gd name="T11" fmla="*/ 2147483647 h 29"/>
                <a:gd name="T12" fmla="*/ 2147483647 w 25"/>
                <a:gd name="T13" fmla="*/ 2147483647 h 29"/>
                <a:gd name="T14" fmla="*/ 2147483647 w 25"/>
                <a:gd name="T15" fmla="*/ 2147483647 h 29"/>
                <a:gd name="T16" fmla="*/ 2147483647 w 25"/>
                <a:gd name="T17" fmla="*/ 2147483647 h 29"/>
                <a:gd name="T18" fmla="*/ 2147483647 w 25"/>
                <a:gd name="T19" fmla="*/ 2147483647 h 29"/>
                <a:gd name="T20" fmla="*/ 2147483647 w 25"/>
                <a:gd name="T21" fmla="*/ 2147483647 h 29"/>
                <a:gd name="T22" fmla="*/ 2147483647 w 25"/>
                <a:gd name="T23" fmla="*/ 2147483647 h 29"/>
                <a:gd name="T24" fmla="*/ 2147483647 w 25"/>
                <a:gd name="T25" fmla="*/ 2147483647 h 29"/>
                <a:gd name="T26" fmla="*/ 2147483647 w 25"/>
                <a:gd name="T27" fmla="*/ 2147483647 h 29"/>
                <a:gd name="T28" fmla="*/ 0 w 25"/>
                <a:gd name="T29" fmla="*/ 2147483647 h 29"/>
                <a:gd name="T30" fmla="*/ 2147483647 w 25"/>
                <a:gd name="T31" fmla="*/ 2147483647 h 2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5"/>
                <a:gd name="T49" fmla="*/ 0 h 29"/>
                <a:gd name="T50" fmla="*/ 25 w 25"/>
                <a:gd name="T51" fmla="*/ 29 h 2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5" h="29">
                  <a:moveTo>
                    <a:pt x="1" y="18"/>
                  </a:moveTo>
                  <a:cubicBezTo>
                    <a:pt x="2" y="17"/>
                    <a:pt x="6" y="13"/>
                    <a:pt x="6" y="11"/>
                  </a:cubicBezTo>
                  <a:cubicBezTo>
                    <a:pt x="6" y="9"/>
                    <a:pt x="8" y="4"/>
                    <a:pt x="9" y="3"/>
                  </a:cubicBezTo>
                  <a:cubicBezTo>
                    <a:pt x="10" y="3"/>
                    <a:pt x="19" y="1"/>
                    <a:pt x="20" y="1"/>
                  </a:cubicBezTo>
                  <a:cubicBezTo>
                    <a:pt x="20" y="1"/>
                    <a:pt x="21" y="0"/>
                    <a:pt x="23" y="0"/>
                  </a:cubicBezTo>
                  <a:cubicBezTo>
                    <a:pt x="23" y="0"/>
                    <a:pt x="24" y="3"/>
                    <a:pt x="24" y="4"/>
                  </a:cubicBezTo>
                  <a:cubicBezTo>
                    <a:pt x="25" y="5"/>
                    <a:pt x="24" y="7"/>
                    <a:pt x="24" y="9"/>
                  </a:cubicBezTo>
                  <a:cubicBezTo>
                    <a:pt x="24" y="11"/>
                    <a:pt x="24" y="15"/>
                    <a:pt x="23" y="16"/>
                  </a:cubicBezTo>
                  <a:cubicBezTo>
                    <a:pt x="22" y="17"/>
                    <a:pt x="17" y="17"/>
                    <a:pt x="16" y="17"/>
                  </a:cubicBezTo>
                  <a:cubicBezTo>
                    <a:pt x="15" y="18"/>
                    <a:pt x="16" y="20"/>
                    <a:pt x="17" y="21"/>
                  </a:cubicBezTo>
                  <a:cubicBezTo>
                    <a:pt x="18" y="22"/>
                    <a:pt x="16" y="25"/>
                    <a:pt x="16" y="26"/>
                  </a:cubicBezTo>
                  <a:cubicBezTo>
                    <a:pt x="16" y="27"/>
                    <a:pt x="16" y="28"/>
                    <a:pt x="17" y="29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1" y="28"/>
                    <a:pt x="11" y="24"/>
                    <a:pt x="11" y="23"/>
                  </a:cubicBezTo>
                  <a:cubicBezTo>
                    <a:pt x="11" y="22"/>
                    <a:pt x="1" y="22"/>
                    <a:pt x="0" y="20"/>
                  </a:cubicBezTo>
                  <a:cubicBezTo>
                    <a:pt x="0" y="19"/>
                    <a:pt x="1" y="18"/>
                    <a:pt x="1" y="18"/>
                  </a:cubicBezTo>
                  <a:close/>
                </a:path>
              </a:pathLst>
            </a:custGeom>
            <a:solidFill>
              <a:srgbClr val="006487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81" name="Freeform 335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6482322" y="1737648"/>
              <a:ext cx="102905" cy="76689"/>
            </a:xfrm>
            <a:custGeom>
              <a:avLst/>
              <a:gdLst>
                <a:gd name="T0" fmla="*/ 0 w 29"/>
                <a:gd name="T1" fmla="*/ 2147483647 h 21"/>
                <a:gd name="T2" fmla="*/ 2147483647 w 29"/>
                <a:gd name="T3" fmla="*/ 2147483647 h 21"/>
                <a:gd name="T4" fmla="*/ 2147483647 w 29"/>
                <a:gd name="T5" fmla="*/ 0 h 21"/>
                <a:gd name="T6" fmla="*/ 2147483647 w 29"/>
                <a:gd name="T7" fmla="*/ 2147483647 h 21"/>
                <a:gd name="T8" fmla="*/ 2147483647 w 29"/>
                <a:gd name="T9" fmla="*/ 2147483647 h 21"/>
                <a:gd name="T10" fmla="*/ 2147483647 w 29"/>
                <a:gd name="T11" fmla="*/ 2147483647 h 21"/>
                <a:gd name="T12" fmla="*/ 2147483647 w 29"/>
                <a:gd name="T13" fmla="*/ 2147483647 h 21"/>
                <a:gd name="T14" fmla="*/ 2147483647 w 29"/>
                <a:gd name="T15" fmla="*/ 2147483647 h 21"/>
                <a:gd name="T16" fmla="*/ 2147483647 w 29"/>
                <a:gd name="T17" fmla="*/ 2147483647 h 21"/>
                <a:gd name="T18" fmla="*/ 2147483647 w 29"/>
                <a:gd name="T19" fmla="*/ 2147483647 h 21"/>
                <a:gd name="T20" fmla="*/ 2147483647 w 29"/>
                <a:gd name="T21" fmla="*/ 2147483647 h 21"/>
                <a:gd name="T22" fmla="*/ 0 w 29"/>
                <a:gd name="T23" fmla="*/ 2147483647 h 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9"/>
                <a:gd name="T37" fmla="*/ 0 h 21"/>
                <a:gd name="T38" fmla="*/ 29 w 29"/>
                <a:gd name="T39" fmla="*/ 21 h 2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9" h="21">
                  <a:moveTo>
                    <a:pt x="0" y="5"/>
                  </a:moveTo>
                  <a:cubicBezTo>
                    <a:pt x="0" y="3"/>
                    <a:pt x="2" y="3"/>
                    <a:pt x="2" y="3"/>
                  </a:cubicBezTo>
                  <a:cubicBezTo>
                    <a:pt x="2" y="3"/>
                    <a:pt x="10" y="1"/>
                    <a:pt x="11" y="0"/>
                  </a:cubicBezTo>
                  <a:cubicBezTo>
                    <a:pt x="13" y="0"/>
                    <a:pt x="13" y="3"/>
                    <a:pt x="14" y="3"/>
                  </a:cubicBezTo>
                  <a:cubicBezTo>
                    <a:pt x="15" y="3"/>
                    <a:pt x="19" y="4"/>
                    <a:pt x="20" y="4"/>
                  </a:cubicBezTo>
                  <a:cubicBezTo>
                    <a:pt x="21" y="4"/>
                    <a:pt x="21" y="9"/>
                    <a:pt x="22" y="9"/>
                  </a:cubicBezTo>
                  <a:cubicBezTo>
                    <a:pt x="23" y="9"/>
                    <a:pt x="29" y="9"/>
                    <a:pt x="29" y="10"/>
                  </a:cubicBezTo>
                  <a:cubicBezTo>
                    <a:pt x="29" y="10"/>
                    <a:pt x="17" y="21"/>
                    <a:pt x="17" y="21"/>
                  </a:cubicBezTo>
                  <a:cubicBezTo>
                    <a:pt x="16" y="20"/>
                    <a:pt x="16" y="14"/>
                    <a:pt x="15" y="14"/>
                  </a:cubicBezTo>
                  <a:cubicBezTo>
                    <a:pt x="15" y="13"/>
                    <a:pt x="3" y="17"/>
                    <a:pt x="3" y="16"/>
                  </a:cubicBezTo>
                  <a:cubicBezTo>
                    <a:pt x="2" y="16"/>
                    <a:pt x="9" y="10"/>
                    <a:pt x="8" y="9"/>
                  </a:cubicBezTo>
                  <a:cubicBezTo>
                    <a:pt x="7" y="8"/>
                    <a:pt x="1" y="6"/>
                    <a:pt x="0" y="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82" name="Freeform 336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6412346" y="1605838"/>
              <a:ext cx="249031" cy="83879"/>
            </a:xfrm>
            <a:custGeom>
              <a:avLst/>
              <a:gdLst>
                <a:gd name="T0" fmla="*/ 2147483647 w 71"/>
                <a:gd name="T1" fmla="*/ 2147483647 h 23"/>
                <a:gd name="T2" fmla="*/ 2147483647 w 71"/>
                <a:gd name="T3" fmla="*/ 2147483647 h 23"/>
                <a:gd name="T4" fmla="*/ 2147483647 w 71"/>
                <a:gd name="T5" fmla="*/ 2147483647 h 23"/>
                <a:gd name="T6" fmla="*/ 2147483647 w 71"/>
                <a:gd name="T7" fmla="*/ 0 h 23"/>
                <a:gd name="T8" fmla="*/ 2147483647 w 71"/>
                <a:gd name="T9" fmla="*/ 2147483647 h 23"/>
                <a:gd name="T10" fmla="*/ 2147483647 w 71"/>
                <a:gd name="T11" fmla="*/ 2147483647 h 23"/>
                <a:gd name="T12" fmla="*/ 2147483647 w 71"/>
                <a:gd name="T13" fmla="*/ 0 h 23"/>
                <a:gd name="T14" fmla="*/ 2147483647 w 71"/>
                <a:gd name="T15" fmla="*/ 2147483647 h 23"/>
                <a:gd name="T16" fmla="*/ 2147483647 w 71"/>
                <a:gd name="T17" fmla="*/ 2147483647 h 23"/>
                <a:gd name="T18" fmla="*/ 2147483647 w 71"/>
                <a:gd name="T19" fmla="*/ 2147483647 h 23"/>
                <a:gd name="T20" fmla="*/ 2147483647 w 71"/>
                <a:gd name="T21" fmla="*/ 2147483647 h 23"/>
                <a:gd name="T22" fmla="*/ 2147483647 w 71"/>
                <a:gd name="T23" fmla="*/ 2147483647 h 23"/>
                <a:gd name="T24" fmla="*/ 2147483647 w 71"/>
                <a:gd name="T25" fmla="*/ 2147483647 h 23"/>
                <a:gd name="T26" fmla="*/ 2147483647 w 71"/>
                <a:gd name="T27" fmla="*/ 2147483647 h 23"/>
                <a:gd name="T28" fmla="*/ 2147483647 w 71"/>
                <a:gd name="T29" fmla="*/ 2147483647 h 23"/>
                <a:gd name="T30" fmla="*/ 2147483647 w 71"/>
                <a:gd name="T31" fmla="*/ 2147483647 h 23"/>
                <a:gd name="T32" fmla="*/ 2147483647 w 71"/>
                <a:gd name="T33" fmla="*/ 2147483647 h 23"/>
                <a:gd name="T34" fmla="*/ 2147483647 w 71"/>
                <a:gd name="T35" fmla="*/ 2147483647 h 23"/>
                <a:gd name="T36" fmla="*/ 2147483647 w 71"/>
                <a:gd name="T37" fmla="*/ 2147483647 h 23"/>
                <a:gd name="T38" fmla="*/ 2147483647 w 71"/>
                <a:gd name="T39" fmla="*/ 2147483647 h 23"/>
                <a:gd name="T40" fmla="*/ 2147483647 w 71"/>
                <a:gd name="T41" fmla="*/ 2147483647 h 23"/>
                <a:gd name="T42" fmla="*/ 2147483647 w 71"/>
                <a:gd name="T43" fmla="*/ 2147483647 h 23"/>
                <a:gd name="T44" fmla="*/ 2147483647 w 71"/>
                <a:gd name="T45" fmla="*/ 2147483647 h 2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71"/>
                <a:gd name="T70" fmla="*/ 0 h 23"/>
                <a:gd name="T71" fmla="*/ 71 w 71"/>
                <a:gd name="T72" fmla="*/ 23 h 23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71" h="23">
                  <a:moveTo>
                    <a:pt x="1" y="7"/>
                  </a:moveTo>
                  <a:cubicBezTo>
                    <a:pt x="0" y="6"/>
                    <a:pt x="3" y="5"/>
                    <a:pt x="3" y="5"/>
                  </a:cubicBezTo>
                  <a:cubicBezTo>
                    <a:pt x="4" y="5"/>
                    <a:pt x="10" y="6"/>
                    <a:pt x="12" y="5"/>
                  </a:cubicBezTo>
                  <a:cubicBezTo>
                    <a:pt x="13" y="5"/>
                    <a:pt x="13" y="0"/>
                    <a:pt x="15" y="0"/>
                  </a:cubicBezTo>
                  <a:cubicBezTo>
                    <a:pt x="18" y="1"/>
                    <a:pt x="22" y="4"/>
                    <a:pt x="25" y="4"/>
                  </a:cubicBezTo>
                  <a:cubicBezTo>
                    <a:pt x="28" y="4"/>
                    <a:pt x="34" y="9"/>
                    <a:pt x="34" y="8"/>
                  </a:cubicBezTo>
                  <a:cubicBezTo>
                    <a:pt x="34" y="7"/>
                    <a:pt x="35" y="0"/>
                    <a:pt x="37" y="0"/>
                  </a:cubicBezTo>
                  <a:cubicBezTo>
                    <a:pt x="39" y="0"/>
                    <a:pt x="42" y="2"/>
                    <a:pt x="42" y="3"/>
                  </a:cubicBezTo>
                  <a:cubicBezTo>
                    <a:pt x="42" y="3"/>
                    <a:pt x="42" y="6"/>
                    <a:pt x="43" y="6"/>
                  </a:cubicBezTo>
                  <a:cubicBezTo>
                    <a:pt x="44" y="6"/>
                    <a:pt x="47" y="2"/>
                    <a:pt x="49" y="2"/>
                  </a:cubicBezTo>
                  <a:cubicBezTo>
                    <a:pt x="51" y="3"/>
                    <a:pt x="63" y="5"/>
                    <a:pt x="64" y="5"/>
                  </a:cubicBezTo>
                  <a:cubicBezTo>
                    <a:pt x="65" y="5"/>
                    <a:pt x="70" y="6"/>
                    <a:pt x="71" y="8"/>
                  </a:cubicBezTo>
                  <a:cubicBezTo>
                    <a:pt x="71" y="10"/>
                    <a:pt x="70" y="13"/>
                    <a:pt x="69" y="13"/>
                  </a:cubicBezTo>
                  <a:cubicBezTo>
                    <a:pt x="69" y="13"/>
                    <a:pt x="60" y="14"/>
                    <a:pt x="60" y="15"/>
                  </a:cubicBezTo>
                  <a:cubicBezTo>
                    <a:pt x="59" y="17"/>
                    <a:pt x="61" y="22"/>
                    <a:pt x="57" y="21"/>
                  </a:cubicBezTo>
                  <a:cubicBezTo>
                    <a:pt x="54" y="21"/>
                    <a:pt x="47" y="23"/>
                    <a:pt x="43" y="23"/>
                  </a:cubicBezTo>
                  <a:cubicBezTo>
                    <a:pt x="39" y="22"/>
                    <a:pt x="37" y="20"/>
                    <a:pt x="35" y="20"/>
                  </a:cubicBezTo>
                  <a:cubicBezTo>
                    <a:pt x="34" y="20"/>
                    <a:pt x="19" y="19"/>
                    <a:pt x="18" y="18"/>
                  </a:cubicBezTo>
                  <a:cubicBezTo>
                    <a:pt x="17" y="17"/>
                    <a:pt x="30" y="15"/>
                    <a:pt x="30" y="14"/>
                  </a:cubicBezTo>
                  <a:cubicBezTo>
                    <a:pt x="30" y="13"/>
                    <a:pt x="25" y="11"/>
                    <a:pt x="25" y="11"/>
                  </a:cubicBezTo>
                  <a:cubicBezTo>
                    <a:pt x="25" y="11"/>
                    <a:pt x="10" y="14"/>
                    <a:pt x="8" y="13"/>
                  </a:cubicBezTo>
                  <a:cubicBezTo>
                    <a:pt x="6" y="12"/>
                    <a:pt x="4" y="11"/>
                    <a:pt x="3" y="10"/>
                  </a:cubicBezTo>
                  <a:cubicBezTo>
                    <a:pt x="2" y="9"/>
                    <a:pt x="1" y="7"/>
                    <a:pt x="1" y="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83" name="Freeform 337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6220942" y="1632200"/>
              <a:ext cx="290193" cy="220482"/>
            </a:xfrm>
            <a:custGeom>
              <a:avLst/>
              <a:gdLst>
                <a:gd name="T0" fmla="*/ 0 w 83"/>
                <a:gd name="T1" fmla="*/ 2147483647 h 60"/>
                <a:gd name="T2" fmla="*/ 2147483647 w 83"/>
                <a:gd name="T3" fmla="*/ 2147483647 h 60"/>
                <a:gd name="T4" fmla="*/ 2147483647 w 83"/>
                <a:gd name="T5" fmla="*/ 2147483647 h 60"/>
                <a:gd name="T6" fmla="*/ 2147483647 w 83"/>
                <a:gd name="T7" fmla="*/ 2147483647 h 60"/>
                <a:gd name="T8" fmla="*/ 2147483647 w 83"/>
                <a:gd name="T9" fmla="*/ 2147483647 h 60"/>
                <a:gd name="T10" fmla="*/ 2147483647 w 83"/>
                <a:gd name="T11" fmla="*/ 2147483647 h 60"/>
                <a:gd name="T12" fmla="*/ 2147483647 w 83"/>
                <a:gd name="T13" fmla="*/ 2147483647 h 60"/>
                <a:gd name="T14" fmla="*/ 2147483647 w 83"/>
                <a:gd name="T15" fmla="*/ 2147483647 h 60"/>
                <a:gd name="T16" fmla="*/ 2147483647 w 83"/>
                <a:gd name="T17" fmla="*/ 2147483647 h 60"/>
                <a:gd name="T18" fmla="*/ 2147483647 w 83"/>
                <a:gd name="T19" fmla="*/ 2147483647 h 60"/>
                <a:gd name="T20" fmla="*/ 2147483647 w 83"/>
                <a:gd name="T21" fmla="*/ 2147483647 h 60"/>
                <a:gd name="T22" fmla="*/ 2147483647 w 83"/>
                <a:gd name="T23" fmla="*/ 2147483647 h 60"/>
                <a:gd name="T24" fmla="*/ 2147483647 w 83"/>
                <a:gd name="T25" fmla="*/ 2147483647 h 60"/>
                <a:gd name="T26" fmla="*/ 2147483647 w 83"/>
                <a:gd name="T27" fmla="*/ 2147483647 h 60"/>
                <a:gd name="T28" fmla="*/ 2147483647 w 83"/>
                <a:gd name="T29" fmla="*/ 2147483647 h 60"/>
                <a:gd name="T30" fmla="*/ 2147483647 w 83"/>
                <a:gd name="T31" fmla="*/ 2147483647 h 60"/>
                <a:gd name="T32" fmla="*/ 2147483647 w 83"/>
                <a:gd name="T33" fmla="*/ 2147483647 h 60"/>
                <a:gd name="T34" fmla="*/ 2147483647 w 83"/>
                <a:gd name="T35" fmla="*/ 2147483647 h 60"/>
                <a:gd name="T36" fmla="*/ 2147483647 w 83"/>
                <a:gd name="T37" fmla="*/ 2147483647 h 60"/>
                <a:gd name="T38" fmla="*/ 2147483647 w 83"/>
                <a:gd name="T39" fmla="*/ 2147483647 h 60"/>
                <a:gd name="T40" fmla="*/ 2147483647 w 83"/>
                <a:gd name="T41" fmla="*/ 2147483647 h 60"/>
                <a:gd name="T42" fmla="*/ 2147483647 w 83"/>
                <a:gd name="T43" fmla="*/ 2147483647 h 60"/>
                <a:gd name="T44" fmla="*/ 2147483647 w 83"/>
                <a:gd name="T45" fmla="*/ 2147483647 h 60"/>
                <a:gd name="T46" fmla="*/ 2147483647 w 83"/>
                <a:gd name="T47" fmla="*/ 2147483647 h 60"/>
                <a:gd name="T48" fmla="*/ 2147483647 w 83"/>
                <a:gd name="T49" fmla="*/ 2147483647 h 60"/>
                <a:gd name="T50" fmla="*/ 2147483647 w 83"/>
                <a:gd name="T51" fmla="*/ 2147483647 h 60"/>
                <a:gd name="T52" fmla="*/ 2147483647 w 83"/>
                <a:gd name="T53" fmla="*/ 2147483647 h 60"/>
                <a:gd name="T54" fmla="*/ 2147483647 w 83"/>
                <a:gd name="T55" fmla="*/ 2147483647 h 60"/>
                <a:gd name="T56" fmla="*/ 2147483647 w 83"/>
                <a:gd name="T57" fmla="*/ 2147483647 h 60"/>
                <a:gd name="T58" fmla="*/ 2147483647 w 83"/>
                <a:gd name="T59" fmla="*/ 2147483647 h 60"/>
                <a:gd name="T60" fmla="*/ 2147483647 w 83"/>
                <a:gd name="T61" fmla="*/ 2147483647 h 60"/>
                <a:gd name="T62" fmla="*/ 2147483647 w 83"/>
                <a:gd name="T63" fmla="*/ 2147483647 h 60"/>
                <a:gd name="T64" fmla="*/ 2147483647 w 83"/>
                <a:gd name="T65" fmla="*/ 2147483647 h 60"/>
                <a:gd name="T66" fmla="*/ 2147483647 w 83"/>
                <a:gd name="T67" fmla="*/ 2147483647 h 60"/>
                <a:gd name="T68" fmla="*/ 2147483647 w 83"/>
                <a:gd name="T69" fmla="*/ 2147483647 h 60"/>
                <a:gd name="T70" fmla="*/ 2147483647 w 83"/>
                <a:gd name="T71" fmla="*/ 2147483647 h 60"/>
                <a:gd name="T72" fmla="*/ 2147483647 w 83"/>
                <a:gd name="T73" fmla="*/ 2147483647 h 60"/>
                <a:gd name="T74" fmla="*/ 2147483647 w 83"/>
                <a:gd name="T75" fmla="*/ 2147483647 h 60"/>
                <a:gd name="T76" fmla="*/ 2147483647 w 83"/>
                <a:gd name="T77" fmla="*/ 2147483647 h 60"/>
                <a:gd name="T78" fmla="*/ 2147483647 w 83"/>
                <a:gd name="T79" fmla="*/ 2147483647 h 60"/>
                <a:gd name="T80" fmla="*/ 2147483647 w 83"/>
                <a:gd name="T81" fmla="*/ 2147483647 h 60"/>
                <a:gd name="T82" fmla="*/ 2147483647 w 83"/>
                <a:gd name="T83" fmla="*/ 2147483647 h 60"/>
                <a:gd name="T84" fmla="*/ 2147483647 w 83"/>
                <a:gd name="T85" fmla="*/ 2147483647 h 60"/>
                <a:gd name="T86" fmla="*/ 2147483647 w 83"/>
                <a:gd name="T87" fmla="*/ 2147483647 h 60"/>
                <a:gd name="T88" fmla="*/ 2147483647 w 83"/>
                <a:gd name="T89" fmla="*/ 2147483647 h 60"/>
                <a:gd name="T90" fmla="*/ 2147483647 w 83"/>
                <a:gd name="T91" fmla="*/ 2147483647 h 60"/>
                <a:gd name="T92" fmla="*/ 0 w 83"/>
                <a:gd name="T93" fmla="*/ 2147483647 h 6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83"/>
                <a:gd name="T142" fmla="*/ 0 h 60"/>
                <a:gd name="T143" fmla="*/ 83 w 83"/>
                <a:gd name="T144" fmla="*/ 60 h 6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83" h="60">
                  <a:moveTo>
                    <a:pt x="0" y="7"/>
                  </a:moveTo>
                  <a:cubicBezTo>
                    <a:pt x="0" y="6"/>
                    <a:pt x="4" y="5"/>
                    <a:pt x="6" y="5"/>
                  </a:cubicBezTo>
                  <a:cubicBezTo>
                    <a:pt x="8" y="5"/>
                    <a:pt x="13" y="6"/>
                    <a:pt x="14" y="6"/>
                  </a:cubicBezTo>
                  <a:cubicBezTo>
                    <a:pt x="16" y="6"/>
                    <a:pt x="23" y="3"/>
                    <a:pt x="24" y="4"/>
                  </a:cubicBezTo>
                  <a:cubicBezTo>
                    <a:pt x="24" y="5"/>
                    <a:pt x="20" y="8"/>
                    <a:pt x="20" y="9"/>
                  </a:cubicBezTo>
                  <a:cubicBezTo>
                    <a:pt x="19" y="11"/>
                    <a:pt x="22" y="13"/>
                    <a:pt x="24" y="13"/>
                  </a:cubicBezTo>
                  <a:cubicBezTo>
                    <a:pt x="26" y="13"/>
                    <a:pt x="28" y="6"/>
                    <a:pt x="29" y="6"/>
                  </a:cubicBezTo>
                  <a:cubicBezTo>
                    <a:pt x="30" y="5"/>
                    <a:pt x="34" y="10"/>
                    <a:pt x="35" y="11"/>
                  </a:cubicBezTo>
                  <a:cubicBezTo>
                    <a:pt x="36" y="13"/>
                    <a:pt x="42" y="20"/>
                    <a:pt x="43" y="20"/>
                  </a:cubicBezTo>
                  <a:cubicBezTo>
                    <a:pt x="45" y="20"/>
                    <a:pt x="38" y="5"/>
                    <a:pt x="39" y="4"/>
                  </a:cubicBezTo>
                  <a:cubicBezTo>
                    <a:pt x="40" y="3"/>
                    <a:pt x="42" y="0"/>
                    <a:pt x="44" y="1"/>
                  </a:cubicBezTo>
                  <a:cubicBezTo>
                    <a:pt x="45" y="2"/>
                    <a:pt x="53" y="6"/>
                    <a:pt x="53" y="7"/>
                  </a:cubicBezTo>
                  <a:cubicBezTo>
                    <a:pt x="53" y="8"/>
                    <a:pt x="53" y="14"/>
                    <a:pt x="53" y="14"/>
                  </a:cubicBezTo>
                  <a:cubicBezTo>
                    <a:pt x="54" y="14"/>
                    <a:pt x="59" y="10"/>
                    <a:pt x="60" y="11"/>
                  </a:cubicBezTo>
                  <a:cubicBezTo>
                    <a:pt x="60" y="11"/>
                    <a:pt x="62" y="16"/>
                    <a:pt x="63" y="17"/>
                  </a:cubicBezTo>
                  <a:cubicBezTo>
                    <a:pt x="64" y="17"/>
                    <a:pt x="67" y="15"/>
                    <a:pt x="68" y="16"/>
                  </a:cubicBezTo>
                  <a:cubicBezTo>
                    <a:pt x="70" y="16"/>
                    <a:pt x="76" y="20"/>
                    <a:pt x="78" y="20"/>
                  </a:cubicBezTo>
                  <a:cubicBezTo>
                    <a:pt x="79" y="20"/>
                    <a:pt x="83" y="22"/>
                    <a:pt x="83" y="23"/>
                  </a:cubicBezTo>
                  <a:cubicBezTo>
                    <a:pt x="83" y="24"/>
                    <a:pt x="80" y="25"/>
                    <a:pt x="80" y="25"/>
                  </a:cubicBezTo>
                  <a:cubicBezTo>
                    <a:pt x="79" y="26"/>
                    <a:pt x="66" y="27"/>
                    <a:pt x="64" y="28"/>
                  </a:cubicBezTo>
                  <a:cubicBezTo>
                    <a:pt x="63" y="29"/>
                    <a:pt x="64" y="34"/>
                    <a:pt x="63" y="35"/>
                  </a:cubicBezTo>
                  <a:cubicBezTo>
                    <a:pt x="63" y="36"/>
                    <a:pt x="58" y="34"/>
                    <a:pt x="58" y="36"/>
                  </a:cubicBezTo>
                  <a:cubicBezTo>
                    <a:pt x="58" y="37"/>
                    <a:pt x="58" y="42"/>
                    <a:pt x="58" y="43"/>
                  </a:cubicBezTo>
                  <a:cubicBezTo>
                    <a:pt x="57" y="44"/>
                    <a:pt x="54" y="44"/>
                    <a:pt x="54" y="44"/>
                  </a:cubicBezTo>
                  <a:cubicBezTo>
                    <a:pt x="53" y="45"/>
                    <a:pt x="50" y="54"/>
                    <a:pt x="50" y="55"/>
                  </a:cubicBezTo>
                  <a:cubicBezTo>
                    <a:pt x="50" y="56"/>
                    <a:pt x="50" y="60"/>
                    <a:pt x="47" y="60"/>
                  </a:cubicBezTo>
                  <a:cubicBezTo>
                    <a:pt x="43" y="59"/>
                    <a:pt x="37" y="54"/>
                    <a:pt x="34" y="53"/>
                  </a:cubicBezTo>
                  <a:cubicBezTo>
                    <a:pt x="32" y="51"/>
                    <a:pt x="24" y="48"/>
                    <a:pt x="24" y="46"/>
                  </a:cubicBezTo>
                  <a:cubicBezTo>
                    <a:pt x="25" y="45"/>
                    <a:pt x="40" y="43"/>
                    <a:pt x="41" y="43"/>
                  </a:cubicBezTo>
                  <a:cubicBezTo>
                    <a:pt x="42" y="43"/>
                    <a:pt x="41" y="39"/>
                    <a:pt x="41" y="38"/>
                  </a:cubicBezTo>
                  <a:cubicBezTo>
                    <a:pt x="41" y="37"/>
                    <a:pt x="24" y="39"/>
                    <a:pt x="23" y="39"/>
                  </a:cubicBezTo>
                  <a:cubicBezTo>
                    <a:pt x="23" y="40"/>
                    <a:pt x="22" y="36"/>
                    <a:pt x="23" y="36"/>
                  </a:cubicBezTo>
                  <a:cubicBezTo>
                    <a:pt x="24" y="35"/>
                    <a:pt x="33" y="35"/>
                    <a:pt x="34" y="33"/>
                  </a:cubicBezTo>
                  <a:cubicBezTo>
                    <a:pt x="36" y="32"/>
                    <a:pt x="40" y="31"/>
                    <a:pt x="42" y="31"/>
                  </a:cubicBezTo>
                  <a:cubicBezTo>
                    <a:pt x="44" y="31"/>
                    <a:pt x="47" y="31"/>
                    <a:pt x="47" y="31"/>
                  </a:cubicBezTo>
                  <a:cubicBezTo>
                    <a:pt x="48" y="30"/>
                    <a:pt x="45" y="28"/>
                    <a:pt x="45" y="27"/>
                  </a:cubicBezTo>
                  <a:cubicBezTo>
                    <a:pt x="45" y="25"/>
                    <a:pt x="38" y="27"/>
                    <a:pt x="37" y="26"/>
                  </a:cubicBezTo>
                  <a:cubicBezTo>
                    <a:pt x="36" y="24"/>
                    <a:pt x="35" y="24"/>
                    <a:pt x="35" y="23"/>
                  </a:cubicBezTo>
                  <a:cubicBezTo>
                    <a:pt x="35" y="22"/>
                    <a:pt x="30" y="24"/>
                    <a:pt x="29" y="24"/>
                  </a:cubicBezTo>
                  <a:cubicBezTo>
                    <a:pt x="28" y="24"/>
                    <a:pt x="28" y="28"/>
                    <a:pt x="28" y="28"/>
                  </a:cubicBezTo>
                  <a:cubicBezTo>
                    <a:pt x="27" y="29"/>
                    <a:pt x="22" y="30"/>
                    <a:pt x="20" y="30"/>
                  </a:cubicBezTo>
                  <a:cubicBezTo>
                    <a:pt x="18" y="30"/>
                    <a:pt x="17" y="31"/>
                    <a:pt x="15" y="29"/>
                  </a:cubicBezTo>
                  <a:cubicBezTo>
                    <a:pt x="13" y="28"/>
                    <a:pt x="7" y="23"/>
                    <a:pt x="7" y="22"/>
                  </a:cubicBezTo>
                  <a:cubicBezTo>
                    <a:pt x="6" y="20"/>
                    <a:pt x="11" y="21"/>
                    <a:pt x="11" y="20"/>
                  </a:cubicBezTo>
                  <a:cubicBezTo>
                    <a:pt x="11" y="19"/>
                    <a:pt x="9" y="16"/>
                    <a:pt x="8" y="15"/>
                  </a:cubicBezTo>
                  <a:cubicBezTo>
                    <a:pt x="8" y="14"/>
                    <a:pt x="4" y="18"/>
                    <a:pt x="3" y="16"/>
                  </a:cubicBezTo>
                  <a:cubicBezTo>
                    <a:pt x="2" y="15"/>
                    <a:pt x="0" y="9"/>
                    <a:pt x="0" y="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84" name="Freeform 338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6060409" y="2147457"/>
              <a:ext cx="705932" cy="601533"/>
            </a:xfrm>
            <a:custGeom>
              <a:avLst/>
              <a:gdLst>
                <a:gd name="T0" fmla="*/ 2147483647 w 201"/>
                <a:gd name="T1" fmla="*/ 2147483647 h 163"/>
                <a:gd name="T2" fmla="*/ 2147483647 w 201"/>
                <a:gd name="T3" fmla="*/ 2147483647 h 163"/>
                <a:gd name="T4" fmla="*/ 2147483647 w 201"/>
                <a:gd name="T5" fmla="*/ 2147483647 h 163"/>
                <a:gd name="T6" fmla="*/ 2147483647 w 201"/>
                <a:gd name="T7" fmla="*/ 2147483647 h 163"/>
                <a:gd name="T8" fmla="*/ 2147483647 w 201"/>
                <a:gd name="T9" fmla="*/ 2147483647 h 163"/>
                <a:gd name="T10" fmla="*/ 2147483647 w 201"/>
                <a:gd name="T11" fmla="*/ 2147483647 h 163"/>
                <a:gd name="T12" fmla="*/ 2147483647 w 201"/>
                <a:gd name="T13" fmla="*/ 2147483647 h 163"/>
                <a:gd name="T14" fmla="*/ 2147483647 w 201"/>
                <a:gd name="T15" fmla="*/ 2147483647 h 163"/>
                <a:gd name="T16" fmla="*/ 2147483647 w 201"/>
                <a:gd name="T17" fmla="*/ 2147483647 h 163"/>
                <a:gd name="T18" fmla="*/ 2147483647 w 201"/>
                <a:gd name="T19" fmla="*/ 2147483647 h 163"/>
                <a:gd name="T20" fmla="*/ 2147483647 w 201"/>
                <a:gd name="T21" fmla="*/ 2147483647 h 163"/>
                <a:gd name="T22" fmla="*/ 2147483647 w 201"/>
                <a:gd name="T23" fmla="*/ 2147483647 h 163"/>
                <a:gd name="T24" fmla="*/ 2147483647 w 201"/>
                <a:gd name="T25" fmla="*/ 2147483647 h 163"/>
                <a:gd name="T26" fmla="*/ 2147483647 w 201"/>
                <a:gd name="T27" fmla="*/ 2147483647 h 163"/>
                <a:gd name="T28" fmla="*/ 2147483647 w 201"/>
                <a:gd name="T29" fmla="*/ 2147483647 h 163"/>
                <a:gd name="T30" fmla="*/ 2147483647 w 201"/>
                <a:gd name="T31" fmla="*/ 2147483647 h 163"/>
                <a:gd name="T32" fmla="*/ 2147483647 w 201"/>
                <a:gd name="T33" fmla="*/ 2147483647 h 163"/>
                <a:gd name="T34" fmla="*/ 2147483647 w 201"/>
                <a:gd name="T35" fmla="*/ 2147483647 h 163"/>
                <a:gd name="T36" fmla="*/ 2147483647 w 201"/>
                <a:gd name="T37" fmla="*/ 2147483647 h 163"/>
                <a:gd name="T38" fmla="*/ 2147483647 w 201"/>
                <a:gd name="T39" fmla="*/ 2147483647 h 163"/>
                <a:gd name="T40" fmla="*/ 2147483647 w 201"/>
                <a:gd name="T41" fmla="*/ 2147483647 h 163"/>
                <a:gd name="T42" fmla="*/ 2147483647 w 201"/>
                <a:gd name="T43" fmla="*/ 2147483647 h 163"/>
                <a:gd name="T44" fmla="*/ 2147483647 w 201"/>
                <a:gd name="T45" fmla="*/ 2147483647 h 163"/>
                <a:gd name="T46" fmla="*/ 2147483647 w 201"/>
                <a:gd name="T47" fmla="*/ 2147483647 h 163"/>
                <a:gd name="T48" fmla="*/ 2147483647 w 201"/>
                <a:gd name="T49" fmla="*/ 2147483647 h 163"/>
                <a:gd name="T50" fmla="*/ 2147483647 w 201"/>
                <a:gd name="T51" fmla="*/ 2147483647 h 163"/>
                <a:gd name="T52" fmla="*/ 2147483647 w 201"/>
                <a:gd name="T53" fmla="*/ 2147483647 h 163"/>
                <a:gd name="T54" fmla="*/ 2147483647 w 201"/>
                <a:gd name="T55" fmla="*/ 2147483647 h 163"/>
                <a:gd name="T56" fmla="*/ 2147483647 w 201"/>
                <a:gd name="T57" fmla="*/ 0 h 163"/>
                <a:gd name="T58" fmla="*/ 2147483647 w 201"/>
                <a:gd name="T59" fmla="*/ 2147483647 h 163"/>
                <a:gd name="T60" fmla="*/ 2147483647 w 201"/>
                <a:gd name="T61" fmla="*/ 2147483647 h 163"/>
                <a:gd name="T62" fmla="*/ 2147483647 w 201"/>
                <a:gd name="T63" fmla="*/ 2147483647 h 163"/>
                <a:gd name="T64" fmla="*/ 2147483647 w 201"/>
                <a:gd name="T65" fmla="*/ 2147483647 h 163"/>
                <a:gd name="T66" fmla="*/ 2147483647 w 201"/>
                <a:gd name="T67" fmla="*/ 2147483647 h 163"/>
                <a:gd name="T68" fmla="*/ 2147483647 w 201"/>
                <a:gd name="T69" fmla="*/ 2147483647 h 163"/>
                <a:gd name="T70" fmla="*/ 2147483647 w 201"/>
                <a:gd name="T71" fmla="*/ 2147483647 h 163"/>
                <a:gd name="T72" fmla="*/ 2147483647 w 201"/>
                <a:gd name="T73" fmla="*/ 2147483647 h 163"/>
                <a:gd name="T74" fmla="*/ 2147483647 w 201"/>
                <a:gd name="T75" fmla="*/ 2147483647 h 163"/>
                <a:gd name="T76" fmla="*/ 2147483647 w 201"/>
                <a:gd name="T77" fmla="*/ 2147483647 h 163"/>
                <a:gd name="T78" fmla="*/ 2147483647 w 201"/>
                <a:gd name="T79" fmla="*/ 2147483647 h 163"/>
                <a:gd name="T80" fmla="*/ 2147483647 w 201"/>
                <a:gd name="T81" fmla="*/ 2147483647 h 163"/>
                <a:gd name="T82" fmla="*/ 2147483647 w 201"/>
                <a:gd name="T83" fmla="*/ 2147483647 h 163"/>
                <a:gd name="T84" fmla="*/ 2147483647 w 201"/>
                <a:gd name="T85" fmla="*/ 2147483647 h 163"/>
                <a:gd name="T86" fmla="*/ 2147483647 w 201"/>
                <a:gd name="T87" fmla="*/ 2147483647 h 163"/>
                <a:gd name="T88" fmla="*/ 2147483647 w 201"/>
                <a:gd name="T89" fmla="*/ 2147483647 h 163"/>
                <a:gd name="T90" fmla="*/ 2147483647 w 201"/>
                <a:gd name="T91" fmla="*/ 2147483647 h 163"/>
                <a:gd name="T92" fmla="*/ 2147483647 w 201"/>
                <a:gd name="T93" fmla="*/ 2147483647 h 163"/>
                <a:gd name="T94" fmla="*/ 2147483647 w 201"/>
                <a:gd name="T95" fmla="*/ 2147483647 h 163"/>
                <a:gd name="T96" fmla="*/ 2147483647 w 201"/>
                <a:gd name="T97" fmla="*/ 2147483647 h 163"/>
                <a:gd name="T98" fmla="*/ 2147483647 w 201"/>
                <a:gd name="T99" fmla="*/ 2147483647 h 163"/>
                <a:gd name="T100" fmla="*/ 2147483647 w 201"/>
                <a:gd name="T101" fmla="*/ 2147483647 h 163"/>
                <a:gd name="T102" fmla="*/ 2147483647 w 201"/>
                <a:gd name="T103" fmla="*/ 2147483647 h 163"/>
                <a:gd name="T104" fmla="*/ 2147483647 w 201"/>
                <a:gd name="T105" fmla="*/ 2147483647 h 163"/>
                <a:gd name="T106" fmla="*/ 2147483647 w 201"/>
                <a:gd name="T107" fmla="*/ 2147483647 h 163"/>
                <a:gd name="T108" fmla="*/ 2147483647 w 201"/>
                <a:gd name="T109" fmla="*/ 2147483647 h 163"/>
                <a:gd name="T110" fmla="*/ 2147483647 w 201"/>
                <a:gd name="T111" fmla="*/ 2147483647 h 163"/>
                <a:gd name="T112" fmla="*/ 2147483647 w 201"/>
                <a:gd name="T113" fmla="*/ 2147483647 h 163"/>
                <a:gd name="T114" fmla="*/ 2147483647 w 201"/>
                <a:gd name="T115" fmla="*/ 2147483647 h 163"/>
                <a:gd name="T116" fmla="*/ 2147483647 w 201"/>
                <a:gd name="T117" fmla="*/ 2147483647 h 16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01"/>
                <a:gd name="T178" fmla="*/ 0 h 163"/>
                <a:gd name="T179" fmla="*/ 201 w 201"/>
                <a:gd name="T180" fmla="*/ 163 h 16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01" h="163">
                  <a:moveTo>
                    <a:pt x="11" y="148"/>
                  </a:moveTo>
                  <a:cubicBezTo>
                    <a:pt x="10" y="147"/>
                    <a:pt x="6" y="150"/>
                    <a:pt x="4" y="148"/>
                  </a:cubicBezTo>
                  <a:cubicBezTo>
                    <a:pt x="3" y="147"/>
                    <a:pt x="4" y="142"/>
                    <a:pt x="4" y="141"/>
                  </a:cubicBezTo>
                  <a:cubicBezTo>
                    <a:pt x="3" y="139"/>
                    <a:pt x="1" y="134"/>
                    <a:pt x="1" y="133"/>
                  </a:cubicBezTo>
                  <a:cubicBezTo>
                    <a:pt x="4" y="131"/>
                    <a:pt x="22" y="131"/>
                    <a:pt x="21" y="127"/>
                  </a:cubicBezTo>
                  <a:cubicBezTo>
                    <a:pt x="20" y="124"/>
                    <a:pt x="2" y="128"/>
                    <a:pt x="1" y="127"/>
                  </a:cubicBezTo>
                  <a:cubicBezTo>
                    <a:pt x="0" y="126"/>
                    <a:pt x="1" y="123"/>
                    <a:pt x="2" y="123"/>
                  </a:cubicBezTo>
                  <a:cubicBezTo>
                    <a:pt x="3" y="122"/>
                    <a:pt x="1" y="119"/>
                    <a:pt x="2" y="117"/>
                  </a:cubicBezTo>
                  <a:cubicBezTo>
                    <a:pt x="4" y="116"/>
                    <a:pt x="6" y="113"/>
                    <a:pt x="8" y="113"/>
                  </a:cubicBezTo>
                  <a:cubicBezTo>
                    <a:pt x="10" y="113"/>
                    <a:pt x="12" y="107"/>
                    <a:pt x="13" y="107"/>
                  </a:cubicBezTo>
                  <a:cubicBezTo>
                    <a:pt x="14" y="106"/>
                    <a:pt x="19" y="110"/>
                    <a:pt x="20" y="109"/>
                  </a:cubicBezTo>
                  <a:cubicBezTo>
                    <a:pt x="22" y="109"/>
                    <a:pt x="18" y="104"/>
                    <a:pt x="20" y="104"/>
                  </a:cubicBezTo>
                  <a:cubicBezTo>
                    <a:pt x="21" y="103"/>
                    <a:pt x="24" y="102"/>
                    <a:pt x="26" y="101"/>
                  </a:cubicBezTo>
                  <a:cubicBezTo>
                    <a:pt x="28" y="101"/>
                    <a:pt x="25" y="98"/>
                    <a:pt x="27" y="97"/>
                  </a:cubicBezTo>
                  <a:cubicBezTo>
                    <a:pt x="29" y="96"/>
                    <a:pt x="30" y="96"/>
                    <a:pt x="32" y="96"/>
                  </a:cubicBezTo>
                  <a:cubicBezTo>
                    <a:pt x="33" y="96"/>
                    <a:pt x="33" y="102"/>
                    <a:pt x="34" y="101"/>
                  </a:cubicBezTo>
                  <a:cubicBezTo>
                    <a:pt x="36" y="100"/>
                    <a:pt x="37" y="97"/>
                    <a:pt x="37" y="95"/>
                  </a:cubicBezTo>
                  <a:cubicBezTo>
                    <a:pt x="38" y="94"/>
                    <a:pt x="45" y="87"/>
                    <a:pt x="46" y="87"/>
                  </a:cubicBezTo>
                  <a:cubicBezTo>
                    <a:pt x="46" y="87"/>
                    <a:pt x="48" y="90"/>
                    <a:pt x="50" y="89"/>
                  </a:cubicBezTo>
                  <a:cubicBezTo>
                    <a:pt x="51" y="88"/>
                    <a:pt x="50" y="84"/>
                    <a:pt x="49" y="83"/>
                  </a:cubicBezTo>
                  <a:cubicBezTo>
                    <a:pt x="48" y="82"/>
                    <a:pt x="45" y="81"/>
                    <a:pt x="46" y="81"/>
                  </a:cubicBezTo>
                  <a:cubicBezTo>
                    <a:pt x="46" y="80"/>
                    <a:pt x="52" y="82"/>
                    <a:pt x="54" y="81"/>
                  </a:cubicBezTo>
                  <a:cubicBezTo>
                    <a:pt x="55" y="80"/>
                    <a:pt x="56" y="77"/>
                    <a:pt x="56" y="76"/>
                  </a:cubicBezTo>
                  <a:cubicBezTo>
                    <a:pt x="57" y="75"/>
                    <a:pt x="59" y="72"/>
                    <a:pt x="58" y="71"/>
                  </a:cubicBezTo>
                  <a:cubicBezTo>
                    <a:pt x="57" y="70"/>
                    <a:pt x="56" y="68"/>
                    <a:pt x="57" y="67"/>
                  </a:cubicBezTo>
                  <a:cubicBezTo>
                    <a:pt x="58" y="67"/>
                    <a:pt x="64" y="68"/>
                    <a:pt x="65" y="68"/>
                  </a:cubicBezTo>
                  <a:cubicBezTo>
                    <a:pt x="67" y="67"/>
                    <a:pt x="68" y="66"/>
                    <a:pt x="68" y="65"/>
                  </a:cubicBezTo>
                  <a:cubicBezTo>
                    <a:pt x="69" y="63"/>
                    <a:pt x="61" y="64"/>
                    <a:pt x="61" y="62"/>
                  </a:cubicBezTo>
                  <a:cubicBezTo>
                    <a:pt x="61" y="60"/>
                    <a:pt x="64" y="58"/>
                    <a:pt x="64" y="58"/>
                  </a:cubicBezTo>
                  <a:cubicBezTo>
                    <a:pt x="66" y="56"/>
                    <a:pt x="72" y="54"/>
                    <a:pt x="73" y="52"/>
                  </a:cubicBezTo>
                  <a:cubicBezTo>
                    <a:pt x="75" y="50"/>
                    <a:pt x="75" y="46"/>
                    <a:pt x="77" y="45"/>
                  </a:cubicBezTo>
                  <a:cubicBezTo>
                    <a:pt x="78" y="44"/>
                    <a:pt x="87" y="41"/>
                    <a:pt x="86" y="39"/>
                  </a:cubicBezTo>
                  <a:cubicBezTo>
                    <a:pt x="86" y="38"/>
                    <a:pt x="81" y="37"/>
                    <a:pt x="79" y="38"/>
                  </a:cubicBezTo>
                  <a:cubicBezTo>
                    <a:pt x="77" y="38"/>
                    <a:pt x="69" y="41"/>
                    <a:pt x="67" y="42"/>
                  </a:cubicBezTo>
                  <a:cubicBezTo>
                    <a:pt x="64" y="42"/>
                    <a:pt x="60" y="46"/>
                    <a:pt x="60" y="45"/>
                  </a:cubicBezTo>
                  <a:cubicBezTo>
                    <a:pt x="60" y="44"/>
                    <a:pt x="66" y="36"/>
                    <a:pt x="69" y="36"/>
                  </a:cubicBezTo>
                  <a:cubicBezTo>
                    <a:pt x="72" y="36"/>
                    <a:pt x="73" y="35"/>
                    <a:pt x="74" y="34"/>
                  </a:cubicBezTo>
                  <a:cubicBezTo>
                    <a:pt x="76" y="33"/>
                    <a:pt x="77" y="29"/>
                    <a:pt x="77" y="29"/>
                  </a:cubicBezTo>
                  <a:cubicBezTo>
                    <a:pt x="78" y="28"/>
                    <a:pt x="85" y="25"/>
                    <a:pt x="86" y="25"/>
                  </a:cubicBezTo>
                  <a:cubicBezTo>
                    <a:pt x="87" y="25"/>
                    <a:pt x="85" y="30"/>
                    <a:pt x="87" y="31"/>
                  </a:cubicBezTo>
                  <a:cubicBezTo>
                    <a:pt x="88" y="31"/>
                    <a:pt x="91" y="33"/>
                    <a:pt x="93" y="32"/>
                  </a:cubicBezTo>
                  <a:cubicBezTo>
                    <a:pt x="95" y="30"/>
                    <a:pt x="97" y="29"/>
                    <a:pt x="96" y="28"/>
                  </a:cubicBezTo>
                  <a:cubicBezTo>
                    <a:pt x="96" y="27"/>
                    <a:pt x="93" y="24"/>
                    <a:pt x="93" y="23"/>
                  </a:cubicBezTo>
                  <a:cubicBezTo>
                    <a:pt x="94" y="23"/>
                    <a:pt x="99" y="22"/>
                    <a:pt x="101" y="19"/>
                  </a:cubicBezTo>
                  <a:cubicBezTo>
                    <a:pt x="103" y="18"/>
                    <a:pt x="105" y="14"/>
                    <a:pt x="107" y="13"/>
                  </a:cubicBezTo>
                  <a:cubicBezTo>
                    <a:pt x="110" y="12"/>
                    <a:pt x="114" y="13"/>
                    <a:pt x="116" y="13"/>
                  </a:cubicBezTo>
                  <a:cubicBezTo>
                    <a:pt x="118" y="13"/>
                    <a:pt x="121" y="12"/>
                    <a:pt x="122" y="13"/>
                  </a:cubicBezTo>
                  <a:cubicBezTo>
                    <a:pt x="123" y="13"/>
                    <a:pt x="122" y="18"/>
                    <a:pt x="124" y="18"/>
                  </a:cubicBezTo>
                  <a:cubicBezTo>
                    <a:pt x="127" y="18"/>
                    <a:pt x="128" y="15"/>
                    <a:pt x="128" y="15"/>
                  </a:cubicBezTo>
                  <a:cubicBezTo>
                    <a:pt x="128" y="16"/>
                    <a:pt x="130" y="19"/>
                    <a:pt x="132" y="19"/>
                  </a:cubicBezTo>
                  <a:cubicBezTo>
                    <a:pt x="133" y="19"/>
                    <a:pt x="130" y="12"/>
                    <a:pt x="132" y="11"/>
                  </a:cubicBezTo>
                  <a:cubicBezTo>
                    <a:pt x="133" y="10"/>
                    <a:pt x="136" y="10"/>
                    <a:pt x="137" y="12"/>
                  </a:cubicBezTo>
                  <a:cubicBezTo>
                    <a:pt x="139" y="14"/>
                    <a:pt x="139" y="16"/>
                    <a:pt x="140" y="16"/>
                  </a:cubicBezTo>
                  <a:cubicBezTo>
                    <a:pt x="142" y="16"/>
                    <a:pt x="141" y="8"/>
                    <a:pt x="142" y="7"/>
                  </a:cubicBezTo>
                  <a:cubicBezTo>
                    <a:pt x="143" y="7"/>
                    <a:pt x="145" y="6"/>
                    <a:pt x="147" y="6"/>
                  </a:cubicBezTo>
                  <a:cubicBezTo>
                    <a:pt x="149" y="6"/>
                    <a:pt x="151" y="5"/>
                    <a:pt x="151" y="4"/>
                  </a:cubicBezTo>
                  <a:cubicBezTo>
                    <a:pt x="152" y="2"/>
                    <a:pt x="154" y="2"/>
                    <a:pt x="155" y="1"/>
                  </a:cubicBezTo>
                  <a:cubicBezTo>
                    <a:pt x="156" y="1"/>
                    <a:pt x="160" y="0"/>
                    <a:pt x="161" y="0"/>
                  </a:cubicBezTo>
                  <a:cubicBezTo>
                    <a:pt x="162" y="1"/>
                    <a:pt x="159" y="5"/>
                    <a:pt x="157" y="6"/>
                  </a:cubicBezTo>
                  <a:cubicBezTo>
                    <a:pt x="156" y="7"/>
                    <a:pt x="153" y="14"/>
                    <a:pt x="154" y="15"/>
                  </a:cubicBezTo>
                  <a:cubicBezTo>
                    <a:pt x="154" y="15"/>
                    <a:pt x="159" y="13"/>
                    <a:pt x="160" y="11"/>
                  </a:cubicBezTo>
                  <a:cubicBezTo>
                    <a:pt x="161" y="9"/>
                    <a:pt x="166" y="2"/>
                    <a:pt x="167" y="2"/>
                  </a:cubicBezTo>
                  <a:cubicBezTo>
                    <a:pt x="168" y="2"/>
                    <a:pt x="167" y="11"/>
                    <a:pt x="168" y="11"/>
                  </a:cubicBezTo>
                  <a:cubicBezTo>
                    <a:pt x="169" y="11"/>
                    <a:pt x="173" y="6"/>
                    <a:pt x="174" y="5"/>
                  </a:cubicBezTo>
                  <a:cubicBezTo>
                    <a:pt x="175" y="4"/>
                    <a:pt x="174" y="1"/>
                    <a:pt x="175" y="1"/>
                  </a:cubicBezTo>
                  <a:cubicBezTo>
                    <a:pt x="176" y="1"/>
                    <a:pt x="179" y="1"/>
                    <a:pt x="180" y="2"/>
                  </a:cubicBezTo>
                  <a:cubicBezTo>
                    <a:pt x="181" y="3"/>
                    <a:pt x="178" y="9"/>
                    <a:pt x="180" y="9"/>
                  </a:cubicBezTo>
                  <a:cubicBezTo>
                    <a:pt x="182" y="9"/>
                    <a:pt x="184" y="4"/>
                    <a:pt x="186" y="5"/>
                  </a:cubicBezTo>
                  <a:cubicBezTo>
                    <a:pt x="189" y="6"/>
                    <a:pt x="197" y="8"/>
                    <a:pt x="199" y="9"/>
                  </a:cubicBezTo>
                  <a:cubicBezTo>
                    <a:pt x="200" y="11"/>
                    <a:pt x="201" y="12"/>
                    <a:pt x="200" y="12"/>
                  </a:cubicBezTo>
                  <a:cubicBezTo>
                    <a:pt x="199" y="13"/>
                    <a:pt x="193" y="14"/>
                    <a:pt x="191" y="14"/>
                  </a:cubicBezTo>
                  <a:cubicBezTo>
                    <a:pt x="189" y="14"/>
                    <a:pt x="183" y="13"/>
                    <a:pt x="183" y="14"/>
                  </a:cubicBezTo>
                  <a:cubicBezTo>
                    <a:pt x="182" y="15"/>
                    <a:pt x="181" y="16"/>
                    <a:pt x="184" y="17"/>
                  </a:cubicBezTo>
                  <a:cubicBezTo>
                    <a:pt x="186" y="18"/>
                    <a:pt x="193" y="19"/>
                    <a:pt x="194" y="19"/>
                  </a:cubicBezTo>
                  <a:cubicBezTo>
                    <a:pt x="194" y="19"/>
                    <a:pt x="195" y="19"/>
                    <a:pt x="195" y="19"/>
                  </a:cubicBezTo>
                  <a:cubicBezTo>
                    <a:pt x="195" y="19"/>
                    <a:pt x="194" y="23"/>
                    <a:pt x="193" y="25"/>
                  </a:cubicBezTo>
                  <a:cubicBezTo>
                    <a:pt x="191" y="27"/>
                    <a:pt x="188" y="24"/>
                    <a:pt x="188" y="30"/>
                  </a:cubicBezTo>
                  <a:cubicBezTo>
                    <a:pt x="188" y="32"/>
                    <a:pt x="186" y="32"/>
                    <a:pt x="184" y="31"/>
                  </a:cubicBezTo>
                  <a:cubicBezTo>
                    <a:pt x="183" y="30"/>
                    <a:pt x="183" y="30"/>
                    <a:pt x="182" y="30"/>
                  </a:cubicBezTo>
                  <a:cubicBezTo>
                    <a:pt x="180" y="29"/>
                    <a:pt x="183" y="26"/>
                    <a:pt x="183" y="24"/>
                  </a:cubicBezTo>
                  <a:cubicBezTo>
                    <a:pt x="183" y="22"/>
                    <a:pt x="181" y="21"/>
                    <a:pt x="179" y="20"/>
                  </a:cubicBezTo>
                  <a:cubicBezTo>
                    <a:pt x="177" y="19"/>
                    <a:pt x="174" y="18"/>
                    <a:pt x="173" y="18"/>
                  </a:cubicBezTo>
                  <a:cubicBezTo>
                    <a:pt x="172" y="18"/>
                    <a:pt x="165" y="19"/>
                    <a:pt x="165" y="20"/>
                  </a:cubicBezTo>
                  <a:cubicBezTo>
                    <a:pt x="164" y="21"/>
                    <a:pt x="160" y="26"/>
                    <a:pt x="160" y="28"/>
                  </a:cubicBezTo>
                  <a:cubicBezTo>
                    <a:pt x="160" y="30"/>
                    <a:pt x="157" y="32"/>
                    <a:pt x="155" y="34"/>
                  </a:cubicBezTo>
                  <a:cubicBezTo>
                    <a:pt x="154" y="36"/>
                    <a:pt x="147" y="32"/>
                    <a:pt x="146" y="32"/>
                  </a:cubicBezTo>
                  <a:cubicBezTo>
                    <a:pt x="144" y="32"/>
                    <a:pt x="138" y="33"/>
                    <a:pt x="136" y="32"/>
                  </a:cubicBezTo>
                  <a:cubicBezTo>
                    <a:pt x="134" y="32"/>
                    <a:pt x="127" y="26"/>
                    <a:pt x="125" y="26"/>
                  </a:cubicBezTo>
                  <a:cubicBezTo>
                    <a:pt x="125" y="26"/>
                    <a:pt x="123" y="27"/>
                    <a:pt x="121" y="28"/>
                  </a:cubicBezTo>
                  <a:cubicBezTo>
                    <a:pt x="120" y="29"/>
                    <a:pt x="119" y="29"/>
                    <a:pt x="119" y="29"/>
                  </a:cubicBezTo>
                  <a:cubicBezTo>
                    <a:pt x="119" y="29"/>
                    <a:pt x="117" y="37"/>
                    <a:pt x="116" y="37"/>
                  </a:cubicBezTo>
                  <a:cubicBezTo>
                    <a:pt x="115" y="38"/>
                    <a:pt x="104" y="36"/>
                    <a:pt x="103" y="36"/>
                  </a:cubicBezTo>
                  <a:cubicBezTo>
                    <a:pt x="102" y="36"/>
                    <a:pt x="101" y="43"/>
                    <a:pt x="101" y="44"/>
                  </a:cubicBezTo>
                  <a:cubicBezTo>
                    <a:pt x="100" y="45"/>
                    <a:pt x="95" y="42"/>
                    <a:pt x="95" y="42"/>
                  </a:cubicBezTo>
                  <a:cubicBezTo>
                    <a:pt x="94" y="42"/>
                    <a:pt x="88" y="50"/>
                    <a:pt x="88" y="50"/>
                  </a:cubicBezTo>
                  <a:cubicBezTo>
                    <a:pt x="88" y="50"/>
                    <a:pt x="89" y="54"/>
                    <a:pt x="89" y="55"/>
                  </a:cubicBezTo>
                  <a:cubicBezTo>
                    <a:pt x="89" y="55"/>
                    <a:pt x="82" y="65"/>
                    <a:pt x="82" y="65"/>
                  </a:cubicBezTo>
                  <a:cubicBezTo>
                    <a:pt x="75" y="68"/>
                    <a:pt x="75" y="68"/>
                    <a:pt x="75" y="68"/>
                  </a:cubicBezTo>
                  <a:cubicBezTo>
                    <a:pt x="75" y="68"/>
                    <a:pt x="74" y="75"/>
                    <a:pt x="74" y="77"/>
                  </a:cubicBezTo>
                  <a:cubicBezTo>
                    <a:pt x="73" y="79"/>
                    <a:pt x="68" y="84"/>
                    <a:pt x="67" y="84"/>
                  </a:cubicBezTo>
                  <a:cubicBezTo>
                    <a:pt x="66" y="85"/>
                    <a:pt x="71" y="86"/>
                    <a:pt x="71" y="88"/>
                  </a:cubicBezTo>
                  <a:cubicBezTo>
                    <a:pt x="71" y="90"/>
                    <a:pt x="70" y="95"/>
                    <a:pt x="69" y="95"/>
                  </a:cubicBezTo>
                  <a:cubicBezTo>
                    <a:pt x="68" y="95"/>
                    <a:pt x="63" y="94"/>
                    <a:pt x="62" y="94"/>
                  </a:cubicBezTo>
                  <a:cubicBezTo>
                    <a:pt x="60" y="94"/>
                    <a:pt x="58" y="98"/>
                    <a:pt x="56" y="100"/>
                  </a:cubicBezTo>
                  <a:cubicBezTo>
                    <a:pt x="54" y="102"/>
                    <a:pt x="57" y="113"/>
                    <a:pt x="56" y="117"/>
                  </a:cubicBezTo>
                  <a:cubicBezTo>
                    <a:pt x="55" y="120"/>
                    <a:pt x="61" y="123"/>
                    <a:pt x="61" y="125"/>
                  </a:cubicBezTo>
                  <a:cubicBezTo>
                    <a:pt x="62" y="128"/>
                    <a:pt x="57" y="129"/>
                    <a:pt x="57" y="130"/>
                  </a:cubicBezTo>
                  <a:cubicBezTo>
                    <a:pt x="57" y="131"/>
                    <a:pt x="59" y="136"/>
                    <a:pt x="59" y="138"/>
                  </a:cubicBezTo>
                  <a:cubicBezTo>
                    <a:pt x="59" y="140"/>
                    <a:pt x="56" y="141"/>
                    <a:pt x="54" y="142"/>
                  </a:cubicBezTo>
                  <a:cubicBezTo>
                    <a:pt x="53" y="143"/>
                    <a:pt x="56" y="148"/>
                    <a:pt x="53" y="151"/>
                  </a:cubicBezTo>
                  <a:cubicBezTo>
                    <a:pt x="51" y="154"/>
                    <a:pt x="50" y="154"/>
                    <a:pt x="50" y="154"/>
                  </a:cubicBezTo>
                  <a:cubicBezTo>
                    <a:pt x="49" y="152"/>
                    <a:pt x="49" y="150"/>
                    <a:pt x="47" y="148"/>
                  </a:cubicBezTo>
                  <a:cubicBezTo>
                    <a:pt x="46" y="146"/>
                    <a:pt x="46" y="144"/>
                    <a:pt x="46" y="142"/>
                  </a:cubicBezTo>
                  <a:cubicBezTo>
                    <a:pt x="46" y="141"/>
                    <a:pt x="45" y="141"/>
                    <a:pt x="43" y="141"/>
                  </a:cubicBezTo>
                  <a:cubicBezTo>
                    <a:pt x="42" y="141"/>
                    <a:pt x="42" y="149"/>
                    <a:pt x="41" y="150"/>
                  </a:cubicBezTo>
                  <a:cubicBezTo>
                    <a:pt x="40" y="151"/>
                    <a:pt x="35" y="154"/>
                    <a:pt x="34" y="155"/>
                  </a:cubicBezTo>
                  <a:cubicBezTo>
                    <a:pt x="31" y="157"/>
                    <a:pt x="24" y="163"/>
                    <a:pt x="22" y="163"/>
                  </a:cubicBezTo>
                  <a:cubicBezTo>
                    <a:pt x="19" y="163"/>
                    <a:pt x="6" y="158"/>
                    <a:pt x="6" y="156"/>
                  </a:cubicBezTo>
                  <a:cubicBezTo>
                    <a:pt x="5" y="153"/>
                    <a:pt x="11" y="150"/>
                    <a:pt x="11" y="14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85" name="Freeform 339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6002782" y="3003024"/>
              <a:ext cx="102905" cy="74293"/>
            </a:xfrm>
            <a:custGeom>
              <a:avLst/>
              <a:gdLst>
                <a:gd name="T0" fmla="*/ 2147483647 w 29"/>
                <a:gd name="T1" fmla="*/ 2147483647 h 21"/>
                <a:gd name="T2" fmla="*/ 0 w 29"/>
                <a:gd name="T3" fmla="*/ 2147483647 h 21"/>
                <a:gd name="T4" fmla="*/ 2147483647 w 29"/>
                <a:gd name="T5" fmla="*/ 2147483647 h 21"/>
                <a:gd name="T6" fmla="*/ 2147483647 w 29"/>
                <a:gd name="T7" fmla="*/ 0 h 21"/>
                <a:gd name="T8" fmla="*/ 2147483647 w 29"/>
                <a:gd name="T9" fmla="*/ 2147483647 h 21"/>
                <a:gd name="T10" fmla="*/ 2147483647 w 29"/>
                <a:gd name="T11" fmla="*/ 2147483647 h 21"/>
                <a:gd name="T12" fmla="*/ 2147483647 w 29"/>
                <a:gd name="T13" fmla="*/ 2147483647 h 21"/>
                <a:gd name="T14" fmla="*/ 2147483647 w 29"/>
                <a:gd name="T15" fmla="*/ 2147483647 h 21"/>
                <a:gd name="T16" fmla="*/ 2147483647 w 29"/>
                <a:gd name="T17" fmla="*/ 2147483647 h 21"/>
                <a:gd name="T18" fmla="*/ 2147483647 w 29"/>
                <a:gd name="T19" fmla="*/ 2147483647 h 21"/>
                <a:gd name="T20" fmla="*/ 2147483647 w 29"/>
                <a:gd name="T21" fmla="*/ 2147483647 h 21"/>
                <a:gd name="T22" fmla="*/ 2147483647 w 29"/>
                <a:gd name="T23" fmla="*/ 2147483647 h 21"/>
                <a:gd name="T24" fmla="*/ 2147483647 w 29"/>
                <a:gd name="T25" fmla="*/ 2147483647 h 21"/>
                <a:gd name="T26" fmla="*/ 2147483647 w 29"/>
                <a:gd name="T27" fmla="*/ 2147483647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9"/>
                <a:gd name="T43" fmla="*/ 0 h 21"/>
                <a:gd name="T44" fmla="*/ 29 w 29"/>
                <a:gd name="T45" fmla="*/ 21 h 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9" h="21">
                  <a:moveTo>
                    <a:pt x="9" y="15"/>
                  </a:moveTo>
                  <a:cubicBezTo>
                    <a:pt x="7" y="14"/>
                    <a:pt x="0" y="6"/>
                    <a:pt x="0" y="5"/>
                  </a:cubicBezTo>
                  <a:cubicBezTo>
                    <a:pt x="2" y="4"/>
                    <a:pt x="5" y="4"/>
                    <a:pt x="5" y="3"/>
                  </a:cubicBezTo>
                  <a:cubicBezTo>
                    <a:pt x="6" y="3"/>
                    <a:pt x="8" y="1"/>
                    <a:pt x="9" y="0"/>
                  </a:cubicBezTo>
                  <a:cubicBezTo>
                    <a:pt x="10" y="2"/>
                    <a:pt x="20" y="2"/>
                    <a:pt x="20" y="3"/>
                  </a:cubicBezTo>
                  <a:cubicBezTo>
                    <a:pt x="20" y="4"/>
                    <a:pt x="20" y="8"/>
                    <a:pt x="21" y="8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9" y="13"/>
                    <a:pt x="28" y="16"/>
                    <a:pt x="28" y="19"/>
                  </a:cubicBezTo>
                  <a:cubicBezTo>
                    <a:pt x="28" y="19"/>
                    <a:pt x="28" y="20"/>
                    <a:pt x="2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0" y="21"/>
                    <a:pt x="18" y="19"/>
                    <a:pt x="17" y="18"/>
                  </a:cubicBezTo>
                  <a:cubicBezTo>
                    <a:pt x="17" y="17"/>
                    <a:pt x="17" y="15"/>
                    <a:pt x="16" y="15"/>
                  </a:cubicBezTo>
                  <a:cubicBezTo>
                    <a:pt x="15" y="14"/>
                    <a:pt x="11" y="16"/>
                    <a:pt x="9" y="1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86" name="Freeform 340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5796971" y="3019800"/>
              <a:ext cx="353995" cy="306758"/>
            </a:xfrm>
            <a:custGeom>
              <a:avLst/>
              <a:gdLst>
                <a:gd name="T0" fmla="*/ 2147483647 w 101"/>
                <a:gd name="T1" fmla="*/ 2147483647 h 83"/>
                <a:gd name="T2" fmla="*/ 2147483647 w 101"/>
                <a:gd name="T3" fmla="*/ 2147483647 h 83"/>
                <a:gd name="T4" fmla="*/ 2147483647 w 101"/>
                <a:gd name="T5" fmla="*/ 2147483647 h 83"/>
                <a:gd name="T6" fmla="*/ 2147483647 w 101"/>
                <a:gd name="T7" fmla="*/ 2147483647 h 83"/>
                <a:gd name="T8" fmla="*/ 2147483647 w 101"/>
                <a:gd name="T9" fmla="*/ 2147483647 h 83"/>
                <a:gd name="T10" fmla="*/ 2147483647 w 101"/>
                <a:gd name="T11" fmla="*/ 2147483647 h 83"/>
                <a:gd name="T12" fmla="*/ 2147483647 w 101"/>
                <a:gd name="T13" fmla="*/ 2147483647 h 83"/>
                <a:gd name="T14" fmla="*/ 2147483647 w 101"/>
                <a:gd name="T15" fmla="*/ 2147483647 h 83"/>
                <a:gd name="T16" fmla="*/ 2147483647 w 101"/>
                <a:gd name="T17" fmla="*/ 2147483647 h 83"/>
                <a:gd name="T18" fmla="*/ 2147483647 w 101"/>
                <a:gd name="T19" fmla="*/ 2147483647 h 83"/>
                <a:gd name="T20" fmla="*/ 2147483647 w 101"/>
                <a:gd name="T21" fmla="*/ 2147483647 h 83"/>
                <a:gd name="T22" fmla="*/ 2147483647 w 101"/>
                <a:gd name="T23" fmla="*/ 0 h 83"/>
                <a:gd name="T24" fmla="*/ 2147483647 w 101"/>
                <a:gd name="T25" fmla="*/ 2147483647 h 83"/>
                <a:gd name="T26" fmla="*/ 2147483647 w 101"/>
                <a:gd name="T27" fmla="*/ 2147483647 h 83"/>
                <a:gd name="T28" fmla="*/ 2147483647 w 101"/>
                <a:gd name="T29" fmla="*/ 2147483647 h 83"/>
                <a:gd name="T30" fmla="*/ 2147483647 w 101"/>
                <a:gd name="T31" fmla="*/ 2147483647 h 83"/>
                <a:gd name="T32" fmla="*/ 2147483647 w 101"/>
                <a:gd name="T33" fmla="*/ 2147483647 h 83"/>
                <a:gd name="T34" fmla="*/ 2147483647 w 101"/>
                <a:gd name="T35" fmla="*/ 2147483647 h 83"/>
                <a:gd name="T36" fmla="*/ 2147483647 w 101"/>
                <a:gd name="T37" fmla="*/ 2147483647 h 83"/>
                <a:gd name="T38" fmla="*/ 2147483647 w 101"/>
                <a:gd name="T39" fmla="*/ 2147483647 h 83"/>
                <a:gd name="T40" fmla="*/ 2147483647 w 101"/>
                <a:gd name="T41" fmla="*/ 2147483647 h 83"/>
                <a:gd name="T42" fmla="*/ 2147483647 w 101"/>
                <a:gd name="T43" fmla="*/ 2147483647 h 83"/>
                <a:gd name="T44" fmla="*/ 2147483647 w 101"/>
                <a:gd name="T45" fmla="*/ 2147483647 h 83"/>
                <a:gd name="T46" fmla="*/ 2147483647 w 101"/>
                <a:gd name="T47" fmla="*/ 2147483647 h 83"/>
                <a:gd name="T48" fmla="*/ 2147483647 w 101"/>
                <a:gd name="T49" fmla="*/ 2147483647 h 83"/>
                <a:gd name="T50" fmla="*/ 2147483647 w 101"/>
                <a:gd name="T51" fmla="*/ 2147483647 h 83"/>
                <a:gd name="T52" fmla="*/ 2147483647 w 101"/>
                <a:gd name="T53" fmla="*/ 2147483647 h 83"/>
                <a:gd name="T54" fmla="*/ 2147483647 w 101"/>
                <a:gd name="T55" fmla="*/ 2147483647 h 83"/>
                <a:gd name="T56" fmla="*/ 2147483647 w 101"/>
                <a:gd name="T57" fmla="*/ 2147483647 h 83"/>
                <a:gd name="T58" fmla="*/ 2147483647 w 101"/>
                <a:gd name="T59" fmla="*/ 2147483647 h 83"/>
                <a:gd name="T60" fmla="*/ 2147483647 w 101"/>
                <a:gd name="T61" fmla="*/ 2147483647 h 83"/>
                <a:gd name="T62" fmla="*/ 2147483647 w 101"/>
                <a:gd name="T63" fmla="*/ 2147483647 h 83"/>
                <a:gd name="T64" fmla="*/ 2147483647 w 101"/>
                <a:gd name="T65" fmla="*/ 2147483647 h 83"/>
                <a:gd name="T66" fmla="*/ 2147483647 w 101"/>
                <a:gd name="T67" fmla="*/ 2147483647 h 83"/>
                <a:gd name="T68" fmla="*/ 2147483647 w 101"/>
                <a:gd name="T69" fmla="*/ 2147483647 h 83"/>
                <a:gd name="T70" fmla="*/ 2147483647 w 101"/>
                <a:gd name="T71" fmla="*/ 2147483647 h 83"/>
                <a:gd name="T72" fmla="*/ 2147483647 w 101"/>
                <a:gd name="T73" fmla="*/ 2147483647 h 83"/>
                <a:gd name="T74" fmla="*/ 2147483647 w 101"/>
                <a:gd name="T75" fmla="*/ 2147483647 h 83"/>
                <a:gd name="T76" fmla="*/ 2147483647 w 101"/>
                <a:gd name="T77" fmla="*/ 2147483647 h 83"/>
                <a:gd name="T78" fmla="*/ 2147483647 w 101"/>
                <a:gd name="T79" fmla="*/ 2147483647 h 83"/>
                <a:gd name="T80" fmla="*/ 2147483647 w 101"/>
                <a:gd name="T81" fmla="*/ 2147483647 h 83"/>
                <a:gd name="T82" fmla="*/ 2147483647 w 101"/>
                <a:gd name="T83" fmla="*/ 2147483647 h 83"/>
                <a:gd name="T84" fmla="*/ 2147483647 w 101"/>
                <a:gd name="T85" fmla="*/ 2147483647 h 83"/>
                <a:gd name="T86" fmla="*/ 2147483647 w 101"/>
                <a:gd name="T87" fmla="*/ 2147483647 h 8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01"/>
                <a:gd name="T133" fmla="*/ 0 h 83"/>
                <a:gd name="T134" fmla="*/ 101 w 101"/>
                <a:gd name="T135" fmla="*/ 83 h 8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01" h="83">
                  <a:moveTo>
                    <a:pt x="2" y="25"/>
                  </a:moveTo>
                  <a:cubicBezTo>
                    <a:pt x="3" y="24"/>
                    <a:pt x="12" y="23"/>
                    <a:pt x="14" y="23"/>
                  </a:cubicBezTo>
                  <a:cubicBezTo>
                    <a:pt x="16" y="23"/>
                    <a:pt x="17" y="26"/>
                    <a:pt x="18" y="26"/>
                  </a:cubicBezTo>
                  <a:cubicBezTo>
                    <a:pt x="19" y="26"/>
                    <a:pt x="25" y="25"/>
                    <a:pt x="27" y="25"/>
                  </a:cubicBezTo>
                  <a:cubicBezTo>
                    <a:pt x="28" y="24"/>
                    <a:pt x="22" y="16"/>
                    <a:pt x="22" y="14"/>
                  </a:cubicBezTo>
                  <a:cubicBezTo>
                    <a:pt x="23" y="13"/>
                    <a:pt x="29" y="13"/>
                    <a:pt x="29" y="13"/>
                  </a:cubicBezTo>
                  <a:cubicBezTo>
                    <a:pt x="29" y="13"/>
                    <a:pt x="29" y="17"/>
                    <a:pt x="32" y="17"/>
                  </a:cubicBezTo>
                  <a:cubicBezTo>
                    <a:pt x="34" y="17"/>
                    <a:pt x="39" y="19"/>
                    <a:pt x="40" y="17"/>
                  </a:cubicBezTo>
                  <a:cubicBezTo>
                    <a:pt x="41" y="16"/>
                    <a:pt x="40" y="13"/>
                    <a:pt x="42" y="13"/>
                  </a:cubicBezTo>
                  <a:cubicBezTo>
                    <a:pt x="44" y="13"/>
                    <a:pt x="50" y="12"/>
                    <a:pt x="51" y="10"/>
                  </a:cubicBezTo>
                  <a:cubicBezTo>
                    <a:pt x="52" y="9"/>
                    <a:pt x="51" y="3"/>
                    <a:pt x="52" y="3"/>
                  </a:cubicBezTo>
                  <a:cubicBezTo>
                    <a:pt x="53" y="2"/>
                    <a:pt x="56" y="1"/>
                    <a:pt x="59" y="0"/>
                  </a:cubicBezTo>
                  <a:cubicBezTo>
                    <a:pt x="59" y="1"/>
                    <a:pt x="66" y="9"/>
                    <a:pt x="68" y="10"/>
                  </a:cubicBezTo>
                  <a:cubicBezTo>
                    <a:pt x="70" y="11"/>
                    <a:pt x="74" y="9"/>
                    <a:pt x="75" y="10"/>
                  </a:cubicBezTo>
                  <a:cubicBezTo>
                    <a:pt x="76" y="10"/>
                    <a:pt x="76" y="12"/>
                    <a:pt x="76" y="13"/>
                  </a:cubicBezTo>
                  <a:cubicBezTo>
                    <a:pt x="77" y="14"/>
                    <a:pt x="79" y="16"/>
                    <a:pt x="82" y="16"/>
                  </a:cubicBezTo>
                  <a:cubicBezTo>
                    <a:pt x="87" y="16"/>
                    <a:pt x="87" y="16"/>
                    <a:pt x="87" y="16"/>
                  </a:cubicBezTo>
                  <a:cubicBezTo>
                    <a:pt x="87" y="17"/>
                    <a:pt x="88" y="18"/>
                    <a:pt x="89" y="19"/>
                  </a:cubicBezTo>
                  <a:cubicBezTo>
                    <a:pt x="91" y="20"/>
                    <a:pt x="101" y="21"/>
                    <a:pt x="100" y="23"/>
                  </a:cubicBezTo>
                  <a:cubicBezTo>
                    <a:pt x="99" y="24"/>
                    <a:pt x="97" y="31"/>
                    <a:pt x="96" y="34"/>
                  </a:cubicBezTo>
                  <a:cubicBezTo>
                    <a:pt x="96" y="34"/>
                    <a:pt x="96" y="35"/>
                    <a:pt x="96" y="35"/>
                  </a:cubicBezTo>
                  <a:cubicBezTo>
                    <a:pt x="95" y="36"/>
                    <a:pt x="91" y="38"/>
                    <a:pt x="89" y="39"/>
                  </a:cubicBezTo>
                  <a:cubicBezTo>
                    <a:pt x="87" y="40"/>
                    <a:pt x="84" y="45"/>
                    <a:pt x="84" y="46"/>
                  </a:cubicBezTo>
                  <a:cubicBezTo>
                    <a:pt x="84" y="48"/>
                    <a:pt x="89" y="47"/>
                    <a:pt x="90" y="47"/>
                  </a:cubicBezTo>
                  <a:cubicBezTo>
                    <a:pt x="92" y="48"/>
                    <a:pt x="92" y="49"/>
                    <a:pt x="92" y="52"/>
                  </a:cubicBezTo>
                  <a:cubicBezTo>
                    <a:pt x="92" y="52"/>
                    <a:pt x="92" y="52"/>
                    <a:pt x="92" y="53"/>
                  </a:cubicBezTo>
                  <a:cubicBezTo>
                    <a:pt x="93" y="55"/>
                    <a:pt x="92" y="57"/>
                    <a:pt x="90" y="59"/>
                  </a:cubicBezTo>
                  <a:cubicBezTo>
                    <a:pt x="88" y="60"/>
                    <a:pt x="91" y="63"/>
                    <a:pt x="91" y="65"/>
                  </a:cubicBezTo>
                  <a:cubicBezTo>
                    <a:pt x="91" y="67"/>
                    <a:pt x="95" y="65"/>
                    <a:pt x="97" y="66"/>
                  </a:cubicBezTo>
                  <a:cubicBezTo>
                    <a:pt x="98" y="67"/>
                    <a:pt x="98" y="69"/>
                    <a:pt x="98" y="70"/>
                  </a:cubicBezTo>
                  <a:cubicBezTo>
                    <a:pt x="95" y="71"/>
                    <a:pt x="92" y="74"/>
                    <a:pt x="90" y="76"/>
                  </a:cubicBezTo>
                  <a:cubicBezTo>
                    <a:pt x="87" y="78"/>
                    <a:pt x="88" y="78"/>
                    <a:pt x="84" y="78"/>
                  </a:cubicBezTo>
                  <a:cubicBezTo>
                    <a:pt x="79" y="77"/>
                    <a:pt x="71" y="73"/>
                    <a:pt x="68" y="74"/>
                  </a:cubicBezTo>
                  <a:cubicBezTo>
                    <a:pt x="64" y="75"/>
                    <a:pt x="61" y="79"/>
                    <a:pt x="62" y="82"/>
                  </a:cubicBezTo>
                  <a:cubicBezTo>
                    <a:pt x="62" y="82"/>
                    <a:pt x="60" y="83"/>
                    <a:pt x="58" y="83"/>
                  </a:cubicBezTo>
                  <a:cubicBezTo>
                    <a:pt x="56" y="83"/>
                    <a:pt x="50" y="81"/>
                    <a:pt x="46" y="80"/>
                  </a:cubicBezTo>
                  <a:cubicBezTo>
                    <a:pt x="42" y="80"/>
                    <a:pt x="41" y="81"/>
                    <a:pt x="38" y="80"/>
                  </a:cubicBezTo>
                  <a:cubicBezTo>
                    <a:pt x="35" y="79"/>
                    <a:pt x="26" y="74"/>
                    <a:pt x="26" y="74"/>
                  </a:cubicBezTo>
                  <a:cubicBezTo>
                    <a:pt x="27" y="73"/>
                    <a:pt x="27" y="72"/>
                    <a:pt x="27" y="72"/>
                  </a:cubicBezTo>
                  <a:cubicBezTo>
                    <a:pt x="27" y="70"/>
                    <a:pt x="29" y="54"/>
                    <a:pt x="29" y="52"/>
                  </a:cubicBezTo>
                  <a:cubicBezTo>
                    <a:pt x="28" y="49"/>
                    <a:pt x="24" y="44"/>
                    <a:pt x="23" y="42"/>
                  </a:cubicBezTo>
                  <a:cubicBezTo>
                    <a:pt x="21" y="41"/>
                    <a:pt x="17" y="36"/>
                    <a:pt x="15" y="35"/>
                  </a:cubicBezTo>
                  <a:cubicBezTo>
                    <a:pt x="12" y="34"/>
                    <a:pt x="6" y="33"/>
                    <a:pt x="4" y="32"/>
                  </a:cubicBezTo>
                  <a:cubicBezTo>
                    <a:pt x="2" y="30"/>
                    <a:pt x="0" y="26"/>
                    <a:pt x="2" y="25"/>
                  </a:cubicBezTo>
                  <a:close/>
                </a:path>
              </a:pathLst>
            </a:custGeom>
            <a:solidFill>
              <a:srgbClr val="006487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87" name="Freeform 341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5426512" y="1910199"/>
              <a:ext cx="41162" cy="33552"/>
            </a:xfrm>
            <a:custGeom>
              <a:avLst/>
              <a:gdLst>
                <a:gd name="T0" fmla="*/ 2147483647 w 12"/>
                <a:gd name="T1" fmla="*/ 2147483647 h 9"/>
                <a:gd name="T2" fmla="*/ 2147483647 w 12"/>
                <a:gd name="T3" fmla="*/ 2147483647 h 9"/>
                <a:gd name="T4" fmla="*/ 2147483647 w 12"/>
                <a:gd name="T5" fmla="*/ 0 h 9"/>
                <a:gd name="T6" fmla="*/ 2147483647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9"/>
                <a:gd name="T20" fmla="*/ 12 w 12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9">
                  <a:moveTo>
                    <a:pt x="1" y="7"/>
                  </a:moveTo>
                  <a:cubicBezTo>
                    <a:pt x="1" y="6"/>
                    <a:pt x="0" y="1"/>
                    <a:pt x="1" y="1"/>
                  </a:cubicBezTo>
                  <a:cubicBezTo>
                    <a:pt x="2" y="1"/>
                    <a:pt x="6" y="0"/>
                    <a:pt x="6" y="0"/>
                  </a:cubicBezTo>
                  <a:cubicBezTo>
                    <a:pt x="6" y="0"/>
                    <a:pt x="9" y="4"/>
                    <a:pt x="11" y="5"/>
                  </a:cubicBezTo>
                  <a:cubicBezTo>
                    <a:pt x="12" y="5"/>
                    <a:pt x="10" y="9"/>
                    <a:pt x="8" y="9"/>
                  </a:cubicBezTo>
                  <a:cubicBezTo>
                    <a:pt x="7" y="8"/>
                    <a:pt x="1" y="8"/>
                    <a:pt x="1" y="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88" name="Freeform 342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5403873" y="1694510"/>
              <a:ext cx="61743" cy="69500"/>
            </a:xfrm>
            <a:custGeom>
              <a:avLst/>
              <a:gdLst>
                <a:gd name="T0" fmla="*/ 2147483647 w 18"/>
                <a:gd name="T1" fmla="*/ 2147483647 h 19"/>
                <a:gd name="T2" fmla="*/ 2147483647 w 18"/>
                <a:gd name="T3" fmla="*/ 2147483647 h 19"/>
                <a:gd name="T4" fmla="*/ 2147483647 w 18"/>
                <a:gd name="T5" fmla="*/ 2147483647 h 19"/>
                <a:gd name="T6" fmla="*/ 2147483647 w 18"/>
                <a:gd name="T7" fmla="*/ 2147483647 h 19"/>
                <a:gd name="T8" fmla="*/ 2147483647 w 18"/>
                <a:gd name="T9" fmla="*/ 2147483647 h 19"/>
                <a:gd name="T10" fmla="*/ 2147483647 w 18"/>
                <a:gd name="T11" fmla="*/ 2147483647 h 19"/>
                <a:gd name="T12" fmla="*/ 2147483647 w 18"/>
                <a:gd name="T13" fmla="*/ 2147483647 h 19"/>
                <a:gd name="T14" fmla="*/ 2147483647 w 18"/>
                <a:gd name="T15" fmla="*/ 2147483647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8"/>
                <a:gd name="T25" fmla="*/ 0 h 19"/>
                <a:gd name="T26" fmla="*/ 18 w 18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8" h="19">
                  <a:moveTo>
                    <a:pt x="2" y="17"/>
                  </a:moveTo>
                  <a:cubicBezTo>
                    <a:pt x="0" y="17"/>
                    <a:pt x="2" y="13"/>
                    <a:pt x="3" y="12"/>
                  </a:cubicBezTo>
                  <a:cubicBezTo>
                    <a:pt x="3" y="12"/>
                    <a:pt x="5" y="11"/>
                    <a:pt x="6" y="11"/>
                  </a:cubicBezTo>
                  <a:cubicBezTo>
                    <a:pt x="7" y="11"/>
                    <a:pt x="8" y="8"/>
                    <a:pt x="9" y="6"/>
                  </a:cubicBezTo>
                  <a:cubicBezTo>
                    <a:pt x="10" y="4"/>
                    <a:pt x="16" y="0"/>
                    <a:pt x="17" y="1"/>
                  </a:cubicBezTo>
                  <a:cubicBezTo>
                    <a:pt x="18" y="2"/>
                    <a:pt x="14" y="7"/>
                    <a:pt x="12" y="9"/>
                  </a:cubicBezTo>
                  <a:cubicBezTo>
                    <a:pt x="11" y="10"/>
                    <a:pt x="8" y="17"/>
                    <a:pt x="7" y="18"/>
                  </a:cubicBezTo>
                  <a:cubicBezTo>
                    <a:pt x="6" y="19"/>
                    <a:pt x="4" y="17"/>
                    <a:pt x="2" y="1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89" name="Freeform 343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5268037" y="2375129"/>
              <a:ext cx="302542" cy="150982"/>
            </a:xfrm>
            <a:custGeom>
              <a:avLst/>
              <a:gdLst>
                <a:gd name="T0" fmla="*/ 2147483647 w 86"/>
                <a:gd name="T1" fmla="*/ 2147483647 h 41"/>
                <a:gd name="T2" fmla="*/ 2147483647 w 86"/>
                <a:gd name="T3" fmla="*/ 2147483647 h 41"/>
                <a:gd name="T4" fmla="*/ 2147483647 w 86"/>
                <a:gd name="T5" fmla="*/ 2147483647 h 41"/>
                <a:gd name="T6" fmla="*/ 2147483647 w 86"/>
                <a:gd name="T7" fmla="*/ 2147483647 h 41"/>
                <a:gd name="T8" fmla="*/ 2147483647 w 86"/>
                <a:gd name="T9" fmla="*/ 2147483647 h 41"/>
                <a:gd name="T10" fmla="*/ 2147483647 w 86"/>
                <a:gd name="T11" fmla="*/ 2147483647 h 41"/>
                <a:gd name="T12" fmla="*/ 2147483647 w 86"/>
                <a:gd name="T13" fmla="*/ 2147483647 h 41"/>
                <a:gd name="T14" fmla="*/ 2147483647 w 86"/>
                <a:gd name="T15" fmla="*/ 2147483647 h 41"/>
                <a:gd name="T16" fmla="*/ 2147483647 w 86"/>
                <a:gd name="T17" fmla="*/ 2147483647 h 41"/>
                <a:gd name="T18" fmla="*/ 2147483647 w 86"/>
                <a:gd name="T19" fmla="*/ 2147483647 h 41"/>
                <a:gd name="T20" fmla="*/ 2147483647 w 86"/>
                <a:gd name="T21" fmla="*/ 2147483647 h 41"/>
                <a:gd name="T22" fmla="*/ 2147483647 w 86"/>
                <a:gd name="T23" fmla="*/ 2147483647 h 41"/>
                <a:gd name="T24" fmla="*/ 2147483647 w 86"/>
                <a:gd name="T25" fmla="*/ 2147483647 h 41"/>
                <a:gd name="T26" fmla="*/ 2147483647 w 86"/>
                <a:gd name="T27" fmla="*/ 2147483647 h 41"/>
                <a:gd name="T28" fmla="*/ 2147483647 w 86"/>
                <a:gd name="T29" fmla="*/ 2147483647 h 41"/>
                <a:gd name="T30" fmla="*/ 2147483647 w 86"/>
                <a:gd name="T31" fmla="*/ 0 h 41"/>
                <a:gd name="T32" fmla="*/ 2147483647 w 86"/>
                <a:gd name="T33" fmla="*/ 2147483647 h 41"/>
                <a:gd name="T34" fmla="*/ 2147483647 w 86"/>
                <a:gd name="T35" fmla="*/ 2147483647 h 41"/>
                <a:gd name="T36" fmla="*/ 2147483647 w 86"/>
                <a:gd name="T37" fmla="*/ 2147483647 h 41"/>
                <a:gd name="T38" fmla="*/ 2147483647 w 86"/>
                <a:gd name="T39" fmla="*/ 2147483647 h 41"/>
                <a:gd name="T40" fmla="*/ 2147483647 w 86"/>
                <a:gd name="T41" fmla="*/ 2147483647 h 41"/>
                <a:gd name="T42" fmla="*/ 2147483647 w 86"/>
                <a:gd name="T43" fmla="*/ 2147483647 h 41"/>
                <a:gd name="T44" fmla="*/ 2147483647 w 86"/>
                <a:gd name="T45" fmla="*/ 2147483647 h 41"/>
                <a:gd name="T46" fmla="*/ 2147483647 w 86"/>
                <a:gd name="T47" fmla="*/ 2147483647 h 41"/>
                <a:gd name="T48" fmla="*/ 2147483647 w 86"/>
                <a:gd name="T49" fmla="*/ 2147483647 h 41"/>
                <a:gd name="T50" fmla="*/ 2147483647 w 86"/>
                <a:gd name="T51" fmla="*/ 2147483647 h 41"/>
                <a:gd name="T52" fmla="*/ 2147483647 w 86"/>
                <a:gd name="T53" fmla="*/ 2147483647 h 41"/>
                <a:gd name="T54" fmla="*/ 2147483647 w 86"/>
                <a:gd name="T55" fmla="*/ 2147483647 h 41"/>
                <a:gd name="T56" fmla="*/ 2147483647 w 86"/>
                <a:gd name="T57" fmla="*/ 2147483647 h 41"/>
                <a:gd name="T58" fmla="*/ 2147483647 w 86"/>
                <a:gd name="T59" fmla="*/ 2147483647 h 41"/>
                <a:gd name="T60" fmla="*/ 2147483647 w 86"/>
                <a:gd name="T61" fmla="*/ 2147483647 h 41"/>
                <a:gd name="T62" fmla="*/ 2147483647 w 86"/>
                <a:gd name="T63" fmla="*/ 2147483647 h 41"/>
                <a:gd name="T64" fmla="*/ 2147483647 w 86"/>
                <a:gd name="T65" fmla="*/ 2147483647 h 41"/>
                <a:gd name="T66" fmla="*/ 2147483647 w 86"/>
                <a:gd name="T67" fmla="*/ 2147483647 h 41"/>
                <a:gd name="T68" fmla="*/ 2147483647 w 86"/>
                <a:gd name="T69" fmla="*/ 2147483647 h 41"/>
                <a:gd name="T70" fmla="*/ 2147483647 w 86"/>
                <a:gd name="T71" fmla="*/ 2147483647 h 41"/>
                <a:gd name="T72" fmla="*/ 2147483647 w 86"/>
                <a:gd name="T73" fmla="*/ 2147483647 h 41"/>
                <a:gd name="T74" fmla="*/ 2147483647 w 86"/>
                <a:gd name="T75" fmla="*/ 2147483647 h 41"/>
                <a:gd name="T76" fmla="*/ 2147483647 w 86"/>
                <a:gd name="T77" fmla="*/ 2147483647 h 41"/>
                <a:gd name="T78" fmla="*/ 0 w 86"/>
                <a:gd name="T79" fmla="*/ 2147483647 h 41"/>
                <a:gd name="T80" fmla="*/ 2147483647 w 86"/>
                <a:gd name="T81" fmla="*/ 2147483647 h 4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86"/>
                <a:gd name="T124" fmla="*/ 0 h 41"/>
                <a:gd name="T125" fmla="*/ 86 w 86"/>
                <a:gd name="T126" fmla="*/ 41 h 4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86" h="41">
                  <a:moveTo>
                    <a:pt x="6" y="6"/>
                  </a:moveTo>
                  <a:cubicBezTo>
                    <a:pt x="7" y="5"/>
                    <a:pt x="12" y="7"/>
                    <a:pt x="13" y="7"/>
                  </a:cubicBezTo>
                  <a:cubicBezTo>
                    <a:pt x="14" y="6"/>
                    <a:pt x="7" y="0"/>
                    <a:pt x="15" y="1"/>
                  </a:cubicBezTo>
                  <a:cubicBezTo>
                    <a:pt x="16" y="1"/>
                    <a:pt x="26" y="7"/>
                    <a:pt x="26" y="8"/>
                  </a:cubicBezTo>
                  <a:cubicBezTo>
                    <a:pt x="26" y="9"/>
                    <a:pt x="24" y="12"/>
                    <a:pt x="25" y="14"/>
                  </a:cubicBezTo>
                  <a:cubicBezTo>
                    <a:pt x="26" y="15"/>
                    <a:pt x="25" y="18"/>
                    <a:pt x="26" y="18"/>
                  </a:cubicBezTo>
                  <a:cubicBezTo>
                    <a:pt x="28" y="18"/>
                    <a:pt x="29" y="12"/>
                    <a:pt x="30" y="12"/>
                  </a:cubicBezTo>
                  <a:cubicBezTo>
                    <a:pt x="30" y="12"/>
                    <a:pt x="33" y="12"/>
                    <a:pt x="33" y="11"/>
                  </a:cubicBezTo>
                  <a:cubicBezTo>
                    <a:pt x="33" y="9"/>
                    <a:pt x="32" y="6"/>
                    <a:pt x="34" y="6"/>
                  </a:cubicBezTo>
                  <a:cubicBezTo>
                    <a:pt x="35" y="5"/>
                    <a:pt x="38" y="10"/>
                    <a:pt x="40" y="10"/>
                  </a:cubicBezTo>
                  <a:cubicBezTo>
                    <a:pt x="41" y="10"/>
                    <a:pt x="41" y="5"/>
                    <a:pt x="42" y="5"/>
                  </a:cubicBezTo>
                  <a:cubicBezTo>
                    <a:pt x="44" y="5"/>
                    <a:pt x="48" y="11"/>
                    <a:pt x="50" y="11"/>
                  </a:cubicBezTo>
                  <a:cubicBezTo>
                    <a:pt x="51" y="10"/>
                    <a:pt x="51" y="5"/>
                    <a:pt x="52" y="5"/>
                  </a:cubicBezTo>
                  <a:cubicBezTo>
                    <a:pt x="54" y="5"/>
                    <a:pt x="57" y="6"/>
                    <a:pt x="59" y="6"/>
                  </a:cubicBezTo>
                  <a:cubicBezTo>
                    <a:pt x="61" y="6"/>
                    <a:pt x="62" y="6"/>
                    <a:pt x="63" y="5"/>
                  </a:cubicBezTo>
                  <a:cubicBezTo>
                    <a:pt x="64" y="4"/>
                    <a:pt x="62" y="0"/>
                    <a:pt x="62" y="0"/>
                  </a:cubicBezTo>
                  <a:cubicBezTo>
                    <a:pt x="64" y="0"/>
                    <a:pt x="68" y="0"/>
                    <a:pt x="68" y="1"/>
                  </a:cubicBezTo>
                  <a:cubicBezTo>
                    <a:pt x="69" y="2"/>
                    <a:pt x="71" y="5"/>
                    <a:pt x="73" y="6"/>
                  </a:cubicBezTo>
                  <a:cubicBezTo>
                    <a:pt x="74" y="6"/>
                    <a:pt x="77" y="6"/>
                    <a:pt x="77" y="7"/>
                  </a:cubicBezTo>
                  <a:cubicBezTo>
                    <a:pt x="77" y="8"/>
                    <a:pt x="76" y="10"/>
                    <a:pt x="78" y="11"/>
                  </a:cubicBezTo>
                  <a:cubicBezTo>
                    <a:pt x="79" y="12"/>
                    <a:pt x="84" y="12"/>
                    <a:pt x="84" y="13"/>
                  </a:cubicBezTo>
                  <a:cubicBezTo>
                    <a:pt x="84" y="14"/>
                    <a:pt x="86" y="18"/>
                    <a:pt x="85" y="19"/>
                  </a:cubicBezTo>
                  <a:cubicBezTo>
                    <a:pt x="84" y="20"/>
                    <a:pt x="82" y="24"/>
                    <a:pt x="80" y="25"/>
                  </a:cubicBezTo>
                  <a:cubicBezTo>
                    <a:pt x="77" y="27"/>
                    <a:pt x="70" y="29"/>
                    <a:pt x="69" y="30"/>
                  </a:cubicBezTo>
                  <a:cubicBezTo>
                    <a:pt x="68" y="32"/>
                    <a:pt x="62" y="36"/>
                    <a:pt x="61" y="36"/>
                  </a:cubicBezTo>
                  <a:cubicBezTo>
                    <a:pt x="60" y="36"/>
                    <a:pt x="55" y="34"/>
                    <a:pt x="54" y="35"/>
                  </a:cubicBezTo>
                  <a:cubicBezTo>
                    <a:pt x="52" y="37"/>
                    <a:pt x="50" y="41"/>
                    <a:pt x="47" y="41"/>
                  </a:cubicBezTo>
                  <a:cubicBezTo>
                    <a:pt x="44" y="41"/>
                    <a:pt x="37" y="40"/>
                    <a:pt x="34" y="38"/>
                  </a:cubicBezTo>
                  <a:cubicBezTo>
                    <a:pt x="30" y="37"/>
                    <a:pt x="28" y="35"/>
                    <a:pt x="26" y="35"/>
                  </a:cubicBezTo>
                  <a:cubicBezTo>
                    <a:pt x="24" y="35"/>
                    <a:pt x="16" y="36"/>
                    <a:pt x="15" y="35"/>
                  </a:cubicBezTo>
                  <a:cubicBezTo>
                    <a:pt x="14" y="35"/>
                    <a:pt x="14" y="34"/>
                    <a:pt x="14" y="32"/>
                  </a:cubicBezTo>
                  <a:cubicBezTo>
                    <a:pt x="14" y="30"/>
                    <a:pt x="21" y="30"/>
                    <a:pt x="21" y="29"/>
                  </a:cubicBezTo>
                  <a:cubicBezTo>
                    <a:pt x="21" y="28"/>
                    <a:pt x="19" y="25"/>
                    <a:pt x="17" y="24"/>
                  </a:cubicBezTo>
                  <a:cubicBezTo>
                    <a:pt x="15" y="23"/>
                    <a:pt x="7" y="26"/>
                    <a:pt x="5" y="24"/>
                  </a:cubicBezTo>
                  <a:cubicBezTo>
                    <a:pt x="4" y="22"/>
                    <a:pt x="5" y="21"/>
                    <a:pt x="5" y="21"/>
                  </a:cubicBezTo>
                  <a:cubicBezTo>
                    <a:pt x="5" y="21"/>
                    <a:pt x="13" y="20"/>
                    <a:pt x="14" y="19"/>
                  </a:cubicBezTo>
                  <a:cubicBezTo>
                    <a:pt x="16" y="18"/>
                    <a:pt x="19" y="15"/>
                    <a:pt x="19" y="15"/>
                  </a:cubicBezTo>
                  <a:cubicBezTo>
                    <a:pt x="19" y="14"/>
                    <a:pt x="14" y="14"/>
                    <a:pt x="12" y="14"/>
                  </a:cubicBezTo>
                  <a:cubicBezTo>
                    <a:pt x="10" y="14"/>
                    <a:pt x="6" y="16"/>
                    <a:pt x="4" y="16"/>
                  </a:cubicBezTo>
                  <a:cubicBezTo>
                    <a:pt x="3" y="15"/>
                    <a:pt x="1" y="15"/>
                    <a:pt x="0" y="14"/>
                  </a:cubicBezTo>
                  <a:cubicBezTo>
                    <a:pt x="0" y="13"/>
                    <a:pt x="4" y="8"/>
                    <a:pt x="6" y="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90" name="Freeform 344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457142" y="2190595"/>
              <a:ext cx="78208" cy="52724"/>
            </a:xfrm>
            <a:custGeom>
              <a:avLst/>
              <a:gdLst>
                <a:gd name="T0" fmla="*/ 2147483647 w 22"/>
                <a:gd name="T1" fmla="*/ 2147483647 h 14"/>
                <a:gd name="T2" fmla="*/ 2147483647 w 22"/>
                <a:gd name="T3" fmla="*/ 2147483647 h 14"/>
                <a:gd name="T4" fmla="*/ 0 w 22"/>
                <a:gd name="T5" fmla="*/ 2147483647 h 14"/>
                <a:gd name="T6" fmla="*/ 2147483647 w 22"/>
                <a:gd name="T7" fmla="*/ 0 h 14"/>
                <a:gd name="T8" fmla="*/ 2147483647 w 22"/>
                <a:gd name="T9" fmla="*/ 2147483647 h 14"/>
                <a:gd name="T10" fmla="*/ 2147483647 w 22"/>
                <a:gd name="T11" fmla="*/ 2147483647 h 14"/>
                <a:gd name="T12" fmla="*/ 2147483647 w 22"/>
                <a:gd name="T13" fmla="*/ 2147483647 h 14"/>
                <a:gd name="T14" fmla="*/ 2147483647 w 22"/>
                <a:gd name="T15" fmla="*/ 2147483647 h 14"/>
                <a:gd name="T16" fmla="*/ 2147483647 w 22"/>
                <a:gd name="T17" fmla="*/ 2147483647 h 14"/>
                <a:gd name="T18" fmla="*/ 2147483647 w 22"/>
                <a:gd name="T19" fmla="*/ 2147483647 h 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2"/>
                <a:gd name="T31" fmla="*/ 0 h 14"/>
                <a:gd name="T32" fmla="*/ 22 w 22"/>
                <a:gd name="T33" fmla="*/ 14 h 1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2" h="14">
                  <a:moveTo>
                    <a:pt x="8" y="14"/>
                  </a:moveTo>
                  <a:cubicBezTo>
                    <a:pt x="6" y="14"/>
                    <a:pt x="5" y="10"/>
                    <a:pt x="1" y="10"/>
                  </a:cubicBezTo>
                  <a:cubicBezTo>
                    <a:pt x="0" y="10"/>
                    <a:pt x="0" y="9"/>
                    <a:pt x="0" y="5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2" y="0"/>
                    <a:pt x="5" y="2"/>
                    <a:pt x="6" y="2"/>
                  </a:cubicBezTo>
                  <a:cubicBezTo>
                    <a:pt x="6" y="2"/>
                    <a:pt x="7" y="3"/>
                    <a:pt x="10" y="4"/>
                  </a:cubicBezTo>
                  <a:cubicBezTo>
                    <a:pt x="12" y="5"/>
                    <a:pt x="14" y="6"/>
                    <a:pt x="16" y="7"/>
                  </a:cubicBezTo>
                  <a:cubicBezTo>
                    <a:pt x="18" y="9"/>
                    <a:pt x="22" y="7"/>
                    <a:pt x="22" y="8"/>
                  </a:cubicBezTo>
                  <a:cubicBezTo>
                    <a:pt x="22" y="9"/>
                    <a:pt x="22" y="11"/>
                    <a:pt x="21" y="12"/>
                  </a:cubicBezTo>
                  <a:cubicBezTo>
                    <a:pt x="20" y="12"/>
                    <a:pt x="10" y="14"/>
                    <a:pt x="8" y="1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91" name="Freeform 345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973487" y="1394942"/>
              <a:ext cx="1648546" cy="1282152"/>
            </a:xfrm>
            <a:custGeom>
              <a:avLst/>
              <a:gdLst>
                <a:gd name="T0" fmla="*/ 2147483647 w 470"/>
                <a:gd name="T1" fmla="*/ 2147483647 h 347"/>
                <a:gd name="T2" fmla="*/ 2147483647 w 470"/>
                <a:gd name="T3" fmla="*/ 2147483647 h 347"/>
                <a:gd name="T4" fmla="*/ 2147483647 w 470"/>
                <a:gd name="T5" fmla="*/ 2147483647 h 347"/>
                <a:gd name="T6" fmla="*/ 2147483647 w 470"/>
                <a:gd name="T7" fmla="*/ 2147483647 h 347"/>
                <a:gd name="T8" fmla="*/ 2147483647 w 470"/>
                <a:gd name="T9" fmla="*/ 2147483647 h 347"/>
                <a:gd name="T10" fmla="*/ 2147483647 w 470"/>
                <a:gd name="T11" fmla="*/ 2147483647 h 347"/>
                <a:gd name="T12" fmla="*/ 2147483647 w 470"/>
                <a:gd name="T13" fmla="*/ 2147483647 h 347"/>
                <a:gd name="T14" fmla="*/ 2147483647 w 470"/>
                <a:gd name="T15" fmla="*/ 2147483647 h 347"/>
                <a:gd name="T16" fmla="*/ 2147483647 w 470"/>
                <a:gd name="T17" fmla="*/ 2147483647 h 347"/>
                <a:gd name="T18" fmla="*/ 2147483647 w 470"/>
                <a:gd name="T19" fmla="*/ 2147483647 h 347"/>
                <a:gd name="T20" fmla="*/ 2147483647 w 470"/>
                <a:gd name="T21" fmla="*/ 2147483647 h 347"/>
                <a:gd name="T22" fmla="*/ 2147483647 w 470"/>
                <a:gd name="T23" fmla="*/ 2147483647 h 347"/>
                <a:gd name="T24" fmla="*/ 2147483647 w 470"/>
                <a:gd name="T25" fmla="*/ 2147483647 h 347"/>
                <a:gd name="T26" fmla="*/ 2147483647 w 470"/>
                <a:gd name="T27" fmla="*/ 2147483647 h 347"/>
                <a:gd name="T28" fmla="*/ 2147483647 w 470"/>
                <a:gd name="T29" fmla="*/ 2147483647 h 347"/>
                <a:gd name="T30" fmla="*/ 2147483647 w 470"/>
                <a:gd name="T31" fmla="*/ 2147483647 h 347"/>
                <a:gd name="T32" fmla="*/ 2147483647 w 470"/>
                <a:gd name="T33" fmla="*/ 2147483647 h 347"/>
                <a:gd name="T34" fmla="*/ 2147483647 w 470"/>
                <a:gd name="T35" fmla="*/ 2147483647 h 347"/>
                <a:gd name="T36" fmla="*/ 2147483647 w 470"/>
                <a:gd name="T37" fmla="*/ 2147483647 h 347"/>
                <a:gd name="T38" fmla="*/ 2147483647 w 470"/>
                <a:gd name="T39" fmla="*/ 2147483647 h 347"/>
                <a:gd name="T40" fmla="*/ 2147483647 w 470"/>
                <a:gd name="T41" fmla="*/ 2147483647 h 347"/>
                <a:gd name="T42" fmla="*/ 2147483647 w 470"/>
                <a:gd name="T43" fmla="*/ 2147483647 h 347"/>
                <a:gd name="T44" fmla="*/ 2147483647 w 470"/>
                <a:gd name="T45" fmla="*/ 2147483647 h 347"/>
                <a:gd name="T46" fmla="*/ 2147483647 w 470"/>
                <a:gd name="T47" fmla="*/ 2147483647 h 347"/>
                <a:gd name="T48" fmla="*/ 2147483647 w 470"/>
                <a:gd name="T49" fmla="*/ 2147483647 h 347"/>
                <a:gd name="T50" fmla="*/ 2147483647 w 470"/>
                <a:gd name="T51" fmla="*/ 2147483647 h 347"/>
                <a:gd name="T52" fmla="*/ 2147483647 w 470"/>
                <a:gd name="T53" fmla="*/ 2147483647 h 347"/>
                <a:gd name="T54" fmla="*/ 2147483647 w 470"/>
                <a:gd name="T55" fmla="*/ 2147483647 h 347"/>
                <a:gd name="T56" fmla="*/ 2147483647 w 470"/>
                <a:gd name="T57" fmla="*/ 2147483647 h 347"/>
                <a:gd name="T58" fmla="*/ 2147483647 w 470"/>
                <a:gd name="T59" fmla="*/ 2147483647 h 347"/>
                <a:gd name="T60" fmla="*/ 2147483647 w 470"/>
                <a:gd name="T61" fmla="*/ 2147483647 h 347"/>
                <a:gd name="T62" fmla="*/ 2147483647 w 470"/>
                <a:gd name="T63" fmla="*/ 2147483647 h 347"/>
                <a:gd name="T64" fmla="*/ 2147483647 w 470"/>
                <a:gd name="T65" fmla="*/ 2147483647 h 347"/>
                <a:gd name="T66" fmla="*/ 2147483647 w 470"/>
                <a:gd name="T67" fmla="*/ 2147483647 h 347"/>
                <a:gd name="T68" fmla="*/ 2147483647 w 470"/>
                <a:gd name="T69" fmla="*/ 2147483647 h 347"/>
                <a:gd name="T70" fmla="*/ 2147483647 w 470"/>
                <a:gd name="T71" fmla="*/ 2147483647 h 347"/>
                <a:gd name="T72" fmla="*/ 2147483647 w 470"/>
                <a:gd name="T73" fmla="*/ 2147483647 h 347"/>
                <a:gd name="T74" fmla="*/ 2147483647 w 470"/>
                <a:gd name="T75" fmla="*/ 2147483647 h 347"/>
                <a:gd name="T76" fmla="*/ 2147483647 w 470"/>
                <a:gd name="T77" fmla="*/ 2147483647 h 347"/>
                <a:gd name="T78" fmla="*/ 2147483647 w 470"/>
                <a:gd name="T79" fmla="*/ 2147483647 h 347"/>
                <a:gd name="T80" fmla="*/ 2147483647 w 470"/>
                <a:gd name="T81" fmla="*/ 2147483647 h 347"/>
                <a:gd name="T82" fmla="*/ 2147483647 w 470"/>
                <a:gd name="T83" fmla="*/ 2147483647 h 347"/>
                <a:gd name="T84" fmla="*/ 2147483647 w 470"/>
                <a:gd name="T85" fmla="*/ 2147483647 h 347"/>
                <a:gd name="T86" fmla="*/ 2147483647 w 470"/>
                <a:gd name="T87" fmla="*/ 2147483647 h 347"/>
                <a:gd name="T88" fmla="*/ 2147483647 w 470"/>
                <a:gd name="T89" fmla="*/ 2147483647 h 347"/>
                <a:gd name="T90" fmla="*/ 2147483647 w 470"/>
                <a:gd name="T91" fmla="*/ 2147483647 h 347"/>
                <a:gd name="T92" fmla="*/ 2147483647 w 470"/>
                <a:gd name="T93" fmla="*/ 2147483647 h 347"/>
                <a:gd name="T94" fmla="*/ 2147483647 w 470"/>
                <a:gd name="T95" fmla="*/ 2147483647 h 347"/>
                <a:gd name="T96" fmla="*/ 2147483647 w 470"/>
                <a:gd name="T97" fmla="*/ 2147483647 h 347"/>
                <a:gd name="T98" fmla="*/ 2147483647 w 470"/>
                <a:gd name="T99" fmla="*/ 2147483647 h 347"/>
                <a:gd name="T100" fmla="*/ 2147483647 w 470"/>
                <a:gd name="T101" fmla="*/ 2147483647 h 347"/>
                <a:gd name="T102" fmla="*/ 2147483647 w 470"/>
                <a:gd name="T103" fmla="*/ 2147483647 h 34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70"/>
                <a:gd name="T157" fmla="*/ 0 h 347"/>
                <a:gd name="T158" fmla="*/ 470 w 470"/>
                <a:gd name="T159" fmla="*/ 347 h 34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70" h="347">
                  <a:moveTo>
                    <a:pt x="24" y="120"/>
                  </a:moveTo>
                  <a:cubicBezTo>
                    <a:pt x="21" y="120"/>
                    <a:pt x="15" y="119"/>
                    <a:pt x="14" y="118"/>
                  </a:cubicBezTo>
                  <a:cubicBezTo>
                    <a:pt x="12" y="116"/>
                    <a:pt x="13" y="115"/>
                    <a:pt x="15" y="114"/>
                  </a:cubicBezTo>
                  <a:cubicBezTo>
                    <a:pt x="16" y="114"/>
                    <a:pt x="34" y="113"/>
                    <a:pt x="35" y="112"/>
                  </a:cubicBezTo>
                  <a:cubicBezTo>
                    <a:pt x="36" y="112"/>
                    <a:pt x="38" y="110"/>
                    <a:pt x="38" y="108"/>
                  </a:cubicBezTo>
                  <a:cubicBezTo>
                    <a:pt x="37" y="107"/>
                    <a:pt x="36" y="108"/>
                    <a:pt x="31" y="108"/>
                  </a:cubicBezTo>
                  <a:cubicBezTo>
                    <a:pt x="27" y="108"/>
                    <a:pt x="22" y="107"/>
                    <a:pt x="20" y="106"/>
                  </a:cubicBezTo>
                  <a:cubicBezTo>
                    <a:pt x="18" y="104"/>
                    <a:pt x="3" y="101"/>
                    <a:pt x="2" y="99"/>
                  </a:cubicBezTo>
                  <a:cubicBezTo>
                    <a:pt x="0" y="96"/>
                    <a:pt x="2" y="92"/>
                    <a:pt x="3" y="92"/>
                  </a:cubicBezTo>
                  <a:cubicBezTo>
                    <a:pt x="5" y="91"/>
                    <a:pt x="20" y="88"/>
                    <a:pt x="23" y="88"/>
                  </a:cubicBezTo>
                  <a:cubicBezTo>
                    <a:pt x="26" y="87"/>
                    <a:pt x="36" y="82"/>
                    <a:pt x="38" y="82"/>
                  </a:cubicBezTo>
                  <a:cubicBezTo>
                    <a:pt x="39" y="82"/>
                    <a:pt x="52" y="82"/>
                    <a:pt x="53" y="82"/>
                  </a:cubicBezTo>
                  <a:cubicBezTo>
                    <a:pt x="55" y="81"/>
                    <a:pt x="62" y="76"/>
                    <a:pt x="62" y="74"/>
                  </a:cubicBezTo>
                  <a:cubicBezTo>
                    <a:pt x="62" y="72"/>
                    <a:pt x="62" y="66"/>
                    <a:pt x="59" y="66"/>
                  </a:cubicBezTo>
                  <a:cubicBezTo>
                    <a:pt x="57" y="66"/>
                    <a:pt x="47" y="67"/>
                    <a:pt x="45" y="66"/>
                  </a:cubicBezTo>
                  <a:cubicBezTo>
                    <a:pt x="44" y="65"/>
                    <a:pt x="43" y="62"/>
                    <a:pt x="44" y="61"/>
                  </a:cubicBezTo>
                  <a:cubicBezTo>
                    <a:pt x="45" y="60"/>
                    <a:pt x="51" y="57"/>
                    <a:pt x="54" y="56"/>
                  </a:cubicBezTo>
                  <a:cubicBezTo>
                    <a:pt x="57" y="55"/>
                    <a:pt x="68" y="48"/>
                    <a:pt x="69" y="47"/>
                  </a:cubicBezTo>
                  <a:cubicBezTo>
                    <a:pt x="71" y="46"/>
                    <a:pt x="77" y="45"/>
                    <a:pt x="79" y="45"/>
                  </a:cubicBezTo>
                  <a:cubicBezTo>
                    <a:pt x="80" y="46"/>
                    <a:pt x="85" y="48"/>
                    <a:pt x="87" y="48"/>
                  </a:cubicBezTo>
                  <a:cubicBezTo>
                    <a:pt x="89" y="48"/>
                    <a:pt x="91" y="46"/>
                    <a:pt x="91" y="46"/>
                  </a:cubicBezTo>
                  <a:cubicBezTo>
                    <a:pt x="91" y="45"/>
                    <a:pt x="89" y="43"/>
                    <a:pt x="89" y="42"/>
                  </a:cubicBezTo>
                  <a:cubicBezTo>
                    <a:pt x="90" y="41"/>
                    <a:pt x="92" y="40"/>
                    <a:pt x="91" y="38"/>
                  </a:cubicBezTo>
                  <a:cubicBezTo>
                    <a:pt x="90" y="36"/>
                    <a:pt x="88" y="35"/>
                    <a:pt x="89" y="35"/>
                  </a:cubicBezTo>
                  <a:cubicBezTo>
                    <a:pt x="90" y="34"/>
                    <a:pt x="96" y="31"/>
                    <a:pt x="99" y="32"/>
                  </a:cubicBezTo>
                  <a:cubicBezTo>
                    <a:pt x="101" y="32"/>
                    <a:pt x="105" y="32"/>
                    <a:pt x="106" y="33"/>
                  </a:cubicBezTo>
                  <a:cubicBezTo>
                    <a:pt x="107" y="34"/>
                    <a:pt x="114" y="38"/>
                    <a:pt x="116" y="39"/>
                  </a:cubicBezTo>
                  <a:cubicBezTo>
                    <a:pt x="117" y="40"/>
                    <a:pt x="122" y="42"/>
                    <a:pt x="123" y="42"/>
                  </a:cubicBezTo>
                  <a:cubicBezTo>
                    <a:pt x="123" y="42"/>
                    <a:pt x="123" y="39"/>
                    <a:pt x="121" y="37"/>
                  </a:cubicBezTo>
                  <a:cubicBezTo>
                    <a:pt x="119" y="35"/>
                    <a:pt x="110" y="29"/>
                    <a:pt x="109" y="29"/>
                  </a:cubicBezTo>
                  <a:cubicBezTo>
                    <a:pt x="108" y="28"/>
                    <a:pt x="115" y="27"/>
                    <a:pt x="117" y="27"/>
                  </a:cubicBezTo>
                  <a:cubicBezTo>
                    <a:pt x="118" y="27"/>
                    <a:pt x="128" y="26"/>
                    <a:pt x="131" y="26"/>
                  </a:cubicBezTo>
                  <a:cubicBezTo>
                    <a:pt x="134" y="25"/>
                    <a:pt x="138" y="23"/>
                    <a:pt x="140" y="24"/>
                  </a:cubicBezTo>
                  <a:cubicBezTo>
                    <a:pt x="142" y="24"/>
                    <a:pt x="147" y="28"/>
                    <a:pt x="147" y="30"/>
                  </a:cubicBezTo>
                  <a:cubicBezTo>
                    <a:pt x="147" y="31"/>
                    <a:pt x="145" y="37"/>
                    <a:pt x="146" y="39"/>
                  </a:cubicBezTo>
                  <a:cubicBezTo>
                    <a:pt x="146" y="40"/>
                    <a:pt x="149" y="40"/>
                    <a:pt x="150" y="40"/>
                  </a:cubicBezTo>
                  <a:cubicBezTo>
                    <a:pt x="151" y="40"/>
                    <a:pt x="152" y="39"/>
                    <a:pt x="151" y="36"/>
                  </a:cubicBezTo>
                  <a:cubicBezTo>
                    <a:pt x="151" y="34"/>
                    <a:pt x="152" y="33"/>
                    <a:pt x="154" y="32"/>
                  </a:cubicBezTo>
                  <a:cubicBezTo>
                    <a:pt x="155" y="31"/>
                    <a:pt x="154" y="29"/>
                    <a:pt x="153" y="28"/>
                  </a:cubicBezTo>
                  <a:cubicBezTo>
                    <a:pt x="153" y="27"/>
                    <a:pt x="150" y="25"/>
                    <a:pt x="151" y="24"/>
                  </a:cubicBezTo>
                  <a:cubicBezTo>
                    <a:pt x="152" y="23"/>
                    <a:pt x="157" y="24"/>
                    <a:pt x="158" y="25"/>
                  </a:cubicBezTo>
                  <a:cubicBezTo>
                    <a:pt x="160" y="27"/>
                    <a:pt x="164" y="28"/>
                    <a:pt x="165" y="29"/>
                  </a:cubicBezTo>
                  <a:cubicBezTo>
                    <a:pt x="165" y="29"/>
                    <a:pt x="168" y="33"/>
                    <a:pt x="169" y="33"/>
                  </a:cubicBezTo>
                  <a:cubicBezTo>
                    <a:pt x="170" y="34"/>
                    <a:pt x="176" y="36"/>
                    <a:pt x="177" y="37"/>
                  </a:cubicBezTo>
                  <a:cubicBezTo>
                    <a:pt x="178" y="38"/>
                    <a:pt x="178" y="33"/>
                    <a:pt x="179" y="32"/>
                  </a:cubicBezTo>
                  <a:cubicBezTo>
                    <a:pt x="180" y="30"/>
                    <a:pt x="175" y="29"/>
                    <a:pt x="173" y="28"/>
                  </a:cubicBezTo>
                  <a:cubicBezTo>
                    <a:pt x="170" y="27"/>
                    <a:pt x="166" y="22"/>
                    <a:pt x="166" y="21"/>
                  </a:cubicBezTo>
                  <a:cubicBezTo>
                    <a:pt x="166" y="20"/>
                    <a:pt x="178" y="20"/>
                    <a:pt x="180" y="21"/>
                  </a:cubicBezTo>
                  <a:cubicBezTo>
                    <a:pt x="181" y="21"/>
                    <a:pt x="203" y="31"/>
                    <a:pt x="205" y="32"/>
                  </a:cubicBezTo>
                  <a:cubicBezTo>
                    <a:pt x="206" y="32"/>
                    <a:pt x="212" y="36"/>
                    <a:pt x="213" y="36"/>
                  </a:cubicBezTo>
                  <a:cubicBezTo>
                    <a:pt x="214" y="36"/>
                    <a:pt x="219" y="35"/>
                    <a:pt x="219" y="34"/>
                  </a:cubicBezTo>
                  <a:cubicBezTo>
                    <a:pt x="220" y="33"/>
                    <a:pt x="219" y="32"/>
                    <a:pt x="217" y="31"/>
                  </a:cubicBezTo>
                  <a:cubicBezTo>
                    <a:pt x="216" y="30"/>
                    <a:pt x="213" y="27"/>
                    <a:pt x="211" y="26"/>
                  </a:cubicBezTo>
                  <a:cubicBezTo>
                    <a:pt x="209" y="26"/>
                    <a:pt x="201" y="23"/>
                    <a:pt x="200" y="22"/>
                  </a:cubicBezTo>
                  <a:cubicBezTo>
                    <a:pt x="198" y="22"/>
                    <a:pt x="193" y="19"/>
                    <a:pt x="193" y="18"/>
                  </a:cubicBezTo>
                  <a:cubicBezTo>
                    <a:pt x="194" y="18"/>
                    <a:pt x="199" y="18"/>
                    <a:pt x="200" y="18"/>
                  </a:cubicBezTo>
                  <a:cubicBezTo>
                    <a:pt x="201" y="18"/>
                    <a:pt x="207" y="19"/>
                    <a:pt x="208" y="19"/>
                  </a:cubicBezTo>
                  <a:cubicBezTo>
                    <a:pt x="210" y="20"/>
                    <a:pt x="218" y="24"/>
                    <a:pt x="218" y="24"/>
                  </a:cubicBezTo>
                  <a:cubicBezTo>
                    <a:pt x="218" y="24"/>
                    <a:pt x="225" y="23"/>
                    <a:pt x="223" y="23"/>
                  </a:cubicBezTo>
                  <a:cubicBezTo>
                    <a:pt x="222" y="22"/>
                    <a:pt x="214" y="17"/>
                    <a:pt x="214" y="16"/>
                  </a:cubicBezTo>
                  <a:cubicBezTo>
                    <a:pt x="214" y="15"/>
                    <a:pt x="227" y="16"/>
                    <a:pt x="228" y="16"/>
                  </a:cubicBezTo>
                  <a:cubicBezTo>
                    <a:pt x="230" y="16"/>
                    <a:pt x="241" y="18"/>
                    <a:pt x="242" y="19"/>
                  </a:cubicBezTo>
                  <a:cubicBezTo>
                    <a:pt x="242" y="19"/>
                    <a:pt x="249" y="21"/>
                    <a:pt x="250" y="21"/>
                  </a:cubicBezTo>
                  <a:cubicBezTo>
                    <a:pt x="251" y="21"/>
                    <a:pt x="252" y="17"/>
                    <a:pt x="250" y="16"/>
                  </a:cubicBezTo>
                  <a:cubicBezTo>
                    <a:pt x="249" y="16"/>
                    <a:pt x="240" y="13"/>
                    <a:pt x="237" y="12"/>
                  </a:cubicBezTo>
                  <a:cubicBezTo>
                    <a:pt x="235" y="12"/>
                    <a:pt x="220" y="10"/>
                    <a:pt x="219" y="10"/>
                  </a:cubicBezTo>
                  <a:cubicBezTo>
                    <a:pt x="218" y="9"/>
                    <a:pt x="237" y="7"/>
                    <a:pt x="240" y="7"/>
                  </a:cubicBezTo>
                  <a:cubicBezTo>
                    <a:pt x="243" y="8"/>
                    <a:pt x="249" y="7"/>
                    <a:pt x="253" y="7"/>
                  </a:cubicBezTo>
                  <a:cubicBezTo>
                    <a:pt x="256" y="7"/>
                    <a:pt x="259" y="4"/>
                    <a:pt x="261" y="4"/>
                  </a:cubicBezTo>
                  <a:cubicBezTo>
                    <a:pt x="263" y="3"/>
                    <a:pt x="273" y="1"/>
                    <a:pt x="275" y="1"/>
                  </a:cubicBezTo>
                  <a:cubicBezTo>
                    <a:pt x="277" y="1"/>
                    <a:pt x="296" y="0"/>
                    <a:pt x="300" y="0"/>
                  </a:cubicBezTo>
                  <a:cubicBezTo>
                    <a:pt x="305" y="0"/>
                    <a:pt x="325" y="0"/>
                    <a:pt x="327" y="0"/>
                  </a:cubicBezTo>
                  <a:cubicBezTo>
                    <a:pt x="329" y="1"/>
                    <a:pt x="337" y="3"/>
                    <a:pt x="340" y="3"/>
                  </a:cubicBezTo>
                  <a:cubicBezTo>
                    <a:pt x="343" y="3"/>
                    <a:pt x="349" y="3"/>
                    <a:pt x="352" y="3"/>
                  </a:cubicBezTo>
                  <a:cubicBezTo>
                    <a:pt x="354" y="4"/>
                    <a:pt x="360" y="5"/>
                    <a:pt x="360" y="5"/>
                  </a:cubicBezTo>
                  <a:cubicBezTo>
                    <a:pt x="360" y="6"/>
                    <a:pt x="367" y="8"/>
                    <a:pt x="367" y="9"/>
                  </a:cubicBezTo>
                  <a:cubicBezTo>
                    <a:pt x="367" y="11"/>
                    <a:pt x="363" y="13"/>
                    <a:pt x="363" y="15"/>
                  </a:cubicBezTo>
                  <a:cubicBezTo>
                    <a:pt x="362" y="17"/>
                    <a:pt x="375" y="14"/>
                    <a:pt x="377" y="14"/>
                  </a:cubicBezTo>
                  <a:cubicBezTo>
                    <a:pt x="378" y="15"/>
                    <a:pt x="392" y="17"/>
                    <a:pt x="393" y="18"/>
                  </a:cubicBezTo>
                  <a:cubicBezTo>
                    <a:pt x="393" y="19"/>
                    <a:pt x="391" y="23"/>
                    <a:pt x="388" y="23"/>
                  </a:cubicBezTo>
                  <a:cubicBezTo>
                    <a:pt x="386" y="23"/>
                    <a:pt x="374" y="24"/>
                    <a:pt x="371" y="24"/>
                  </a:cubicBezTo>
                  <a:cubicBezTo>
                    <a:pt x="369" y="25"/>
                    <a:pt x="367" y="26"/>
                    <a:pt x="365" y="26"/>
                  </a:cubicBezTo>
                  <a:cubicBezTo>
                    <a:pt x="362" y="26"/>
                    <a:pt x="341" y="25"/>
                    <a:pt x="338" y="25"/>
                  </a:cubicBezTo>
                  <a:cubicBezTo>
                    <a:pt x="336" y="26"/>
                    <a:pt x="327" y="26"/>
                    <a:pt x="324" y="27"/>
                  </a:cubicBezTo>
                  <a:cubicBezTo>
                    <a:pt x="321" y="28"/>
                    <a:pt x="308" y="30"/>
                    <a:pt x="306" y="32"/>
                  </a:cubicBezTo>
                  <a:cubicBezTo>
                    <a:pt x="304" y="33"/>
                    <a:pt x="306" y="36"/>
                    <a:pt x="306" y="37"/>
                  </a:cubicBezTo>
                  <a:cubicBezTo>
                    <a:pt x="307" y="38"/>
                    <a:pt x="309" y="40"/>
                    <a:pt x="310" y="39"/>
                  </a:cubicBezTo>
                  <a:cubicBezTo>
                    <a:pt x="312" y="39"/>
                    <a:pt x="318" y="35"/>
                    <a:pt x="320" y="34"/>
                  </a:cubicBezTo>
                  <a:cubicBezTo>
                    <a:pt x="323" y="34"/>
                    <a:pt x="331" y="33"/>
                    <a:pt x="331" y="34"/>
                  </a:cubicBezTo>
                  <a:cubicBezTo>
                    <a:pt x="331" y="35"/>
                    <a:pt x="334" y="38"/>
                    <a:pt x="335" y="36"/>
                  </a:cubicBezTo>
                  <a:cubicBezTo>
                    <a:pt x="335" y="34"/>
                    <a:pt x="337" y="32"/>
                    <a:pt x="340" y="31"/>
                  </a:cubicBezTo>
                  <a:cubicBezTo>
                    <a:pt x="342" y="31"/>
                    <a:pt x="349" y="31"/>
                    <a:pt x="353" y="31"/>
                  </a:cubicBezTo>
                  <a:cubicBezTo>
                    <a:pt x="357" y="31"/>
                    <a:pt x="367" y="31"/>
                    <a:pt x="368" y="31"/>
                  </a:cubicBezTo>
                  <a:cubicBezTo>
                    <a:pt x="369" y="31"/>
                    <a:pt x="369" y="34"/>
                    <a:pt x="369" y="35"/>
                  </a:cubicBezTo>
                  <a:cubicBezTo>
                    <a:pt x="368" y="35"/>
                    <a:pt x="353" y="38"/>
                    <a:pt x="353" y="39"/>
                  </a:cubicBezTo>
                  <a:cubicBezTo>
                    <a:pt x="353" y="40"/>
                    <a:pt x="355" y="42"/>
                    <a:pt x="357" y="42"/>
                  </a:cubicBezTo>
                  <a:cubicBezTo>
                    <a:pt x="359" y="42"/>
                    <a:pt x="368" y="40"/>
                    <a:pt x="370" y="39"/>
                  </a:cubicBezTo>
                  <a:cubicBezTo>
                    <a:pt x="372" y="39"/>
                    <a:pt x="379" y="36"/>
                    <a:pt x="380" y="36"/>
                  </a:cubicBezTo>
                  <a:cubicBezTo>
                    <a:pt x="381" y="36"/>
                    <a:pt x="379" y="31"/>
                    <a:pt x="380" y="30"/>
                  </a:cubicBezTo>
                  <a:cubicBezTo>
                    <a:pt x="381" y="30"/>
                    <a:pt x="393" y="29"/>
                    <a:pt x="394" y="29"/>
                  </a:cubicBezTo>
                  <a:cubicBezTo>
                    <a:pt x="396" y="30"/>
                    <a:pt x="398" y="34"/>
                    <a:pt x="394" y="39"/>
                  </a:cubicBezTo>
                  <a:cubicBezTo>
                    <a:pt x="389" y="44"/>
                    <a:pt x="385" y="45"/>
                    <a:pt x="381" y="47"/>
                  </a:cubicBezTo>
                  <a:cubicBezTo>
                    <a:pt x="378" y="49"/>
                    <a:pt x="378" y="51"/>
                    <a:pt x="377" y="52"/>
                  </a:cubicBezTo>
                  <a:cubicBezTo>
                    <a:pt x="377" y="52"/>
                    <a:pt x="372" y="56"/>
                    <a:pt x="373" y="56"/>
                  </a:cubicBezTo>
                  <a:cubicBezTo>
                    <a:pt x="375" y="57"/>
                    <a:pt x="381" y="54"/>
                    <a:pt x="384" y="52"/>
                  </a:cubicBezTo>
                  <a:cubicBezTo>
                    <a:pt x="389" y="49"/>
                    <a:pt x="393" y="48"/>
                    <a:pt x="395" y="47"/>
                  </a:cubicBezTo>
                  <a:cubicBezTo>
                    <a:pt x="397" y="46"/>
                    <a:pt x="402" y="42"/>
                    <a:pt x="404" y="41"/>
                  </a:cubicBezTo>
                  <a:cubicBezTo>
                    <a:pt x="405" y="40"/>
                    <a:pt x="408" y="38"/>
                    <a:pt x="409" y="38"/>
                  </a:cubicBezTo>
                  <a:cubicBezTo>
                    <a:pt x="410" y="38"/>
                    <a:pt x="424" y="42"/>
                    <a:pt x="425" y="42"/>
                  </a:cubicBezTo>
                  <a:cubicBezTo>
                    <a:pt x="426" y="41"/>
                    <a:pt x="431" y="34"/>
                    <a:pt x="434" y="34"/>
                  </a:cubicBezTo>
                  <a:cubicBezTo>
                    <a:pt x="438" y="34"/>
                    <a:pt x="448" y="33"/>
                    <a:pt x="451" y="34"/>
                  </a:cubicBezTo>
                  <a:cubicBezTo>
                    <a:pt x="455" y="35"/>
                    <a:pt x="467" y="38"/>
                    <a:pt x="467" y="38"/>
                  </a:cubicBezTo>
                  <a:cubicBezTo>
                    <a:pt x="468" y="39"/>
                    <a:pt x="470" y="40"/>
                    <a:pt x="470" y="40"/>
                  </a:cubicBezTo>
                  <a:cubicBezTo>
                    <a:pt x="470" y="41"/>
                    <a:pt x="463" y="45"/>
                    <a:pt x="461" y="46"/>
                  </a:cubicBezTo>
                  <a:cubicBezTo>
                    <a:pt x="459" y="47"/>
                    <a:pt x="456" y="48"/>
                    <a:pt x="455" y="48"/>
                  </a:cubicBezTo>
                  <a:cubicBezTo>
                    <a:pt x="453" y="48"/>
                    <a:pt x="447" y="46"/>
                    <a:pt x="445" y="48"/>
                  </a:cubicBezTo>
                  <a:cubicBezTo>
                    <a:pt x="444" y="50"/>
                    <a:pt x="449" y="52"/>
                    <a:pt x="448" y="53"/>
                  </a:cubicBezTo>
                  <a:cubicBezTo>
                    <a:pt x="447" y="53"/>
                    <a:pt x="441" y="54"/>
                    <a:pt x="439" y="54"/>
                  </a:cubicBezTo>
                  <a:cubicBezTo>
                    <a:pt x="437" y="54"/>
                    <a:pt x="426" y="53"/>
                    <a:pt x="424" y="53"/>
                  </a:cubicBezTo>
                  <a:cubicBezTo>
                    <a:pt x="423" y="53"/>
                    <a:pt x="413" y="55"/>
                    <a:pt x="411" y="55"/>
                  </a:cubicBezTo>
                  <a:cubicBezTo>
                    <a:pt x="409" y="54"/>
                    <a:pt x="408" y="57"/>
                    <a:pt x="408" y="57"/>
                  </a:cubicBezTo>
                  <a:cubicBezTo>
                    <a:pt x="408" y="58"/>
                    <a:pt x="420" y="59"/>
                    <a:pt x="422" y="59"/>
                  </a:cubicBezTo>
                  <a:cubicBezTo>
                    <a:pt x="423" y="59"/>
                    <a:pt x="435" y="59"/>
                    <a:pt x="435" y="60"/>
                  </a:cubicBezTo>
                  <a:cubicBezTo>
                    <a:pt x="435" y="61"/>
                    <a:pt x="422" y="64"/>
                    <a:pt x="416" y="64"/>
                  </a:cubicBezTo>
                  <a:cubicBezTo>
                    <a:pt x="410" y="64"/>
                    <a:pt x="404" y="64"/>
                    <a:pt x="404" y="65"/>
                  </a:cubicBezTo>
                  <a:cubicBezTo>
                    <a:pt x="403" y="67"/>
                    <a:pt x="400" y="68"/>
                    <a:pt x="402" y="69"/>
                  </a:cubicBezTo>
                  <a:cubicBezTo>
                    <a:pt x="404" y="70"/>
                    <a:pt x="407" y="70"/>
                    <a:pt x="407" y="70"/>
                  </a:cubicBezTo>
                  <a:cubicBezTo>
                    <a:pt x="407" y="70"/>
                    <a:pt x="423" y="68"/>
                    <a:pt x="423" y="69"/>
                  </a:cubicBezTo>
                  <a:cubicBezTo>
                    <a:pt x="424" y="70"/>
                    <a:pt x="419" y="75"/>
                    <a:pt x="418" y="76"/>
                  </a:cubicBezTo>
                  <a:cubicBezTo>
                    <a:pt x="417" y="76"/>
                    <a:pt x="410" y="73"/>
                    <a:pt x="408" y="76"/>
                  </a:cubicBezTo>
                  <a:cubicBezTo>
                    <a:pt x="408" y="77"/>
                    <a:pt x="408" y="85"/>
                    <a:pt x="407" y="86"/>
                  </a:cubicBezTo>
                  <a:cubicBezTo>
                    <a:pt x="406" y="87"/>
                    <a:pt x="399" y="86"/>
                    <a:pt x="399" y="87"/>
                  </a:cubicBezTo>
                  <a:cubicBezTo>
                    <a:pt x="399" y="89"/>
                    <a:pt x="389" y="104"/>
                    <a:pt x="389" y="105"/>
                  </a:cubicBezTo>
                  <a:cubicBezTo>
                    <a:pt x="388" y="106"/>
                    <a:pt x="394" y="106"/>
                    <a:pt x="395" y="106"/>
                  </a:cubicBezTo>
                  <a:cubicBezTo>
                    <a:pt x="397" y="107"/>
                    <a:pt x="398" y="101"/>
                    <a:pt x="400" y="101"/>
                  </a:cubicBezTo>
                  <a:cubicBezTo>
                    <a:pt x="401" y="101"/>
                    <a:pt x="410" y="102"/>
                    <a:pt x="410" y="103"/>
                  </a:cubicBezTo>
                  <a:cubicBezTo>
                    <a:pt x="410" y="104"/>
                    <a:pt x="413" y="107"/>
                    <a:pt x="413" y="107"/>
                  </a:cubicBezTo>
                  <a:cubicBezTo>
                    <a:pt x="413" y="108"/>
                    <a:pt x="404" y="106"/>
                    <a:pt x="403" y="107"/>
                  </a:cubicBezTo>
                  <a:cubicBezTo>
                    <a:pt x="401" y="107"/>
                    <a:pt x="401" y="110"/>
                    <a:pt x="401" y="111"/>
                  </a:cubicBezTo>
                  <a:cubicBezTo>
                    <a:pt x="402" y="111"/>
                    <a:pt x="410" y="114"/>
                    <a:pt x="410" y="114"/>
                  </a:cubicBezTo>
                  <a:cubicBezTo>
                    <a:pt x="411" y="114"/>
                    <a:pt x="412" y="112"/>
                    <a:pt x="413" y="112"/>
                  </a:cubicBezTo>
                  <a:cubicBezTo>
                    <a:pt x="413" y="112"/>
                    <a:pt x="418" y="113"/>
                    <a:pt x="418" y="114"/>
                  </a:cubicBezTo>
                  <a:cubicBezTo>
                    <a:pt x="418" y="116"/>
                    <a:pt x="418" y="121"/>
                    <a:pt x="416" y="121"/>
                  </a:cubicBezTo>
                  <a:cubicBezTo>
                    <a:pt x="415" y="121"/>
                    <a:pt x="406" y="120"/>
                    <a:pt x="404" y="119"/>
                  </a:cubicBezTo>
                  <a:cubicBezTo>
                    <a:pt x="402" y="119"/>
                    <a:pt x="396" y="117"/>
                    <a:pt x="395" y="118"/>
                  </a:cubicBezTo>
                  <a:cubicBezTo>
                    <a:pt x="395" y="120"/>
                    <a:pt x="395" y="123"/>
                    <a:pt x="396" y="123"/>
                  </a:cubicBezTo>
                  <a:cubicBezTo>
                    <a:pt x="398" y="124"/>
                    <a:pt x="401" y="124"/>
                    <a:pt x="402" y="126"/>
                  </a:cubicBezTo>
                  <a:cubicBezTo>
                    <a:pt x="402" y="127"/>
                    <a:pt x="406" y="128"/>
                    <a:pt x="406" y="129"/>
                  </a:cubicBezTo>
                  <a:cubicBezTo>
                    <a:pt x="406" y="130"/>
                    <a:pt x="405" y="133"/>
                    <a:pt x="407" y="134"/>
                  </a:cubicBezTo>
                  <a:cubicBezTo>
                    <a:pt x="408" y="136"/>
                    <a:pt x="409" y="138"/>
                    <a:pt x="409" y="140"/>
                  </a:cubicBezTo>
                  <a:cubicBezTo>
                    <a:pt x="409" y="142"/>
                    <a:pt x="410" y="145"/>
                    <a:pt x="408" y="145"/>
                  </a:cubicBezTo>
                  <a:cubicBezTo>
                    <a:pt x="406" y="145"/>
                    <a:pt x="400" y="142"/>
                    <a:pt x="399" y="144"/>
                  </a:cubicBezTo>
                  <a:cubicBezTo>
                    <a:pt x="399" y="146"/>
                    <a:pt x="398" y="148"/>
                    <a:pt x="400" y="149"/>
                  </a:cubicBezTo>
                  <a:cubicBezTo>
                    <a:pt x="402" y="150"/>
                    <a:pt x="404" y="153"/>
                    <a:pt x="406" y="153"/>
                  </a:cubicBezTo>
                  <a:cubicBezTo>
                    <a:pt x="408" y="153"/>
                    <a:pt x="411" y="152"/>
                    <a:pt x="413" y="153"/>
                  </a:cubicBezTo>
                  <a:cubicBezTo>
                    <a:pt x="415" y="154"/>
                    <a:pt x="416" y="156"/>
                    <a:pt x="415" y="157"/>
                  </a:cubicBezTo>
                  <a:cubicBezTo>
                    <a:pt x="414" y="158"/>
                    <a:pt x="408" y="161"/>
                    <a:pt x="406" y="161"/>
                  </a:cubicBezTo>
                  <a:cubicBezTo>
                    <a:pt x="404" y="161"/>
                    <a:pt x="397" y="161"/>
                    <a:pt x="396" y="162"/>
                  </a:cubicBezTo>
                  <a:cubicBezTo>
                    <a:pt x="395" y="164"/>
                    <a:pt x="403" y="165"/>
                    <a:pt x="402" y="166"/>
                  </a:cubicBezTo>
                  <a:cubicBezTo>
                    <a:pt x="402" y="167"/>
                    <a:pt x="402" y="171"/>
                    <a:pt x="401" y="172"/>
                  </a:cubicBezTo>
                  <a:cubicBezTo>
                    <a:pt x="399" y="172"/>
                    <a:pt x="388" y="174"/>
                    <a:pt x="387" y="174"/>
                  </a:cubicBezTo>
                  <a:cubicBezTo>
                    <a:pt x="386" y="174"/>
                    <a:pt x="374" y="167"/>
                    <a:pt x="372" y="167"/>
                  </a:cubicBezTo>
                  <a:cubicBezTo>
                    <a:pt x="370" y="166"/>
                    <a:pt x="366" y="169"/>
                    <a:pt x="366" y="171"/>
                  </a:cubicBezTo>
                  <a:cubicBezTo>
                    <a:pt x="366" y="173"/>
                    <a:pt x="365" y="175"/>
                    <a:pt x="368" y="175"/>
                  </a:cubicBezTo>
                  <a:cubicBezTo>
                    <a:pt x="370" y="175"/>
                    <a:pt x="379" y="177"/>
                    <a:pt x="381" y="177"/>
                  </a:cubicBezTo>
                  <a:cubicBezTo>
                    <a:pt x="382" y="178"/>
                    <a:pt x="386" y="178"/>
                    <a:pt x="388" y="179"/>
                  </a:cubicBezTo>
                  <a:cubicBezTo>
                    <a:pt x="389" y="181"/>
                    <a:pt x="389" y="182"/>
                    <a:pt x="389" y="183"/>
                  </a:cubicBezTo>
                  <a:cubicBezTo>
                    <a:pt x="389" y="184"/>
                    <a:pt x="390" y="189"/>
                    <a:pt x="389" y="190"/>
                  </a:cubicBezTo>
                  <a:cubicBezTo>
                    <a:pt x="388" y="190"/>
                    <a:pt x="374" y="186"/>
                    <a:pt x="373" y="184"/>
                  </a:cubicBezTo>
                  <a:cubicBezTo>
                    <a:pt x="371" y="182"/>
                    <a:pt x="370" y="180"/>
                    <a:pt x="369" y="181"/>
                  </a:cubicBezTo>
                  <a:cubicBezTo>
                    <a:pt x="367" y="181"/>
                    <a:pt x="361" y="179"/>
                    <a:pt x="361" y="180"/>
                  </a:cubicBezTo>
                  <a:cubicBezTo>
                    <a:pt x="360" y="181"/>
                    <a:pt x="360" y="182"/>
                    <a:pt x="362" y="183"/>
                  </a:cubicBezTo>
                  <a:cubicBezTo>
                    <a:pt x="363" y="184"/>
                    <a:pt x="368" y="186"/>
                    <a:pt x="369" y="187"/>
                  </a:cubicBezTo>
                  <a:cubicBezTo>
                    <a:pt x="370" y="188"/>
                    <a:pt x="372" y="190"/>
                    <a:pt x="374" y="191"/>
                  </a:cubicBezTo>
                  <a:cubicBezTo>
                    <a:pt x="377" y="192"/>
                    <a:pt x="385" y="195"/>
                    <a:pt x="386" y="195"/>
                  </a:cubicBezTo>
                  <a:cubicBezTo>
                    <a:pt x="387" y="196"/>
                    <a:pt x="391" y="198"/>
                    <a:pt x="391" y="200"/>
                  </a:cubicBezTo>
                  <a:cubicBezTo>
                    <a:pt x="391" y="201"/>
                    <a:pt x="394" y="213"/>
                    <a:pt x="391" y="213"/>
                  </a:cubicBezTo>
                  <a:cubicBezTo>
                    <a:pt x="388" y="214"/>
                    <a:pt x="379" y="214"/>
                    <a:pt x="376" y="212"/>
                  </a:cubicBezTo>
                  <a:cubicBezTo>
                    <a:pt x="373" y="209"/>
                    <a:pt x="373" y="204"/>
                    <a:pt x="370" y="202"/>
                  </a:cubicBezTo>
                  <a:cubicBezTo>
                    <a:pt x="367" y="200"/>
                    <a:pt x="364" y="200"/>
                    <a:pt x="362" y="200"/>
                  </a:cubicBezTo>
                  <a:cubicBezTo>
                    <a:pt x="361" y="199"/>
                    <a:pt x="363" y="203"/>
                    <a:pt x="362" y="204"/>
                  </a:cubicBezTo>
                  <a:cubicBezTo>
                    <a:pt x="361" y="205"/>
                    <a:pt x="364" y="209"/>
                    <a:pt x="363" y="210"/>
                  </a:cubicBezTo>
                  <a:cubicBezTo>
                    <a:pt x="362" y="210"/>
                    <a:pt x="352" y="215"/>
                    <a:pt x="353" y="216"/>
                  </a:cubicBezTo>
                  <a:cubicBezTo>
                    <a:pt x="354" y="218"/>
                    <a:pt x="362" y="215"/>
                    <a:pt x="364" y="216"/>
                  </a:cubicBezTo>
                  <a:cubicBezTo>
                    <a:pt x="366" y="217"/>
                    <a:pt x="380" y="220"/>
                    <a:pt x="382" y="220"/>
                  </a:cubicBezTo>
                  <a:cubicBezTo>
                    <a:pt x="384" y="220"/>
                    <a:pt x="387" y="219"/>
                    <a:pt x="387" y="220"/>
                  </a:cubicBezTo>
                  <a:cubicBezTo>
                    <a:pt x="388" y="220"/>
                    <a:pt x="373" y="229"/>
                    <a:pt x="370" y="230"/>
                  </a:cubicBezTo>
                  <a:cubicBezTo>
                    <a:pt x="367" y="232"/>
                    <a:pt x="357" y="239"/>
                    <a:pt x="355" y="239"/>
                  </a:cubicBezTo>
                  <a:cubicBezTo>
                    <a:pt x="353" y="239"/>
                    <a:pt x="339" y="243"/>
                    <a:pt x="336" y="244"/>
                  </a:cubicBezTo>
                  <a:cubicBezTo>
                    <a:pt x="332" y="245"/>
                    <a:pt x="326" y="247"/>
                    <a:pt x="322" y="247"/>
                  </a:cubicBezTo>
                  <a:cubicBezTo>
                    <a:pt x="319" y="247"/>
                    <a:pt x="314" y="242"/>
                    <a:pt x="312" y="242"/>
                  </a:cubicBezTo>
                  <a:cubicBezTo>
                    <a:pt x="310" y="243"/>
                    <a:pt x="313" y="250"/>
                    <a:pt x="311" y="250"/>
                  </a:cubicBezTo>
                  <a:cubicBezTo>
                    <a:pt x="309" y="250"/>
                    <a:pt x="305" y="252"/>
                    <a:pt x="303" y="254"/>
                  </a:cubicBezTo>
                  <a:cubicBezTo>
                    <a:pt x="301" y="257"/>
                    <a:pt x="299" y="262"/>
                    <a:pt x="297" y="264"/>
                  </a:cubicBezTo>
                  <a:cubicBezTo>
                    <a:pt x="294" y="266"/>
                    <a:pt x="283" y="275"/>
                    <a:pt x="280" y="275"/>
                  </a:cubicBezTo>
                  <a:cubicBezTo>
                    <a:pt x="278" y="276"/>
                    <a:pt x="274" y="279"/>
                    <a:pt x="271" y="278"/>
                  </a:cubicBezTo>
                  <a:cubicBezTo>
                    <a:pt x="268" y="278"/>
                    <a:pt x="267" y="277"/>
                    <a:pt x="264" y="277"/>
                  </a:cubicBezTo>
                  <a:cubicBezTo>
                    <a:pt x="261" y="278"/>
                    <a:pt x="254" y="276"/>
                    <a:pt x="253" y="278"/>
                  </a:cubicBezTo>
                  <a:cubicBezTo>
                    <a:pt x="252" y="279"/>
                    <a:pt x="256" y="284"/>
                    <a:pt x="254" y="285"/>
                  </a:cubicBezTo>
                  <a:cubicBezTo>
                    <a:pt x="251" y="286"/>
                    <a:pt x="247" y="284"/>
                    <a:pt x="246" y="286"/>
                  </a:cubicBezTo>
                  <a:cubicBezTo>
                    <a:pt x="245" y="288"/>
                    <a:pt x="250" y="294"/>
                    <a:pt x="249" y="295"/>
                  </a:cubicBezTo>
                  <a:cubicBezTo>
                    <a:pt x="248" y="297"/>
                    <a:pt x="247" y="301"/>
                    <a:pt x="246" y="303"/>
                  </a:cubicBezTo>
                  <a:cubicBezTo>
                    <a:pt x="245" y="305"/>
                    <a:pt x="237" y="311"/>
                    <a:pt x="236" y="314"/>
                  </a:cubicBezTo>
                  <a:cubicBezTo>
                    <a:pt x="235" y="316"/>
                    <a:pt x="237" y="322"/>
                    <a:pt x="235" y="324"/>
                  </a:cubicBezTo>
                  <a:cubicBezTo>
                    <a:pt x="234" y="325"/>
                    <a:pt x="230" y="347"/>
                    <a:pt x="224" y="346"/>
                  </a:cubicBezTo>
                  <a:cubicBezTo>
                    <a:pt x="217" y="346"/>
                    <a:pt x="217" y="346"/>
                    <a:pt x="213" y="344"/>
                  </a:cubicBezTo>
                  <a:cubicBezTo>
                    <a:pt x="210" y="342"/>
                    <a:pt x="208" y="337"/>
                    <a:pt x="204" y="337"/>
                  </a:cubicBezTo>
                  <a:cubicBezTo>
                    <a:pt x="201" y="337"/>
                    <a:pt x="192" y="338"/>
                    <a:pt x="191" y="337"/>
                  </a:cubicBezTo>
                  <a:cubicBezTo>
                    <a:pt x="189" y="336"/>
                    <a:pt x="178" y="322"/>
                    <a:pt x="177" y="321"/>
                  </a:cubicBezTo>
                  <a:cubicBezTo>
                    <a:pt x="177" y="320"/>
                    <a:pt x="174" y="320"/>
                    <a:pt x="173" y="317"/>
                  </a:cubicBezTo>
                  <a:cubicBezTo>
                    <a:pt x="172" y="314"/>
                    <a:pt x="171" y="312"/>
                    <a:pt x="170" y="310"/>
                  </a:cubicBezTo>
                  <a:cubicBezTo>
                    <a:pt x="168" y="308"/>
                    <a:pt x="165" y="305"/>
                    <a:pt x="163" y="302"/>
                  </a:cubicBezTo>
                  <a:cubicBezTo>
                    <a:pt x="162" y="300"/>
                    <a:pt x="162" y="299"/>
                    <a:pt x="160" y="297"/>
                  </a:cubicBezTo>
                  <a:cubicBezTo>
                    <a:pt x="157" y="295"/>
                    <a:pt x="158" y="291"/>
                    <a:pt x="158" y="288"/>
                  </a:cubicBezTo>
                  <a:cubicBezTo>
                    <a:pt x="158" y="286"/>
                    <a:pt x="157" y="284"/>
                    <a:pt x="154" y="281"/>
                  </a:cubicBezTo>
                  <a:cubicBezTo>
                    <a:pt x="152" y="278"/>
                    <a:pt x="151" y="280"/>
                    <a:pt x="150" y="278"/>
                  </a:cubicBezTo>
                  <a:cubicBezTo>
                    <a:pt x="148" y="275"/>
                    <a:pt x="146" y="271"/>
                    <a:pt x="146" y="269"/>
                  </a:cubicBezTo>
                  <a:cubicBezTo>
                    <a:pt x="146" y="267"/>
                    <a:pt x="149" y="266"/>
                    <a:pt x="148" y="264"/>
                  </a:cubicBezTo>
                  <a:cubicBezTo>
                    <a:pt x="148" y="261"/>
                    <a:pt x="145" y="259"/>
                    <a:pt x="145" y="257"/>
                  </a:cubicBezTo>
                  <a:cubicBezTo>
                    <a:pt x="146" y="255"/>
                    <a:pt x="147" y="250"/>
                    <a:pt x="147" y="249"/>
                  </a:cubicBezTo>
                  <a:cubicBezTo>
                    <a:pt x="147" y="248"/>
                    <a:pt x="146" y="242"/>
                    <a:pt x="149" y="240"/>
                  </a:cubicBezTo>
                  <a:cubicBezTo>
                    <a:pt x="151" y="238"/>
                    <a:pt x="153" y="236"/>
                    <a:pt x="155" y="236"/>
                  </a:cubicBezTo>
                  <a:cubicBezTo>
                    <a:pt x="158" y="237"/>
                    <a:pt x="160" y="237"/>
                    <a:pt x="160" y="238"/>
                  </a:cubicBezTo>
                  <a:cubicBezTo>
                    <a:pt x="160" y="239"/>
                    <a:pt x="155" y="243"/>
                    <a:pt x="157" y="244"/>
                  </a:cubicBezTo>
                  <a:cubicBezTo>
                    <a:pt x="159" y="245"/>
                    <a:pt x="166" y="244"/>
                    <a:pt x="167" y="242"/>
                  </a:cubicBezTo>
                  <a:cubicBezTo>
                    <a:pt x="168" y="241"/>
                    <a:pt x="166" y="236"/>
                    <a:pt x="167" y="234"/>
                  </a:cubicBezTo>
                  <a:cubicBezTo>
                    <a:pt x="169" y="232"/>
                    <a:pt x="169" y="228"/>
                    <a:pt x="169" y="226"/>
                  </a:cubicBezTo>
                  <a:cubicBezTo>
                    <a:pt x="169" y="223"/>
                    <a:pt x="172" y="220"/>
                    <a:pt x="169" y="220"/>
                  </a:cubicBezTo>
                  <a:cubicBezTo>
                    <a:pt x="167" y="219"/>
                    <a:pt x="160" y="219"/>
                    <a:pt x="158" y="219"/>
                  </a:cubicBezTo>
                  <a:cubicBezTo>
                    <a:pt x="156" y="218"/>
                    <a:pt x="155" y="217"/>
                    <a:pt x="152" y="216"/>
                  </a:cubicBezTo>
                  <a:cubicBezTo>
                    <a:pt x="149" y="214"/>
                    <a:pt x="147" y="214"/>
                    <a:pt x="146" y="214"/>
                  </a:cubicBezTo>
                  <a:cubicBezTo>
                    <a:pt x="144" y="213"/>
                    <a:pt x="141" y="212"/>
                    <a:pt x="140" y="210"/>
                  </a:cubicBezTo>
                  <a:cubicBezTo>
                    <a:pt x="139" y="208"/>
                    <a:pt x="143" y="208"/>
                    <a:pt x="144" y="208"/>
                  </a:cubicBezTo>
                  <a:cubicBezTo>
                    <a:pt x="145" y="208"/>
                    <a:pt x="151" y="209"/>
                    <a:pt x="152" y="209"/>
                  </a:cubicBezTo>
                  <a:cubicBezTo>
                    <a:pt x="154" y="209"/>
                    <a:pt x="160" y="212"/>
                    <a:pt x="161" y="212"/>
                  </a:cubicBezTo>
                  <a:cubicBezTo>
                    <a:pt x="163" y="213"/>
                    <a:pt x="167" y="214"/>
                    <a:pt x="168" y="214"/>
                  </a:cubicBezTo>
                  <a:cubicBezTo>
                    <a:pt x="168" y="214"/>
                    <a:pt x="167" y="211"/>
                    <a:pt x="165" y="208"/>
                  </a:cubicBezTo>
                  <a:cubicBezTo>
                    <a:pt x="162" y="205"/>
                    <a:pt x="158" y="202"/>
                    <a:pt x="157" y="203"/>
                  </a:cubicBezTo>
                  <a:cubicBezTo>
                    <a:pt x="155" y="203"/>
                    <a:pt x="151" y="202"/>
                    <a:pt x="151" y="201"/>
                  </a:cubicBezTo>
                  <a:cubicBezTo>
                    <a:pt x="152" y="200"/>
                    <a:pt x="154" y="196"/>
                    <a:pt x="151" y="195"/>
                  </a:cubicBezTo>
                  <a:cubicBezTo>
                    <a:pt x="149" y="194"/>
                    <a:pt x="148" y="194"/>
                    <a:pt x="147" y="194"/>
                  </a:cubicBezTo>
                  <a:cubicBezTo>
                    <a:pt x="145" y="194"/>
                    <a:pt x="146" y="198"/>
                    <a:pt x="145" y="198"/>
                  </a:cubicBezTo>
                  <a:cubicBezTo>
                    <a:pt x="144" y="199"/>
                    <a:pt x="141" y="201"/>
                    <a:pt x="138" y="201"/>
                  </a:cubicBezTo>
                  <a:cubicBezTo>
                    <a:pt x="134" y="201"/>
                    <a:pt x="132" y="200"/>
                    <a:pt x="131" y="197"/>
                  </a:cubicBezTo>
                  <a:cubicBezTo>
                    <a:pt x="130" y="194"/>
                    <a:pt x="132" y="192"/>
                    <a:pt x="132" y="189"/>
                  </a:cubicBezTo>
                  <a:cubicBezTo>
                    <a:pt x="132" y="189"/>
                    <a:pt x="132" y="183"/>
                    <a:pt x="132" y="180"/>
                  </a:cubicBezTo>
                  <a:cubicBezTo>
                    <a:pt x="131" y="178"/>
                    <a:pt x="128" y="172"/>
                    <a:pt x="128" y="170"/>
                  </a:cubicBezTo>
                  <a:cubicBezTo>
                    <a:pt x="127" y="169"/>
                    <a:pt x="124" y="166"/>
                    <a:pt x="124" y="163"/>
                  </a:cubicBezTo>
                  <a:cubicBezTo>
                    <a:pt x="124" y="161"/>
                    <a:pt x="124" y="157"/>
                    <a:pt x="123" y="155"/>
                  </a:cubicBezTo>
                  <a:cubicBezTo>
                    <a:pt x="122" y="153"/>
                    <a:pt x="121" y="150"/>
                    <a:pt x="118" y="150"/>
                  </a:cubicBezTo>
                  <a:cubicBezTo>
                    <a:pt x="114" y="149"/>
                    <a:pt x="110" y="147"/>
                    <a:pt x="110" y="146"/>
                  </a:cubicBezTo>
                  <a:cubicBezTo>
                    <a:pt x="110" y="144"/>
                    <a:pt x="111" y="140"/>
                    <a:pt x="109" y="139"/>
                  </a:cubicBezTo>
                  <a:cubicBezTo>
                    <a:pt x="108" y="138"/>
                    <a:pt x="103" y="137"/>
                    <a:pt x="101" y="136"/>
                  </a:cubicBezTo>
                  <a:cubicBezTo>
                    <a:pt x="100" y="136"/>
                    <a:pt x="94" y="133"/>
                    <a:pt x="92" y="132"/>
                  </a:cubicBezTo>
                  <a:cubicBezTo>
                    <a:pt x="90" y="131"/>
                    <a:pt x="84" y="130"/>
                    <a:pt x="83" y="130"/>
                  </a:cubicBezTo>
                  <a:cubicBezTo>
                    <a:pt x="82" y="130"/>
                    <a:pt x="74" y="127"/>
                    <a:pt x="74" y="128"/>
                  </a:cubicBezTo>
                  <a:cubicBezTo>
                    <a:pt x="73" y="129"/>
                    <a:pt x="72" y="133"/>
                    <a:pt x="68" y="132"/>
                  </a:cubicBezTo>
                  <a:cubicBezTo>
                    <a:pt x="64" y="131"/>
                    <a:pt x="63" y="129"/>
                    <a:pt x="61" y="130"/>
                  </a:cubicBezTo>
                  <a:cubicBezTo>
                    <a:pt x="59" y="131"/>
                    <a:pt x="56" y="133"/>
                    <a:pt x="54" y="133"/>
                  </a:cubicBezTo>
                  <a:cubicBezTo>
                    <a:pt x="52" y="132"/>
                    <a:pt x="50" y="137"/>
                    <a:pt x="48" y="136"/>
                  </a:cubicBezTo>
                  <a:cubicBezTo>
                    <a:pt x="45" y="135"/>
                    <a:pt x="33" y="133"/>
                    <a:pt x="30" y="131"/>
                  </a:cubicBezTo>
                  <a:cubicBezTo>
                    <a:pt x="27" y="129"/>
                    <a:pt x="24" y="127"/>
                    <a:pt x="24" y="126"/>
                  </a:cubicBezTo>
                  <a:cubicBezTo>
                    <a:pt x="25" y="126"/>
                    <a:pt x="31" y="124"/>
                    <a:pt x="31" y="123"/>
                  </a:cubicBezTo>
                  <a:cubicBezTo>
                    <a:pt x="31" y="122"/>
                    <a:pt x="26" y="120"/>
                    <a:pt x="24" y="12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92" name="Freeform 346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4333656" y="3005421"/>
              <a:ext cx="187288" cy="179741"/>
            </a:xfrm>
            <a:custGeom>
              <a:avLst/>
              <a:gdLst>
                <a:gd name="T0" fmla="*/ 2147483647 w 53"/>
                <a:gd name="T1" fmla="*/ 2147483647 h 49"/>
                <a:gd name="T2" fmla="*/ 2147483647 w 53"/>
                <a:gd name="T3" fmla="*/ 2147483647 h 49"/>
                <a:gd name="T4" fmla="*/ 2147483647 w 53"/>
                <a:gd name="T5" fmla="*/ 2147483647 h 49"/>
                <a:gd name="T6" fmla="*/ 2147483647 w 53"/>
                <a:gd name="T7" fmla="*/ 2147483647 h 49"/>
                <a:gd name="T8" fmla="*/ 2147483647 w 53"/>
                <a:gd name="T9" fmla="*/ 2147483647 h 49"/>
                <a:gd name="T10" fmla="*/ 2147483647 w 53"/>
                <a:gd name="T11" fmla="*/ 2147483647 h 49"/>
                <a:gd name="T12" fmla="*/ 2147483647 w 53"/>
                <a:gd name="T13" fmla="*/ 0 h 49"/>
                <a:gd name="T14" fmla="*/ 2147483647 w 53"/>
                <a:gd name="T15" fmla="*/ 2147483647 h 49"/>
                <a:gd name="T16" fmla="*/ 2147483647 w 53"/>
                <a:gd name="T17" fmla="*/ 2147483647 h 49"/>
                <a:gd name="T18" fmla="*/ 2147483647 w 53"/>
                <a:gd name="T19" fmla="*/ 2147483647 h 49"/>
                <a:gd name="T20" fmla="*/ 2147483647 w 53"/>
                <a:gd name="T21" fmla="*/ 2147483647 h 49"/>
                <a:gd name="T22" fmla="*/ 2147483647 w 53"/>
                <a:gd name="T23" fmla="*/ 2147483647 h 49"/>
                <a:gd name="T24" fmla="*/ 2147483647 w 53"/>
                <a:gd name="T25" fmla="*/ 2147483647 h 49"/>
                <a:gd name="T26" fmla="*/ 2147483647 w 53"/>
                <a:gd name="T27" fmla="*/ 2147483647 h 49"/>
                <a:gd name="T28" fmla="*/ 2147483647 w 53"/>
                <a:gd name="T29" fmla="*/ 2147483647 h 49"/>
                <a:gd name="T30" fmla="*/ 2147483647 w 53"/>
                <a:gd name="T31" fmla="*/ 2147483647 h 49"/>
                <a:gd name="T32" fmla="*/ 2147483647 w 53"/>
                <a:gd name="T33" fmla="*/ 2147483647 h 49"/>
                <a:gd name="T34" fmla="*/ 2147483647 w 53"/>
                <a:gd name="T35" fmla="*/ 2147483647 h 49"/>
                <a:gd name="T36" fmla="*/ 2147483647 w 53"/>
                <a:gd name="T37" fmla="*/ 2147483647 h 49"/>
                <a:gd name="T38" fmla="*/ 2147483647 w 53"/>
                <a:gd name="T39" fmla="*/ 2147483647 h 49"/>
                <a:gd name="T40" fmla="*/ 2147483647 w 53"/>
                <a:gd name="T41" fmla="*/ 2147483647 h 49"/>
                <a:gd name="T42" fmla="*/ 2147483647 w 53"/>
                <a:gd name="T43" fmla="*/ 2147483647 h 49"/>
                <a:gd name="T44" fmla="*/ 2147483647 w 53"/>
                <a:gd name="T45" fmla="*/ 2147483647 h 49"/>
                <a:gd name="T46" fmla="*/ 2147483647 w 53"/>
                <a:gd name="T47" fmla="*/ 2147483647 h 49"/>
                <a:gd name="T48" fmla="*/ 2147483647 w 53"/>
                <a:gd name="T49" fmla="*/ 2147483647 h 49"/>
                <a:gd name="T50" fmla="*/ 2147483647 w 53"/>
                <a:gd name="T51" fmla="*/ 2147483647 h 49"/>
                <a:gd name="T52" fmla="*/ 2147483647 w 53"/>
                <a:gd name="T53" fmla="*/ 2147483647 h 4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53"/>
                <a:gd name="T82" fmla="*/ 0 h 49"/>
                <a:gd name="T83" fmla="*/ 53 w 53"/>
                <a:gd name="T84" fmla="*/ 49 h 4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53" h="49">
                  <a:moveTo>
                    <a:pt x="2" y="39"/>
                  </a:moveTo>
                  <a:cubicBezTo>
                    <a:pt x="0" y="39"/>
                    <a:pt x="0" y="36"/>
                    <a:pt x="1" y="35"/>
                  </a:cubicBezTo>
                  <a:cubicBezTo>
                    <a:pt x="1" y="34"/>
                    <a:pt x="9" y="31"/>
                    <a:pt x="9" y="30"/>
                  </a:cubicBezTo>
                  <a:cubicBezTo>
                    <a:pt x="9" y="29"/>
                    <a:pt x="5" y="28"/>
                    <a:pt x="6" y="26"/>
                  </a:cubicBezTo>
                  <a:cubicBezTo>
                    <a:pt x="6" y="25"/>
                    <a:pt x="13" y="17"/>
                    <a:pt x="14" y="15"/>
                  </a:cubicBezTo>
                  <a:cubicBezTo>
                    <a:pt x="14" y="13"/>
                    <a:pt x="18" y="6"/>
                    <a:pt x="21" y="5"/>
                  </a:cubicBezTo>
                  <a:cubicBezTo>
                    <a:pt x="23" y="4"/>
                    <a:pt x="28" y="0"/>
                    <a:pt x="30" y="0"/>
                  </a:cubicBezTo>
                  <a:cubicBezTo>
                    <a:pt x="31" y="0"/>
                    <a:pt x="29" y="4"/>
                    <a:pt x="28" y="6"/>
                  </a:cubicBezTo>
                  <a:cubicBezTo>
                    <a:pt x="27" y="9"/>
                    <a:pt x="20" y="16"/>
                    <a:pt x="20" y="17"/>
                  </a:cubicBezTo>
                  <a:cubicBezTo>
                    <a:pt x="22" y="19"/>
                    <a:pt x="27" y="15"/>
                    <a:pt x="29" y="16"/>
                  </a:cubicBezTo>
                  <a:cubicBezTo>
                    <a:pt x="31" y="17"/>
                    <a:pt x="31" y="20"/>
                    <a:pt x="33" y="20"/>
                  </a:cubicBezTo>
                  <a:cubicBezTo>
                    <a:pt x="35" y="20"/>
                    <a:pt x="39" y="17"/>
                    <a:pt x="42" y="18"/>
                  </a:cubicBezTo>
                  <a:cubicBezTo>
                    <a:pt x="44" y="19"/>
                    <a:pt x="45" y="20"/>
                    <a:pt x="45" y="22"/>
                  </a:cubicBezTo>
                  <a:cubicBezTo>
                    <a:pt x="46" y="23"/>
                    <a:pt x="42" y="27"/>
                    <a:pt x="44" y="28"/>
                  </a:cubicBezTo>
                  <a:cubicBezTo>
                    <a:pt x="45" y="30"/>
                    <a:pt x="48" y="28"/>
                    <a:pt x="49" y="29"/>
                  </a:cubicBezTo>
                  <a:cubicBezTo>
                    <a:pt x="50" y="29"/>
                    <a:pt x="43" y="36"/>
                    <a:pt x="45" y="37"/>
                  </a:cubicBezTo>
                  <a:cubicBezTo>
                    <a:pt x="47" y="39"/>
                    <a:pt x="51" y="36"/>
                    <a:pt x="52" y="36"/>
                  </a:cubicBezTo>
                  <a:cubicBezTo>
                    <a:pt x="53" y="37"/>
                    <a:pt x="49" y="49"/>
                    <a:pt x="48" y="49"/>
                  </a:cubicBezTo>
                  <a:cubicBezTo>
                    <a:pt x="46" y="49"/>
                    <a:pt x="41" y="49"/>
                    <a:pt x="41" y="47"/>
                  </a:cubicBezTo>
                  <a:cubicBezTo>
                    <a:pt x="41" y="45"/>
                    <a:pt x="42" y="42"/>
                    <a:pt x="39" y="41"/>
                  </a:cubicBezTo>
                  <a:cubicBezTo>
                    <a:pt x="37" y="41"/>
                    <a:pt x="34" y="46"/>
                    <a:pt x="31" y="46"/>
                  </a:cubicBezTo>
                  <a:cubicBezTo>
                    <a:pt x="28" y="46"/>
                    <a:pt x="26" y="47"/>
                    <a:pt x="26" y="46"/>
                  </a:cubicBezTo>
                  <a:cubicBezTo>
                    <a:pt x="25" y="44"/>
                    <a:pt x="31" y="40"/>
                    <a:pt x="30" y="39"/>
                  </a:cubicBezTo>
                  <a:cubicBezTo>
                    <a:pt x="30" y="37"/>
                    <a:pt x="27" y="38"/>
                    <a:pt x="25" y="38"/>
                  </a:cubicBezTo>
                  <a:cubicBezTo>
                    <a:pt x="23" y="38"/>
                    <a:pt x="20" y="41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8"/>
                    <a:pt x="4" y="39"/>
                    <a:pt x="2" y="3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93" name="Freeform 347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4208111" y="3067731"/>
              <a:ext cx="69976" cy="38345"/>
            </a:xfrm>
            <a:custGeom>
              <a:avLst/>
              <a:gdLst>
                <a:gd name="T0" fmla="*/ 2147483647 w 20"/>
                <a:gd name="T1" fmla="*/ 2147483647 h 10"/>
                <a:gd name="T2" fmla="*/ 2147483647 w 20"/>
                <a:gd name="T3" fmla="*/ 0 h 10"/>
                <a:gd name="T4" fmla="*/ 2147483647 w 20"/>
                <a:gd name="T5" fmla="*/ 2147483647 h 10"/>
                <a:gd name="T6" fmla="*/ 2147483647 w 20"/>
                <a:gd name="T7" fmla="*/ 2147483647 h 10"/>
                <a:gd name="T8" fmla="*/ 2147483647 w 20"/>
                <a:gd name="T9" fmla="*/ 2147483647 h 10"/>
                <a:gd name="T10" fmla="*/ 2147483647 w 20"/>
                <a:gd name="T11" fmla="*/ 2147483647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10"/>
                <a:gd name="T20" fmla="*/ 20 w 20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10">
                  <a:moveTo>
                    <a:pt x="1" y="2"/>
                  </a:move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20" y="5"/>
                    <a:pt x="20" y="6"/>
                  </a:cubicBezTo>
                  <a:cubicBezTo>
                    <a:pt x="20" y="8"/>
                    <a:pt x="18" y="10"/>
                    <a:pt x="15" y="10"/>
                  </a:cubicBezTo>
                  <a:cubicBezTo>
                    <a:pt x="13" y="9"/>
                    <a:pt x="7" y="7"/>
                    <a:pt x="5" y="6"/>
                  </a:cubicBezTo>
                  <a:cubicBezTo>
                    <a:pt x="4" y="4"/>
                    <a:pt x="2" y="2"/>
                    <a:pt x="1" y="2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94" name="Freeform 348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3852058" y="2293647"/>
              <a:ext cx="67918" cy="50327"/>
            </a:xfrm>
            <a:custGeom>
              <a:avLst/>
              <a:gdLst>
                <a:gd name="T0" fmla="*/ 2147483647 w 19"/>
                <a:gd name="T1" fmla="*/ 2147483647 h 14"/>
                <a:gd name="T2" fmla="*/ 2147483647 w 19"/>
                <a:gd name="T3" fmla="*/ 2147483647 h 14"/>
                <a:gd name="T4" fmla="*/ 2147483647 w 19"/>
                <a:gd name="T5" fmla="*/ 0 h 14"/>
                <a:gd name="T6" fmla="*/ 2147483647 w 19"/>
                <a:gd name="T7" fmla="*/ 2147483647 h 14"/>
                <a:gd name="T8" fmla="*/ 2147483647 w 19"/>
                <a:gd name="T9" fmla="*/ 2147483647 h 14"/>
                <a:gd name="T10" fmla="*/ 2147483647 w 19"/>
                <a:gd name="T11" fmla="*/ 2147483647 h 14"/>
                <a:gd name="T12" fmla="*/ 2147483647 w 19"/>
                <a:gd name="T13" fmla="*/ 2147483647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14"/>
                <a:gd name="T23" fmla="*/ 19 w 19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14">
                  <a:moveTo>
                    <a:pt x="3" y="14"/>
                  </a:moveTo>
                  <a:cubicBezTo>
                    <a:pt x="0" y="14"/>
                    <a:pt x="0" y="9"/>
                    <a:pt x="1" y="7"/>
                  </a:cubicBezTo>
                  <a:cubicBezTo>
                    <a:pt x="2" y="5"/>
                    <a:pt x="6" y="0"/>
                    <a:pt x="8" y="0"/>
                  </a:cubicBezTo>
                  <a:cubicBezTo>
                    <a:pt x="8" y="0"/>
                    <a:pt x="16" y="0"/>
                    <a:pt x="17" y="1"/>
                  </a:cubicBezTo>
                  <a:cubicBezTo>
                    <a:pt x="19" y="1"/>
                    <a:pt x="17" y="7"/>
                    <a:pt x="17" y="9"/>
                  </a:cubicBezTo>
                  <a:cubicBezTo>
                    <a:pt x="17" y="11"/>
                    <a:pt x="15" y="13"/>
                    <a:pt x="13" y="13"/>
                  </a:cubicBezTo>
                  <a:cubicBezTo>
                    <a:pt x="11" y="14"/>
                    <a:pt x="5" y="14"/>
                    <a:pt x="3" y="1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95" name="Freeform 349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3773850" y="2559663"/>
              <a:ext cx="30872" cy="43138"/>
            </a:xfrm>
            <a:custGeom>
              <a:avLst/>
              <a:gdLst>
                <a:gd name="T0" fmla="*/ 0 w 9"/>
                <a:gd name="T1" fmla="*/ 2147483647 h 12"/>
                <a:gd name="T2" fmla="*/ 2147483647 w 9"/>
                <a:gd name="T3" fmla="*/ 2147483647 h 12"/>
                <a:gd name="T4" fmla="*/ 2147483647 w 9"/>
                <a:gd name="T5" fmla="*/ 0 h 12"/>
                <a:gd name="T6" fmla="*/ 2147483647 w 9"/>
                <a:gd name="T7" fmla="*/ 2147483647 h 12"/>
                <a:gd name="T8" fmla="*/ 2147483647 w 9"/>
                <a:gd name="T9" fmla="*/ 2147483647 h 12"/>
                <a:gd name="T10" fmla="*/ 2147483647 w 9"/>
                <a:gd name="T11" fmla="*/ 2147483647 h 12"/>
                <a:gd name="T12" fmla="*/ 2147483647 w 9"/>
                <a:gd name="T13" fmla="*/ 2147483647 h 12"/>
                <a:gd name="T14" fmla="*/ 0 w 9"/>
                <a:gd name="T15" fmla="*/ 2147483647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"/>
                <a:gd name="T25" fmla="*/ 0 h 12"/>
                <a:gd name="T26" fmla="*/ 9 w 9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" h="12">
                  <a:moveTo>
                    <a:pt x="0" y="7"/>
                  </a:moveTo>
                  <a:cubicBezTo>
                    <a:pt x="0" y="5"/>
                    <a:pt x="1" y="2"/>
                    <a:pt x="3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7" y="0"/>
                    <a:pt x="9" y="1"/>
                    <a:pt x="9" y="3"/>
                  </a:cubicBezTo>
                  <a:cubicBezTo>
                    <a:pt x="9" y="3"/>
                    <a:pt x="9" y="4"/>
                    <a:pt x="9" y="4"/>
                  </a:cubicBezTo>
                  <a:cubicBezTo>
                    <a:pt x="9" y="6"/>
                    <a:pt x="8" y="8"/>
                    <a:pt x="8" y="9"/>
                  </a:cubicBezTo>
                  <a:cubicBezTo>
                    <a:pt x="7" y="10"/>
                    <a:pt x="5" y="12"/>
                    <a:pt x="5" y="12"/>
                  </a:cubicBezTo>
                  <a:cubicBezTo>
                    <a:pt x="4" y="12"/>
                    <a:pt x="0" y="10"/>
                    <a:pt x="0" y="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96" name="Freeform 350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3775908" y="2796921"/>
              <a:ext cx="49395" cy="52724"/>
            </a:xfrm>
            <a:custGeom>
              <a:avLst/>
              <a:gdLst>
                <a:gd name="T0" fmla="*/ 2147483647 w 14"/>
                <a:gd name="T1" fmla="*/ 2147483647 h 14"/>
                <a:gd name="T2" fmla="*/ 2147483647 w 14"/>
                <a:gd name="T3" fmla="*/ 0 h 14"/>
                <a:gd name="T4" fmla="*/ 2147483647 w 14"/>
                <a:gd name="T5" fmla="*/ 2147483647 h 14"/>
                <a:gd name="T6" fmla="*/ 2147483647 w 14"/>
                <a:gd name="T7" fmla="*/ 2147483647 h 14"/>
                <a:gd name="T8" fmla="*/ 2147483647 w 14"/>
                <a:gd name="T9" fmla="*/ 2147483647 h 14"/>
                <a:gd name="T10" fmla="*/ 2147483647 w 14"/>
                <a:gd name="T11" fmla="*/ 2147483647 h 14"/>
                <a:gd name="T12" fmla="*/ 2147483647 w 14"/>
                <a:gd name="T13" fmla="*/ 2147483647 h 14"/>
                <a:gd name="T14" fmla="*/ 2147483647 w 14"/>
                <a:gd name="T15" fmla="*/ 2147483647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14"/>
                <a:gd name="T26" fmla="*/ 14 w 14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14">
                  <a:moveTo>
                    <a:pt x="2" y="6"/>
                  </a:moveTo>
                  <a:cubicBezTo>
                    <a:pt x="2" y="5"/>
                    <a:pt x="7" y="0"/>
                    <a:pt x="7" y="0"/>
                  </a:cubicBezTo>
                  <a:cubicBezTo>
                    <a:pt x="8" y="0"/>
                    <a:pt x="9" y="1"/>
                    <a:pt x="10" y="3"/>
                  </a:cubicBezTo>
                  <a:cubicBezTo>
                    <a:pt x="11" y="4"/>
                    <a:pt x="14" y="3"/>
                    <a:pt x="13" y="5"/>
                  </a:cubicBezTo>
                  <a:cubicBezTo>
                    <a:pt x="12" y="6"/>
                    <a:pt x="11" y="12"/>
                    <a:pt x="9" y="13"/>
                  </a:cubicBezTo>
                  <a:cubicBezTo>
                    <a:pt x="7" y="14"/>
                    <a:pt x="7" y="11"/>
                    <a:pt x="6" y="10"/>
                  </a:cubicBezTo>
                  <a:cubicBezTo>
                    <a:pt x="5" y="9"/>
                    <a:pt x="3" y="11"/>
                    <a:pt x="1" y="10"/>
                  </a:cubicBezTo>
                  <a:cubicBezTo>
                    <a:pt x="0" y="9"/>
                    <a:pt x="1" y="6"/>
                    <a:pt x="2" y="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97" name="Freeform 351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3765618" y="2003665"/>
              <a:ext cx="119370" cy="64707"/>
            </a:xfrm>
            <a:custGeom>
              <a:avLst/>
              <a:gdLst>
                <a:gd name="T0" fmla="*/ 2147483647 w 34"/>
                <a:gd name="T1" fmla="*/ 2147483647 h 17"/>
                <a:gd name="T2" fmla="*/ 2147483647 w 34"/>
                <a:gd name="T3" fmla="*/ 2147483647 h 17"/>
                <a:gd name="T4" fmla="*/ 0 w 34"/>
                <a:gd name="T5" fmla="*/ 2147483647 h 17"/>
                <a:gd name="T6" fmla="*/ 2147483647 w 34"/>
                <a:gd name="T7" fmla="*/ 2147483647 h 17"/>
                <a:gd name="T8" fmla="*/ 2147483647 w 34"/>
                <a:gd name="T9" fmla="*/ 2147483647 h 17"/>
                <a:gd name="T10" fmla="*/ 2147483647 w 34"/>
                <a:gd name="T11" fmla="*/ 2147483647 h 17"/>
                <a:gd name="T12" fmla="*/ 2147483647 w 34"/>
                <a:gd name="T13" fmla="*/ 2147483647 h 17"/>
                <a:gd name="T14" fmla="*/ 2147483647 w 34"/>
                <a:gd name="T15" fmla="*/ 2147483647 h 17"/>
                <a:gd name="T16" fmla="*/ 2147483647 w 34"/>
                <a:gd name="T17" fmla="*/ 2147483647 h 17"/>
                <a:gd name="T18" fmla="*/ 2147483647 w 34"/>
                <a:gd name="T19" fmla="*/ 2147483647 h 17"/>
                <a:gd name="T20" fmla="*/ 2147483647 w 34"/>
                <a:gd name="T21" fmla="*/ 2147483647 h 1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"/>
                <a:gd name="T34" fmla="*/ 0 h 17"/>
                <a:gd name="T35" fmla="*/ 34 w 34"/>
                <a:gd name="T36" fmla="*/ 17 h 1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" h="17">
                  <a:moveTo>
                    <a:pt x="5" y="9"/>
                  </a:moveTo>
                  <a:cubicBezTo>
                    <a:pt x="4" y="7"/>
                    <a:pt x="1" y="6"/>
                    <a:pt x="1" y="6"/>
                  </a:cubicBezTo>
                  <a:cubicBezTo>
                    <a:pt x="1" y="6"/>
                    <a:pt x="0" y="3"/>
                    <a:pt x="0" y="2"/>
                  </a:cubicBezTo>
                  <a:cubicBezTo>
                    <a:pt x="0" y="0"/>
                    <a:pt x="4" y="2"/>
                    <a:pt x="4" y="2"/>
                  </a:cubicBezTo>
                  <a:cubicBezTo>
                    <a:pt x="7" y="2"/>
                    <a:pt x="14" y="2"/>
                    <a:pt x="16" y="3"/>
                  </a:cubicBezTo>
                  <a:cubicBezTo>
                    <a:pt x="19" y="3"/>
                    <a:pt x="26" y="5"/>
                    <a:pt x="28" y="7"/>
                  </a:cubicBezTo>
                  <a:cubicBezTo>
                    <a:pt x="29" y="8"/>
                    <a:pt x="34" y="11"/>
                    <a:pt x="33" y="12"/>
                  </a:cubicBezTo>
                  <a:cubicBezTo>
                    <a:pt x="32" y="12"/>
                    <a:pt x="28" y="12"/>
                    <a:pt x="25" y="12"/>
                  </a:cubicBezTo>
                  <a:cubicBezTo>
                    <a:pt x="21" y="12"/>
                    <a:pt x="19" y="14"/>
                    <a:pt x="16" y="14"/>
                  </a:cubicBezTo>
                  <a:cubicBezTo>
                    <a:pt x="12" y="14"/>
                    <a:pt x="9" y="17"/>
                    <a:pt x="7" y="13"/>
                  </a:cubicBezTo>
                  <a:cubicBezTo>
                    <a:pt x="5" y="9"/>
                    <a:pt x="6" y="11"/>
                    <a:pt x="5" y="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98" name="Freeform 352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3675061" y="2540491"/>
              <a:ext cx="57627" cy="35948"/>
            </a:xfrm>
            <a:custGeom>
              <a:avLst/>
              <a:gdLst>
                <a:gd name="T0" fmla="*/ 2147483647 w 17"/>
                <a:gd name="T1" fmla="*/ 2147483647 h 10"/>
                <a:gd name="T2" fmla="*/ 2147483647 w 17"/>
                <a:gd name="T3" fmla="*/ 2147483647 h 10"/>
                <a:gd name="T4" fmla="*/ 2147483647 w 17"/>
                <a:gd name="T5" fmla="*/ 0 h 10"/>
                <a:gd name="T6" fmla="*/ 2147483647 w 17"/>
                <a:gd name="T7" fmla="*/ 2147483647 h 10"/>
                <a:gd name="T8" fmla="*/ 2147483647 w 17"/>
                <a:gd name="T9" fmla="*/ 2147483647 h 10"/>
                <a:gd name="T10" fmla="*/ 2147483647 w 17"/>
                <a:gd name="T11" fmla="*/ 2147483647 h 10"/>
                <a:gd name="T12" fmla="*/ 2147483647 w 17"/>
                <a:gd name="T13" fmla="*/ 2147483647 h 10"/>
                <a:gd name="T14" fmla="*/ 2147483647 w 17"/>
                <a:gd name="T15" fmla="*/ 2147483647 h 10"/>
                <a:gd name="T16" fmla="*/ 2147483647 w 17"/>
                <a:gd name="T17" fmla="*/ 2147483647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7"/>
                <a:gd name="T28" fmla="*/ 0 h 10"/>
                <a:gd name="T29" fmla="*/ 17 w 17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7" h="10">
                  <a:moveTo>
                    <a:pt x="2" y="9"/>
                  </a:moveTo>
                  <a:cubicBezTo>
                    <a:pt x="0" y="9"/>
                    <a:pt x="1" y="5"/>
                    <a:pt x="3" y="4"/>
                  </a:cubicBezTo>
                  <a:cubicBezTo>
                    <a:pt x="6" y="2"/>
                    <a:pt x="8" y="0"/>
                    <a:pt x="12" y="0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3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4" y="8"/>
                    <a:pt x="9" y="9"/>
                    <a:pt x="8" y="9"/>
                  </a:cubicBezTo>
                  <a:cubicBezTo>
                    <a:pt x="6" y="9"/>
                    <a:pt x="4" y="10"/>
                    <a:pt x="2" y="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99" name="Freeform 353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3586562" y="2415871"/>
              <a:ext cx="193462" cy="131810"/>
            </a:xfrm>
            <a:custGeom>
              <a:avLst/>
              <a:gdLst>
                <a:gd name="T0" fmla="*/ 2147483647 w 55"/>
                <a:gd name="T1" fmla="*/ 2147483647 h 36"/>
                <a:gd name="T2" fmla="*/ 2147483647 w 55"/>
                <a:gd name="T3" fmla="*/ 2147483647 h 36"/>
                <a:gd name="T4" fmla="*/ 2147483647 w 55"/>
                <a:gd name="T5" fmla="*/ 2147483647 h 36"/>
                <a:gd name="T6" fmla="*/ 2147483647 w 55"/>
                <a:gd name="T7" fmla="*/ 2147483647 h 36"/>
                <a:gd name="T8" fmla="*/ 2147483647 w 55"/>
                <a:gd name="T9" fmla="*/ 2147483647 h 36"/>
                <a:gd name="T10" fmla="*/ 2147483647 w 55"/>
                <a:gd name="T11" fmla="*/ 2147483647 h 36"/>
                <a:gd name="T12" fmla="*/ 2147483647 w 55"/>
                <a:gd name="T13" fmla="*/ 2147483647 h 36"/>
                <a:gd name="T14" fmla="*/ 2147483647 w 55"/>
                <a:gd name="T15" fmla="*/ 2147483647 h 36"/>
                <a:gd name="T16" fmla="*/ 2147483647 w 55"/>
                <a:gd name="T17" fmla="*/ 2147483647 h 36"/>
                <a:gd name="T18" fmla="*/ 2147483647 w 55"/>
                <a:gd name="T19" fmla="*/ 2147483647 h 36"/>
                <a:gd name="T20" fmla="*/ 2147483647 w 55"/>
                <a:gd name="T21" fmla="*/ 2147483647 h 36"/>
                <a:gd name="T22" fmla="*/ 2147483647 w 55"/>
                <a:gd name="T23" fmla="*/ 2147483647 h 36"/>
                <a:gd name="T24" fmla="*/ 2147483647 w 55"/>
                <a:gd name="T25" fmla="*/ 2147483647 h 36"/>
                <a:gd name="T26" fmla="*/ 2147483647 w 55"/>
                <a:gd name="T27" fmla="*/ 2147483647 h 36"/>
                <a:gd name="T28" fmla="*/ 2147483647 w 55"/>
                <a:gd name="T29" fmla="*/ 2147483647 h 36"/>
                <a:gd name="T30" fmla="*/ 2147483647 w 55"/>
                <a:gd name="T31" fmla="*/ 2147483647 h 36"/>
                <a:gd name="T32" fmla="*/ 2147483647 w 55"/>
                <a:gd name="T33" fmla="*/ 2147483647 h 36"/>
                <a:gd name="T34" fmla="*/ 2147483647 w 55"/>
                <a:gd name="T35" fmla="*/ 2147483647 h 36"/>
                <a:gd name="T36" fmla="*/ 2147483647 w 55"/>
                <a:gd name="T37" fmla="*/ 2147483647 h 36"/>
                <a:gd name="T38" fmla="*/ 2147483647 w 55"/>
                <a:gd name="T39" fmla="*/ 2147483647 h 36"/>
                <a:gd name="T40" fmla="*/ 2147483647 w 55"/>
                <a:gd name="T41" fmla="*/ 2147483647 h 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5"/>
                <a:gd name="T64" fmla="*/ 0 h 36"/>
                <a:gd name="T65" fmla="*/ 55 w 55"/>
                <a:gd name="T66" fmla="*/ 36 h 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5" h="36">
                  <a:moveTo>
                    <a:pt x="2" y="28"/>
                  </a:moveTo>
                  <a:cubicBezTo>
                    <a:pt x="0" y="28"/>
                    <a:pt x="7" y="21"/>
                    <a:pt x="9" y="20"/>
                  </a:cubicBezTo>
                  <a:cubicBezTo>
                    <a:pt x="11" y="19"/>
                    <a:pt x="9" y="14"/>
                    <a:pt x="9" y="12"/>
                  </a:cubicBezTo>
                  <a:cubicBezTo>
                    <a:pt x="9" y="12"/>
                    <a:pt x="9" y="11"/>
                    <a:pt x="10" y="10"/>
                  </a:cubicBezTo>
                  <a:cubicBezTo>
                    <a:pt x="10" y="7"/>
                    <a:pt x="12" y="4"/>
                    <a:pt x="12" y="2"/>
                  </a:cubicBezTo>
                  <a:cubicBezTo>
                    <a:pt x="12" y="1"/>
                    <a:pt x="14" y="0"/>
                    <a:pt x="16" y="1"/>
                  </a:cubicBezTo>
                  <a:cubicBezTo>
                    <a:pt x="16" y="1"/>
                    <a:pt x="19" y="8"/>
                    <a:pt x="20" y="8"/>
                  </a:cubicBezTo>
                  <a:cubicBezTo>
                    <a:pt x="21" y="8"/>
                    <a:pt x="25" y="5"/>
                    <a:pt x="25" y="5"/>
                  </a:cubicBezTo>
                  <a:cubicBezTo>
                    <a:pt x="25" y="5"/>
                    <a:pt x="32" y="7"/>
                    <a:pt x="32" y="10"/>
                  </a:cubicBezTo>
                  <a:cubicBezTo>
                    <a:pt x="32" y="9"/>
                    <a:pt x="38" y="15"/>
                    <a:pt x="40" y="15"/>
                  </a:cubicBezTo>
                  <a:cubicBezTo>
                    <a:pt x="41" y="15"/>
                    <a:pt x="44" y="21"/>
                    <a:pt x="46" y="21"/>
                  </a:cubicBezTo>
                  <a:cubicBezTo>
                    <a:pt x="48" y="21"/>
                    <a:pt x="54" y="24"/>
                    <a:pt x="55" y="26"/>
                  </a:cubicBezTo>
                  <a:cubicBezTo>
                    <a:pt x="55" y="27"/>
                    <a:pt x="51" y="31"/>
                    <a:pt x="49" y="31"/>
                  </a:cubicBezTo>
                  <a:cubicBezTo>
                    <a:pt x="48" y="31"/>
                    <a:pt x="45" y="29"/>
                    <a:pt x="42" y="28"/>
                  </a:cubicBezTo>
                  <a:cubicBezTo>
                    <a:pt x="41" y="27"/>
                    <a:pt x="39" y="27"/>
                    <a:pt x="38" y="26"/>
                  </a:cubicBezTo>
                  <a:cubicBezTo>
                    <a:pt x="37" y="25"/>
                    <a:pt x="34" y="21"/>
                    <a:pt x="33" y="21"/>
                  </a:cubicBezTo>
                  <a:cubicBezTo>
                    <a:pt x="31" y="21"/>
                    <a:pt x="31" y="25"/>
                    <a:pt x="29" y="26"/>
                  </a:cubicBezTo>
                  <a:cubicBezTo>
                    <a:pt x="26" y="27"/>
                    <a:pt x="22" y="32"/>
                    <a:pt x="20" y="33"/>
                  </a:cubicBezTo>
                  <a:cubicBezTo>
                    <a:pt x="17" y="33"/>
                    <a:pt x="16" y="36"/>
                    <a:pt x="15" y="34"/>
                  </a:cubicBezTo>
                  <a:cubicBezTo>
                    <a:pt x="13" y="32"/>
                    <a:pt x="15" y="27"/>
                    <a:pt x="14" y="27"/>
                  </a:cubicBezTo>
                  <a:cubicBezTo>
                    <a:pt x="12" y="26"/>
                    <a:pt x="5" y="29"/>
                    <a:pt x="2" y="2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00" name="Freeform 354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3518644" y="2003665"/>
              <a:ext cx="769733" cy="591947"/>
            </a:xfrm>
            <a:custGeom>
              <a:avLst/>
              <a:gdLst>
                <a:gd name="T0" fmla="*/ 2147483647 w 219"/>
                <a:gd name="T1" fmla="*/ 2147483647 h 160"/>
                <a:gd name="T2" fmla="*/ 2147483647 w 219"/>
                <a:gd name="T3" fmla="*/ 2147483647 h 160"/>
                <a:gd name="T4" fmla="*/ 2147483647 w 219"/>
                <a:gd name="T5" fmla="*/ 2147483647 h 160"/>
                <a:gd name="T6" fmla="*/ 2147483647 w 219"/>
                <a:gd name="T7" fmla="*/ 2147483647 h 160"/>
                <a:gd name="T8" fmla="*/ 2147483647 w 219"/>
                <a:gd name="T9" fmla="*/ 2147483647 h 160"/>
                <a:gd name="T10" fmla="*/ 2147483647 w 219"/>
                <a:gd name="T11" fmla="*/ 2147483647 h 160"/>
                <a:gd name="T12" fmla="*/ 2147483647 w 219"/>
                <a:gd name="T13" fmla="*/ 2147483647 h 160"/>
                <a:gd name="T14" fmla="*/ 2147483647 w 219"/>
                <a:gd name="T15" fmla="*/ 2147483647 h 160"/>
                <a:gd name="T16" fmla="*/ 2147483647 w 219"/>
                <a:gd name="T17" fmla="*/ 2147483647 h 160"/>
                <a:gd name="T18" fmla="*/ 2147483647 w 219"/>
                <a:gd name="T19" fmla="*/ 2147483647 h 160"/>
                <a:gd name="T20" fmla="*/ 2147483647 w 219"/>
                <a:gd name="T21" fmla="*/ 2147483647 h 160"/>
                <a:gd name="T22" fmla="*/ 2147483647 w 219"/>
                <a:gd name="T23" fmla="*/ 2147483647 h 160"/>
                <a:gd name="T24" fmla="*/ 2147483647 w 219"/>
                <a:gd name="T25" fmla="*/ 2147483647 h 160"/>
                <a:gd name="T26" fmla="*/ 2147483647 w 219"/>
                <a:gd name="T27" fmla="*/ 2147483647 h 160"/>
                <a:gd name="T28" fmla="*/ 2147483647 w 219"/>
                <a:gd name="T29" fmla="*/ 2147483647 h 160"/>
                <a:gd name="T30" fmla="*/ 2147483647 w 219"/>
                <a:gd name="T31" fmla="*/ 2147483647 h 160"/>
                <a:gd name="T32" fmla="*/ 2147483647 w 219"/>
                <a:gd name="T33" fmla="*/ 2147483647 h 160"/>
                <a:gd name="T34" fmla="*/ 2147483647 w 219"/>
                <a:gd name="T35" fmla="*/ 2147483647 h 160"/>
                <a:gd name="T36" fmla="*/ 2147483647 w 219"/>
                <a:gd name="T37" fmla="*/ 2147483647 h 160"/>
                <a:gd name="T38" fmla="*/ 2147483647 w 219"/>
                <a:gd name="T39" fmla="*/ 2147483647 h 160"/>
                <a:gd name="T40" fmla="*/ 2147483647 w 219"/>
                <a:gd name="T41" fmla="*/ 2147483647 h 160"/>
                <a:gd name="T42" fmla="*/ 2147483647 w 219"/>
                <a:gd name="T43" fmla="*/ 2147483647 h 160"/>
                <a:gd name="T44" fmla="*/ 2147483647 w 219"/>
                <a:gd name="T45" fmla="*/ 2147483647 h 160"/>
                <a:gd name="T46" fmla="*/ 2147483647 w 219"/>
                <a:gd name="T47" fmla="*/ 2147483647 h 160"/>
                <a:gd name="T48" fmla="*/ 2147483647 w 219"/>
                <a:gd name="T49" fmla="*/ 2147483647 h 160"/>
                <a:gd name="T50" fmla="*/ 2147483647 w 219"/>
                <a:gd name="T51" fmla="*/ 2147483647 h 160"/>
                <a:gd name="T52" fmla="*/ 2147483647 w 219"/>
                <a:gd name="T53" fmla="*/ 2147483647 h 160"/>
                <a:gd name="T54" fmla="*/ 2147483647 w 219"/>
                <a:gd name="T55" fmla="*/ 2147483647 h 160"/>
                <a:gd name="T56" fmla="*/ 2147483647 w 219"/>
                <a:gd name="T57" fmla="*/ 2147483647 h 160"/>
                <a:gd name="T58" fmla="*/ 2147483647 w 219"/>
                <a:gd name="T59" fmla="*/ 2147483647 h 160"/>
                <a:gd name="T60" fmla="*/ 2147483647 w 219"/>
                <a:gd name="T61" fmla="*/ 2147483647 h 160"/>
                <a:gd name="T62" fmla="*/ 2147483647 w 219"/>
                <a:gd name="T63" fmla="*/ 2147483647 h 160"/>
                <a:gd name="T64" fmla="*/ 2147483647 w 219"/>
                <a:gd name="T65" fmla="*/ 2147483647 h 160"/>
                <a:gd name="T66" fmla="*/ 2147483647 w 219"/>
                <a:gd name="T67" fmla="*/ 2147483647 h 160"/>
                <a:gd name="T68" fmla="*/ 2147483647 w 219"/>
                <a:gd name="T69" fmla="*/ 2147483647 h 160"/>
                <a:gd name="T70" fmla="*/ 2147483647 w 219"/>
                <a:gd name="T71" fmla="*/ 2147483647 h 160"/>
                <a:gd name="T72" fmla="*/ 2147483647 w 219"/>
                <a:gd name="T73" fmla="*/ 2147483647 h 160"/>
                <a:gd name="T74" fmla="*/ 2147483647 w 219"/>
                <a:gd name="T75" fmla="*/ 2147483647 h 160"/>
                <a:gd name="T76" fmla="*/ 2147483647 w 219"/>
                <a:gd name="T77" fmla="*/ 2147483647 h 160"/>
                <a:gd name="T78" fmla="*/ 2147483647 w 219"/>
                <a:gd name="T79" fmla="*/ 2147483647 h 160"/>
                <a:gd name="T80" fmla="*/ 2147483647 w 219"/>
                <a:gd name="T81" fmla="*/ 2147483647 h 160"/>
                <a:gd name="T82" fmla="*/ 2147483647 w 219"/>
                <a:gd name="T83" fmla="*/ 2147483647 h 160"/>
                <a:gd name="T84" fmla="*/ 2147483647 w 219"/>
                <a:gd name="T85" fmla="*/ 2147483647 h 160"/>
                <a:gd name="T86" fmla="*/ 2147483647 w 219"/>
                <a:gd name="T87" fmla="*/ 2147483647 h 160"/>
                <a:gd name="T88" fmla="*/ 2147483647 w 219"/>
                <a:gd name="T89" fmla="*/ 2147483647 h 160"/>
                <a:gd name="T90" fmla="*/ 2147483647 w 219"/>
                <a:gd name="T91" fmla="*/ 2147483647 h 160"/>
                <a:gd name="T92" fmla="*/ 2147483647 w 219"/>
                <a:gd name="T93" fmla="*/ 2147483647 h 160"/>
                <a:gd name="T94" fmla="*/ 2147483647 w 219"/>
                <a:gd name="T95" fmla="*/ 2147483647 h 160"/>
                <a:gd name="T96" fmla="*/ 2147483647 w 219"/>
                <a:gd name="T97" fmla="*/ 2147483647 h 160"/>
                <a:gd name="T98" fmla="*/ 2147483647 w 219"/>
                <a:gd name="T99" fmla="*/ 2147483647 h 160"/>
                <a:gd name="T100" fmla="*/ 2147483647 w 219"/>
                <a:gd name="T101" fmla="*/ 2147483647 h 160"/>
                <a:gd name="T102" fmla="*/ 2147483647 w 219"/>
                <a:gd name="T103" fmla="*/ 2147483647 h 160"/>
                <a:gd name="T104" fmla="*/ 2147483647 w 219"/>
                <a:gd name="T105" fmla="*/ 2147483647 h 160"/>
                <a:gd name="T106" fmla="*/ 2147483647 w 219"/>
                <a:gd name="T107" fmla="*/ 2147483647 h 160"/>
                <a:gd name="T108" fmla="*/ 2147483647 w 219"/>
                <a:gd name="T109" fmla="*/ 2147483647 h 160"/>
                <a:gd name="T110" fmla="*/ 2147483647 w 219"/>
                <a:gd name="T111" fmla="*/ 2147483647 h 160"/>
                <a:gd name="T112" fmla="*/ 0 w 219"/>
                <a:gd name="T113" fmla="*/ 2147483647 h 16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19"/>
                <a:gd name="T172" fmla="*/ 0 h 160"/>
                <a:gd name="T173" fmla="*/ 219 w 219"/>
                <a:gd name="T174" fmla="*/ 160 h 16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19" h="160">
                  <a:moveTo>
                    <a:pt x="0" y="21"/>
                  </a:moveTo>
                  <a:cubicBezTo>
                    <a:pt x="1" y="18"/>
                    <a:pt x="7" y="7"/>
                    <a:pt x="13" y="4"/>
                  </a:cubicBezTo>
                  <a:cubicBezTo>
                    <a:pt x="20" y="0"/>
                    <a:pt x="28" y="0"/>
                    <a:pt x="31" y="1"/>
                  </a:cubicBezTo>
                  <a:cubicBezTo>
                    <a:pt x="35" y="1"/>
                    <a:pt x="36" y="1"/>
                    <a:pt x="36" y="2"/>
                  </a:cubicBezTo>
                  <a:cubicBezTo>
                    <a:pt x="36" y="3"/>
                    <a:pt x="26" y="8"/>
                    <a:pt x="24" y="14"/>
                  </a:cubicBezTo>
                  <a:cubicBezTo>
                    <a:pt x="22" y="17"/>
                    <a:pt x="24" y="18"/>
                    <a:pt x="25" y="21"/>
                  </a:cubicBezTo>
                  <a:cubicBezTo>
                    <a:pt x="26" y="23"/>
                    <a:pt x="23" y="24"/>
                    <a:pt x="24" y="29"/>
                  </a:cubicBezTo>
                  <a:cubicBezTo>
                    <a:pt x="26" y="33"/>
                    <a:pt x="34" y="34"/>
                    <a:pt x="36" y="35"/>
                  </a:cubicBezTo>
                  <a:cubicBezTo>
                    <a:pt x="38" y="36"/>
                    <a:pt x="40" y="36"/>
                    <a:pt x="40" y="33"/>
                  </a:cubicBezTo>
                  <a:cubicBezTo>
                    <a:pt x="40" y="30"/>
                    <a:pt x="33" y="28"/>
                    <a:pt x="32" y="27"/>
                  </a:cubicBezTo>
                  <a:cubicBezTo>
                    <a:pt x="31" y="25"/>
                    <a:pt x="39" y="26"/>
                    <a:pt x="39" y="25"/>
                  </a:cubicBezTo>
                  <a:cubicBezTo>
                    <a:pt x="39" y="24"/>
                    <a:pt x="34" y="21"/>
                    <a:pt x="33" y="18"/>
                  </a:cubicBezTo>
                  <a:cubicBezTo>
                    <a:pt x="32" y="16"/>
                    <a:pt x="34" y="13"/>
                    <a:pt x="35" y="10"/>
                  </a:cubicBezTo>
                  <a:cubicBezTo>
                    <a:pt x="37" y="8"/>
                    <a:pt x="39" y="6"/>
                    <a:pt x="43" y="6"/>
                  </a:cubicBezTo>
                  <a:cubicBezTo>
                    <a:pt x="47" y="5"/>
                    <a:pt x="57" y="2"/>
                    <a:pt x="60" y="2"/>
                  </a:cubicBezTo>
                  <a:cubicBezTo>
                    <a:pt x="63" y="3"/>
                    <a:pt x="64" y="3"/>
                    <a:pt x="64" y="5"/>
                  </a:cubicBezTo>
                  <a:cubicBezTo>
                    <a:pt x="64" y="8"/>
                    <a:pt x="65" y="9"/>
                    <a:pt x="67" y="9"/>
                  </a:cubicBezTo>
                  <a:cubicBezTo>
                    <a:pt x="69" y="10"/>
                    <a:pt x="70" y="15"/>
                    <a:pt x="70" y="17"/>
                  </a:cubicBezTo>
                  <a:cubicBezTo>
                    <a:pt x="70" y="20"/>
                    <a:pt x="67" y="25"/>
                    <a:pt x="70" y="27"/>
                  </a:cubicBezTo>
                  <a:cubicBezTo>
                    <a:pt x="72" y="29"/>
                    <a:pt x="73" y="25"/>
                    <a:pt x="75" y="24"/>
                  </a:cubicBezTo>
                  <a:cubicBezTo>
                    <a:pt x="76" y="23"/>
                    <a:pt x="78" y="21"/>
                    <a:pt x="80" y="22"/>
                  </a:cubicBezTo>
                  <a:cubicBezTo>
                    <a:pt x="82" y="22"/>
                    <a:pt x="87" y="25"/>
                    <a:pt x="87" y="25"/>
                  </a:cubicBezTo>
                  <a:cubicBezTo>
                    <a:pt x="87" y="25"/>
                    <a:pt x="89" y="22"/>
                    <a:pt x="88" y="20"/>
                  </a:cubicBezTo>
                  <a:cubicBezTo>
                    <a:pt x="87" y="18"/>
                    <a:pt x="93" y="18"/>
                    <a:pt x="96" y="17"/>
                  </a:cubicBezTo>
                  <a:cubicBezTo>
                    <a:pt x="98" y="16"/>
                    <a:pt x="107" y="21"/>
                    <a:pt x="110" y="21"/>
                  </a:cubicBezTo>
                  <a:cubicBezTo>
                    <a:pt x="113" y="21"/>
                    <a:pt x="117" y="23"/>
                    <a:pt x="119" y="25"/>
                  </a:cubicBezTo>
                  <a:cubicBezTo>
                    <a:pt x="121" y="26"/>
                    <a:pt x="115" y="29"/>
                    <a:pt x="113" y="31"/>
                  </a:cubicBezTo>
                  <a:cubicBezTo>
                    <a:pt x="112" y="33"/>
                    <a:pt x="115" y="33"/>
                    <a:pt x="117" y="33"/>
                  </a:cubicBezTo>
                  <a:cubicBezTo>
                    <a:pt x="118" y="33"/>
                    <a:pt x="123" y="32"/>
                    <a:pt x="127" y="32"/>
                  </a:cubicBezTo>
                  <a:cubicBezTo>
                    <a:pt x="130" y="32"/>
                    <a:pt x="135" y="32"/>
                    <a:pt x="139" y="34"/>
                  </a:cubicBezTo>
                  <a:cubicBezTo>
                    <a:pt x="143" y="36"/>
                    <a:pt x="144" y="37"/>
                    <a:pt x="146" y="39"/>
                  </a:cubicBezTo>
                  <a:cubicBezTo>
                    <a:pt x="148" y="42"/>
                    <a:pt x="144" y="43"/>
                    <a:pt x="147" y="45"/>
                  </a:cubicBezTo>
                  <a:cubicBezTo>
                    <a:pt x="149" y="47"/>
                    <a:pt x="152" y="45"/>
                    <a:pt x="155" y="44"/>
                  </a:cubicBezTo>
                  <a:cubicBezTo>
                    <a:pt x="158" y="44"/>
                    <a:pt x="161" y="46"/>
                    <a:pt x="163" y="46"/>
                  </a:cubicBezTo>
                  <a:cubicBezTo>
                    <a:pt x="166" y="47"/>
                    <a:pt x="164" y="50"/>
                    <a:pt x="166" y="51"/>
                  </a:cubicBezTo>
                  <a:cubicBezTo>
                    <a:pt x="168" y="51"/>
                    <a:pt x="172" y="54"/>
                    <a:pt x="173" y="55"/>
                  </a:cubicBezTo>
                  <a:cubicBezTo>
                    <a:pt x="174" y="57"/>
                    <a:pt x="169" y="58"/>
                    <a:pt x="169" y="60"/>
                  </a:cubicBezTo>
                  <a:cubicBezTo>
                    <a:pt x="169" y="61"/>
                    <a:pt x="170" y="61"/>
                    <a:pt x="172" y="62"/>
                  </a:cubicBezTo>
                  <a:cubicBezTo>
                    <a:pt x="175" y="63"/>
                    <a:pt x="178" y="65"/>
                    <a:pt x="177" y="66"/>
                  </a:cubicBezTo>
                  <a:cubicBezTo>
                    <a:pt x="177" y="68"/>
                    <a:pt x="173" y="66"/>
                    <a:pt x="172" y="66"/>
                  </a:cubicBezTo>
                  <a:cubicBezTo>
                    <a:pt x="171" y="66"/>
                    <a:pt x="170" y="68"/>
                    <a:pt x="170" y="70"/>
                  </a:cubicBezTo>
                  <a:cubicBezTo>
                    <a:pt x="170" y="72"/>
                    <a:pt x="172" y="74"/>
                    <a:pt x="174" y="76"/>
                  </a:cubicBezTo>
                  <a:cubicBezTo>
                    <a:pt x="176" y="78"/>
                    <a:pt x="183" y="79"/>
                    <a:pt x="187" y="80"/>
                  </a:cubicBezTo>
                  <a:cubicBezTo>
                    <a:pt x="192" y="82"/>
                    <a:pt x="194" y="84"/>
                    <a:pt x="196" y="87"/>
                  </a:cubicBezTo>
                  <a:cubicBezTo>
                    <a:pt x="199" y="89"/>
                    <a:pt x="200" y="90"/>
                    <a:pt x="203" y="92"/>
                  </a:cubicBezTo>
                  <a:cubicBezTo>
                    <a:pt x="205" y="94"/>
                    <a:pt x="208" y="94"/>
                    <a:pt x="211" y="94"/>
                  </a:cubicBezTo>
                  <a:cubicBezTo>
                    <a:pt x="213" y="94"/>
                    <a:pt x="217" y="97"/>
                    <a:pt x="218" y="99"/>
                  </a:cubicBezTo>
                  <a:cubicBezTo>
                    <a:pt x="219" y="100"/>
                    <a:pt x="217" y="102"/>
                    <a:pt x="216" y="104"/>
                  </a:cubicBezTo>
                  <a:cubicBezTo>
                    <a:pt x="216" y="105"/>
                    <a:pt x="212" y="104"/>
                    <a:pt x="211" y="105"/>
                  </a:cubicBezTo>
                  <a:cubicBezTo>
                    <a:pt x="211" y="106"/>
                    <a:pt x="212" y="110"/>
                    <a:pt x="211" y="111"/>
                  </a:cubicBezTo>
                  <a:cubicBezTo>
                    <a:pt x="211" y="113"/>
                    <a:pt x="209" y="113"/>
                    <a:pt x="209" y="113"/>
                  </a:cubicBezTo>
                  <a:cubicBezTo>
                    <a:pt x="209" y="113"/>
                    <a:pt x="204" y="111"/>
                    <a:pt x="203" y="112"/>
                  </a:cubicBezTo>
                  <a:cubicBezTo>
                    <a:pt x="202" y="113"/>
                    <a:pt x="203" y="119"/>
                    <a:pt x="203" y="120"/>
                  </a:cubicBezTo>
                  <a:cubicBezTo>
                    <a:pt x="203" y="121"/>
                    <a:pt x="200" y="120"/>
                    <a:pt x="199" y="120"/>
                  </a:cubicBezTo>
                  <a:cubicBezTo>
                    <a:pt x="198" y="120"/>
                    <a:pt x="188" y="116"/>
                    <a:pt x="186" y="114"/>
                  </a:cubicBezTo>
                  <a:cubicBezTo>
                    <a:pt x="184" y="113"/>
                    <a:pt x="183" y="107"/>
                    <a:pt x="182" y="106"/>
                  </a:cubicBezTo>
                  <a:cubicBezTo>
                    <a:pt x="181" y="105"/>
                    <a:pt x="176" y="102"/>
                    <a:pt x="174" y="102"/>
                  </a:cubicBezTo>
                  <a:cubicBezTo>
                    <a:pt x="171" y="102"/>
                    <a:pt x="174" y="106"/>
                    <a:pt x="174" y="107"/>
                  </a:cubicBezTo>
                  <a:cubicBezTo>
                    <a:pt x="174" y="108"/>
                    <a:pt x="172" y="108"/>
                    <a:pt x="171" y="110"/>
                  </a:cubicBezTo>
                  <a:cubicBezTo>
                    <a:pt x="169" y="113"/>
                    <a:pt x="173" y="114"/>
                    <a:pt x="173" y="116"/>
                  </a:cubicBezTo>
                  <a:cubicBezTo>
                    <a:pt x="174" y="118"/>
                    <a:pt x="179" y="120"/>
                    <a:pt x="182" y="122"/>
                  </a:cubicBezTo>
                  <a:cubicBezTo>
                    <a:pt x="184" y="124"/>
                    <a:pt x="191" y="129"/>
                    <a:pt x="192" y="131"/>
                  </a:cubicBezTo>
                  <a:cubicBezTo>
                    <a:pt x="193" y="132"/>
                    <a:pt x="196" y="134"/>
                    <a:pt x="196" y="137"/>
                  </a:cubicBezTo>
                  <a:cubicBezTo>
                    <a:pt x="196" y="140"/>
                    <a:pt x="190" y="142"/>
                    <a:pt x="190" y="143"/>
                  </a:cubicBezTo>
                  <a:cubicBezTo>
                    <a:pt x="190" y="144"/>
                    <a:pt x="195" y="148"/>
                    <a:pt x="195" y="149"/>
                  </a:cubicBezTo>
                  <a:cubicBezTo>
                    <a:pt x="194" y="151"/>
                    <a:pt x="193" y="152"/>
                    <a:pt x="192" y="153"/>
                  </a:cubicBezTo>
                  <a:cubicBezTo>
                    <a:pt x="190" y="154"/>
                    <a:pt x="189" y="151"/>
                    <a:pt x="188" y="149"/>
                  </a:cubicBezTo>
                  <a:cubicBezTo>
                    <a:pt x="187" y="147"/>
                    <a:pt x="182" y="144"/>
                    <a:pt x="179" y="141"/>
                  </a:cubicBezTo>
                  <a:cubicBezTo>
                    <a:pt x="176" y="139"/>
                    <a:pt x="171" y="138"/>
                    <a:pt x="169" y="137"/>
                  </a:cubicBezTo>
                  <a:cubicBezTo>
                    <a:pt x="166" y="135"/>
                    <a:pt x="163" y="135"/>
                    <a:pt x="162" y="137"/>
                  </a:cubicBezTo>
                  <a:cubicBezTo>
                    <a:pt x="162" y="138"/>
                    <a:pt x="165" y="142"/>
                    <a:pt x="168" y="143"/>
                  </a:cubicBezTo>
                  <a:cubicBezTo>
                    <a:pt x="170" y="144"/>
                    <a:pt x="182" y="153"/>
                    <a:pt x="183" y="154"/>
                  </a:cubicBezTo>
                  <a:cubicBezTo>
                    <a:pt x="184" y="156"/>
                    <a:pt x="185" y="159"/>
                    <a:pt x="184" y="160"/>
                  </a:cubicBezTo>
                  <a:cubicBezTo>
                    <a:pt x="183" y="160"/>
                    <a:pt x="170" y="154"/>
                    <a:pt x="167" y="154"/>
                  </a:cubicBezTo>
                  <a:cubicBezTo>
                    <a:pt x="164" y="153"/>
                    <a:pt x="156" y="151"/>
                    <a:pt x="152" y="148"/>
                  </a:cubicBezTo>
                  <a:cubicBezTo>
                    <a:pt x="148" y="146"/>
                    <a:pt x="143" y="146"/>
                    <a:pt x="141" y="144"/>
                  </a:cubicBezTo>
                  <a:cubicBezTo>
                    <a:pt x="138" y="142"/>
                    <a:pt x="139" y="139"/>
                    <a:pt x="139" y="137"/>
                  </a:cubicBezTo>
                  <a:cubicBezTo>
                    <a:pt x="139" y="136"/>
                    <a:pt x="131" y="132"/>
                    <a:pt x="129" y="130"/>
                  </a:cubicBezTo>
                  <a:cubicBezTo>
                    <a:pt x="126" y="128"/>
                    <a:pt x="122" y="127"/>
                    <a:pt x="120" y="125"/>
                  </a:cubicBezTo>
                  <a:cubicBezTo>
                    <a:pt x="118" y="123"/>
                    <a:pt x="111" y="126"/>
                    <a:pt x="110" y="127"/>
                  </a:cubicBezTo>
                  <a:cubicBezTo>
                    <a:pt x="108" y="128"/>
                    <a:pt x="101" y="130"/>
                    <a:pt x="98" y="130"/>
                  </a:cubicBezTo>
                  <a:cubicBezTo>
                    <a:pt x="94" y="130"/>
                    <a:pt x="91" y="125"/>
                    <a:pt x="90" y="124"/>
                  </a:cubicBezTo>
                  <a:cubicBezTo>
                    <a:pt x="88" y="123"/>
                    <a:pt x="92" y="119"/>
                    <a:pt x="94" y="118"/>
                  </a:cubicBezTo>
                  <a:cubicBezTo>
                    <a:pt x="96" y="117"/>
                    <a:pt x="94" y="115"/>
                    <a:pt x="96" y="115"/>
                  </a:cubicBezTo>
                  <a:cubicBezTo>
                    <a:pt x="96" y="115"/>
                    <a:pt x="100" y="114"/>
                    <a:pt x="102" y="115"/>
                  </a:cubicBezTo>
                  <a:cubicBezTo>
                    <a:pt x="105" y="116"/>
                    <a:pt x="109" y="116"/>
                    <a:pt x="113" y="117"/>
                  </a:cubicBezTo>
                  <a:cubicBezTo>
                    <a:pt x="116" y="117"/>
                    <a:pt x="123" y="115"/>
                    <a:pt x="124" y="115"/>
                  </a:cubicBezTo>
                  <a:cubicBezTo>
                    <a:pt x="126" y="115"/>
                    <a:pt x="117" y="108"/>
                    <a:pt x="117" y="106"/>
                  </a:cubicBezTo>
                  <a:cubicBezTo>
                    <a:pt x="117" y="105"/>
                    <a:pt x="124" y="99"/>
                    <a:pt x="127" y="99"/>
                  </a:cubicBezTo>
                  <a:cubicBezTo>
                    <a:pt x="129" y="99"/>
                    <a:pt x="132" y="94"/>
                    <a:pt x="134" y="92"/>
                  </a:cubicBezTo>
                  <a:cubicBezTo>
                    <a:pt x="135" y="91"/>
                    <a:pt x="131" y="86"/>
                    <a:pt x="131" y="85"/>
                  </a:cubicBezTo>
                  <a:cubicBezTo>
                    <a:pt x="130" y="84"/>
                    <a:pt x="126" y="78"/>
                    <a:pt x="122" y="77"/>
                  </a:cubicBezTo>
                  <a:cubicBezTo>
                    <a:pt x="118" y="75"/>
                    <a:pt x="121" y="73"/>
                    <a:pt x="118" y="72"/>
                  </a:cubicBezTo>
                  <a:cubicBezTo>
                    <a:pt x="115" y="70"/>
                    <a:pt x="114" y="72"/>
                    <a:pt x="113" y="73"/>
                  </a:cubicBezTo>
                  <a:cubicBezTo>
                    <a:pt x="112" y="73"/>
                    <a:pt x="102" y="72"/>
                    <a:pt x="102" y="71"/>
                  </a:cubicBezTo>
                  <a:cubicBezTo>
                    <a:pt x="102" y="70"/>
                    <a:pt x="106" y="68"/>
                    <a:pt x="107" y="68"/>
                  </a:cubicBezTo>
                  <a:cubicBezTo>
                    <a:pt x="108" y="68"/>
                    <a:pt x="109" y="66"/>
                    <a:pt x="105" y="63"/>
                  </a:cubicBezTo>
                  <a:cubicBezTo>
                    <a:pt x="101" y="61"/>
                    <a:pt x="94" y="60"/>
                    <a:pt x="94" y="59"/>
                  </a:cubicBezTo>
                  <a:cubicBezTo>
                    <a:pt x="93" y="57"/>
                    <a:pt x="92" y="54"/>
                    <a:pt x="91" y="52"/>
                  </a:cubicBezTo>
                  <a:cubicBezTo>
                    <a:pt x="91" y="50"/>
                    <a:pt x="84" y="47"/>
                    <a:pt x="84" y="47"/>
                  </a:cubicBezTo>
                  <a:cubicBezTo>
                    <a:pt x="84" y="47"/>
                    <a:pt x="81" y="48"/>
                    <a:pt x="80" y="49"/>
                  </a:cubicBezTo>
                  <a:cubicBezTo>
                    <a:pt x="80" y="51"/>
                    <a:pt x="85" y="54"/>
                    <a:pt x="85" y="56"/>
                  </a:cubicBezTo>
                  <a:cubicBezTo>
                    <a:pt x="85" y="58"/>
                    <a:pt x="80" y="57"/>
                    <a:pt x="78" y="57"/>
                  </a:cubicBezTo>
                  <a:cubicBezTo>
                    <a:pt x="77" y="57"/>
                    <a:pt x="66" y="55"/>
                    <a:pt x="64" y="55"/>
                  </a:cubicBezTo>
                  <a:cubicBezTo>
                    <a:pt x="63" y="55"/>
                    <a:pt x="61" y="56"/>
                    <a:pt x="58" y="56"/>
                  </a:cubicBezTo>
                  <a:cubicBezTo>
                    <a:pt x="56" y="56"/>
                    <a:pt x="53" y="54"/>
                    <a:pt x="50" y="54"/>
                  </a:cubicBezTo>
                  <a:cubicBezTo>
                    <a:pt x="47" y="54"/>
                    <a:pt x="43" y="53"/>
                    <a:pt x="40" y="53"/>
                  </a:cubicBezTo>
                  <a:cubicBezTo>
                    <a:pt x="37" y="53"/>
                    <a:pt x="27" y="50"/>
                    <a:pt x="25" y="50"/>
                  </a:cubicBezTo>
                  <a:cubicBezTo>
                    <a:pt x="23" y="49"/>
                    <a:pt x="20" y="50"/>
                    <a:pt x="16" y="51"/>
                  </a:cubicBezTo>
                  <a:cubicBezTo>
                    <a:pt x="12" y="51"/>
                    <a:pt x="4" y="45"/>
                    <a:pt x="4" y="43"/>
                  </a:cubicBezTo>
                  <a:cubicBezTo>
                    <a:pt x="4" y="42"/>
                    <a:pt x="20" y="42"/>
                    <a:pt x="21" y="41"/>
                  </a:cubicBezTo>
                  <a:cubicBezTo>
                    <a:pt x="21" y="39"/>
                    <a:pt x="19" y="39"/>
                    <a:pt x="17" y="38"/>
                  </a:cubicBezTo>
                  <a:cubicBezTo>
                    <a:pt x="15" y="37"/>
                    <a:pt x="0" y="35"/>
                    <a:pt x="0" y="34"/>
                  </a:cubicBezTo>
                  <a:cubicBezTo>
                    <a:pt x="0" y="33"/>
                    <a:pt x="0" y="25"/>
                    <a:pt x="0" y="2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01" name="Freeform 355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3458959" y="1428494"/>
              <a:ext cx="833534" cy="443361"/>
            </a:xfrm>
            <a:custGeom>
              <a:avLst/>
              <a:gdLst>
                <a:gd name="T0" fmla="*/ 2147483647 w 237"/>
                <a:gd name="T1" fmla="*/ 2147483647 h 120"/>
                <a:gd name="T2" fmla="*/ 2147483647 w 237"/>
                <a:gd name="T3" fmla="*/ 2147483647 h 120"/>
                <a:gd name="T4" fmla="*/ 2147483647 w 237"/>
                <a:gd name="T5" fmla="*/ 2147483647 h 120"/>
                <a:gd name="T6" fmla="*/ 2147483647 w 237"/>
                <a:gd name="T7" fmla="*/ 2147483647 h 120"/>
                <a:gd name="T8" fmla="*/ 2147483647 w 237"/>
                <a:gd name="T9" fmla="*/ 2147483647 h 120"/>
                <a:gd name="T10" fmla="*/ 2147483647 w 237"/>
                <a:gd name="T11" fmla="*/ 2147483647 h 120"/>
                <a:gd name="T12" fmla="*/ 2147483647 w 237"/>
                <a:gd name="T13" fmla="*/ 2147483647 h 120"/>
                <a:gd name="T14" fmla="*/ 2147483647 w 237"/>
                <a:gd name="T15" fmla="*/ 2147483647 h 120"/>
                <a:gd name="T16" fmla="*/ 2147483647 w 237"/>
                <a:gd name="T17" fmla="*/ 2147483647 h 120"/>
                <a:gd name="T18" fmla="*/ 2147483647 w 237"/>
                <a:gd name="T19" fmla="*/ 2147483647 h 120"/>
                <a:gd name="T20" fmla="*/ 2147483647 w 237"/>
                <a:gd name="T21" fmla="*/ 2147483647 h 120"/>
                <a:gd name="T22" fmla="*/ 2147483647 w 237"/>
                <a:gd name="T23" fmla="*/ 2147483647 h 120"/>
                <a:gd name="T24" fmla="*/ 2147483647 w 237"/>
                <a:gd name="T25" fmla="*/ 2147483647 h 120"/>
                <a:gd name="T26" fmla="*/ 2147483647 w 237"/>
                <a:gd name="T27" fmla="*/ 2147483647 h 120"/>
                <a:gd name="T28" fmla="*/ 2147483647 w 237"/>
                <a:gd name="T29" fmla="*/ 2147483647 h 120"/>
                <a:gd name="T30" fmla="*/ 2147483647 w 237"/>
                <a:gd name="T31" fmla="*/ 2147483647 h 120"/>
                <a:gd name="T32" fmla="*/ 2147483647 w 237"/>
                <a:gd name="T33" fmla="*/ 2147483647 h 120"/>
                <a:gd name="T34" fmla="*/ 2147483647 w 237"/>
                <a:gd name="T35" fmla="*/ 2147483647 h 120"/>
                <a:gd name="T36" fmla="*/ 2147483647 w 237"/>
                <a:gd name="T37" fmla="*/ 2147483647 h 120"/>
                <a:gd name="T38" fmla="*/ 2147483647 w 237"/>
                <a:gd name="T39" fmla="*/ 2147483647 h 120"/>
                <a:gd name="T40" fmla="*/ 2147483647 w 237"/>
                <a:gd name="T41" fmla="*/ 2147483647 h 120"/>
                <a:gd name="T42" fmla="*/ 2147483647 w 237"/>
                <a:gd name="T43" fmla="*/ 2147483647 h 120"/>
                <a:gd name="T44" fmla="*/ 2147483647 w 237"/>
                <a:gd name="T45" fmla="*/ 2147483647 h 120"/>
                <a:gd name="T46" fmla="*/ 2147483647 w 237"/>
                <a:gd name="T47" fmla="*/ 2147483647 h 120"/>
                <a:gd name="T48" fmla="*/ 2147483647 w 237"/>
                <a:gd name="T49" fmla="*/ 2147483647 h 120"/>
                <a:gd name="T50" fmla="*/ 2147483647 w 237"/>
                <a:gd name="T51" fmla="*/ 2147483647 h 120"/>
                <a:gd name="T52" fmla="*/ 2147483647 w 237"/>
                <a:gd name="T53" fmla="*/ 2147483647 h 120"/>
                <a:gd name="T54" fmla="*/ 2147483647 w 237"/>
                <a:gd name="T55" fmla="*/ 2147483647 h 120"/>
                <a:gd name="T56" fmla="*/ 2147483647 w 237"/>
                <a:gd name="T57" fmla="*/ 2147483647 h 120"/>
                <a:gd name="T58" fmla="*/ 2147483647 w 237"/>
                <a:gd name="T59" fmla="*/ 2147483647 h 120"/>
                <a:gd name="T60" fmla="*/ 2147483647 w 237"/>
                <a:gd name="T61" fmla="*/ 2147483647 h 120"/>
                <a:gd name="T62" fmla="*/ 2147483647 w 237"/>
                <a:gd name="T63" fmla="*/ 2147483647 h 120"/>
                <a:gd name="T64" fmla="*/ 2147483647 w 237"/>
                <a:gd name="T65" fmla="*/ 2147483647 h 120"/>
                <a:gd name="T66" fmla="*/ 2147483647 w 237"/>
                <a:gd name="T67" fmla="*/ 2147483647 h 120"/>
                <a:gd name="T68" fmla="*/ 2147483647 w 237"/>
                <a:gd name="T69" fmla="*/ 2147483647 h 120"/>
                <a:gd name="T70" fmla="*/ 2147483647 w 237"/>
                <a:gd name="T71" fmla="*/ 2147483647 h 120"/>
                <a:gd name="T72" fmla="*/ 2147483647 w 237"/>
                <a:gd name="T73" fmla="*/ 2147483647 h 120"/>
                <a:gd name="T74" fmla="*/ 2147483647 w 237"/>
                <a:gd name="T75" fmla="*/ 2147483647 h 120"/>
                <a:gd name="T76" fmla="*/ 2147483647 w 237"/>
                <a:gd name="T77" fmla="*/ 2147483647 h 120"/>
                <a:gd name="T78" fmla="*/ 2147483647 w 237"/>
                <a:gd name="T79" fmla="*/ 2147483647 h 120"/>
                <a:gd name="T80" fmla="*/ 2147483647 w 237"/>
                <a:gd name="T81" fmla="*/ 2147483647 h 120"/>
                <a:gd name="T82" fmla="*/ 2147483647 w 237"/>
                <a:gd name="T83" fmla="*/ 2147483647 h 120"/>
                <a:gd name="T84" fmla="*/ 2147483647 w 237"/>
                <a:gd name="T85" fmla="*/ 2147483647 h 120"/>
                <a:gd name="T86" fmla="*/ 2147483647 w 237"/>
                <a:gd name="T87" fmla="*/ 2147483647 h 120"/>
                <a:gd name="T88" fmla="*/ 2147483647 w 237"/>
                <a:gd name="T89" fmla="*/ 2147483647 h 120"/>
                <a:gd name="T90" fmla="*/ 2147483647 w 237"/>
                <a:gd name="T91" fmla="*/ 2147483647 h 120"/>
                <a:gd name="T92" fmla="*/ 2147483647 w 237"/>
                <a:gd name="T93" fmla="*/ 2147483647 h 120"/>
                <a:gd name="T94" fmla="*/ 2147483647 w 237"/>
                <a:gd name="T95" fmla="*/ 2147483647 h 120"/>
                <a:gd name="T96" fmla="*/ 2147483647 w 237"/>
                <a:gd name="T97" fmla="*/ 2147483647 h 120"/>
                <a:gd name="T98" fmla="*/ 2147483647 w 237"/>
                <a:gd name="T99" fmla="*/ 2147483647 h 120"/>
                <a:gd name="T100" fmla="*/ 2147483647 w 237"/>
                <a:gd name="T101" fmla="*/ 2147483647 h 120"/>
                <a:gd name="T102" fmla="*/ 2147483647 w 237"/>
                <a:gd name="T103" fmla="*/ 2147483647 h 120"/>
                <a:gd name="T104" fmla="*/ 2147483647 w 237"/>
                <a:gd name="T105" fmla="*/ 2147483647 h 120"/>
                <a:gd name="T106" fmla="*/ 2147483647 w 237"/>
                <a:gd name="T107" fmla="*/ 2147483647 h 120"/>
                <a:gd name="T108" fmla="*/ 2147483647 w 237"/>
                <a:gd name="T109" fmla="*/ 2147483647 h 120"/>
                <a:gd name="T110" fmla="*/ 2147483647 w 237"/>
                <a:gd name="T111" fmla="*/ 2147483647 h 120"/>
                <a:gd name="T112" fmla="*/ 2147483647 w 237"/>
                <a:gd name="T113" fmla="*/ 2147483647 h 120"/>
                <a:gd name="T114" fmla="*/ 2147483647 w 237"/>
                <a:gd name="T115" fmla="*/ 2147483647 h 120"/>
                <a:gd name="T116" fmla="*/ 2147483647 w 237"/>
                <a:gd name="T117" fmla="*/ 2147483647 h 1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7"/>
                <a:gd name="T178" fmla="*/ 0 h 120"/>
                <a:gd name="T179" fmla="*/ 237 w 237"/>
                <a:gd name="T180" fmla="*/ 120 h 12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7" h="120">
                  <a:moveTo>
                    <a:pt x="12" y="32"/>
                  </a:moveTo>
                  <a:cubicBezTo>
                    <a:pt x="8" y="30"/>
                    <a:pt x="8" y="31"/>
                    <a:pt x="5" y="31"/>
                  </a:cubicBezTo>
                  <a:cubicBezTo>
                    <a:pt x="3" y="31"/>
                    <a:pt x="2" y="29"/>
                    <a:pt x="2" y="29"/>
                  </a:cubicBezTo>
                  <a:cubicBezTo>
                    <a:pt x="0" y="28"/>
                    <a:pt x="2" y="26"/>
                    <a:pt x="4" y="26"/>
                  </a:cubicBezTo>
                  <a:cubicBezTo>
                    <a:pt x="5" y="26"/>
                    <a:pt x="10" y="23"/>
                    <a:pt x="11" y="23"/>
                  </a:cubicBezTo>
                  <a:cubicBezTo>
                    <a:pt x="12" y="23"/>
                    <a:pt x="18" y="24"/>
                    <a:pt x="18" y="24"/>
                  </a:cubicBezTo>
                  <a:cubicBezTo>
                    <a:pt x="18" y="24"/>
                    <a:pt x="20" y="25"/>
                    <a:pt x="22" y="24"/>
                  </a:cubicBezTo>
                  <a:cubicBezTo>
                    <a:pt x="23" y="23"/>
                    <a:pt x="24" y="21"/>
                    <a:pt x="25" y="20"/>
                  </a:cubicBezTo>
                  <a:cubicBezTo>
                    <a:pt x="26" y="20"/>
                    <a:pt x="32" y="19"/>
                    <a:pt x="33" y="19"/>
                  </a:cubicBezTo>
                  <a:cubicBezTo>
                    <a:pt x="34" y="20"/>
                    <a:pt x="36" y="21"/>
                    <a:pt x="38" y="21"/>
                  </a:cubicBezTo>
                  <a:cubicBezTo>
                    <a:pt x="40" y="21"/>
                    <a:pt x="41" y="17"/>
                    <a:pt x="41" y="17"/>
                  </a:cubicBezTo>
                  <a:cubicBezTo>
                    <a:pt x="42" y="17"/>
                    <a:pt x="50" y="18"/>
                    <a:pt x="50" y="17"/>
                  </a:cubicBezTo>
                  <a:cubicBezTo>
                    <a:pt x="50" y="16"/>
                    <a:pt x="48" y="12"/>
                    <a:pt x="49" y="12"/>
                  </a:cubicBezTo>
                  <a:cubicBezTo>
                    <a:pt x="50" y="12"/>
                    <a:pt x="55" y="12"/>
                    <a:pt x="56" y="12"/>
                  </a:cubicBezTo>
                  <a:cubicBezTo>
                    <a:pt x="57" y="13"/>
                    <a:pt x="62" y="14"/>
                    <a:pt x="64" y="15"/>
                  </a:cubicBezTo>
                  <a:cubicBezTo>
                    <a:pt x="65" y="16"/>
                    <a:pt x="68" y="18"/>
                    <a:pt x="70" y="18"/>
                  </a:cubicBezTo>
                  <a:cubicBezTo>
                    <a:pt x="72" y="19"/>
                    <a:pt x="75" y="18"/>
                    <a:pt x="76" y="18"/>
                  </a:cubicBezTo>
                  <a:cubicBezTo>
                    <a:pt x="78" y="18"/>
                    <a:pt x="77" y="17"/>
                    <a:pt x="76" y="16"/>
                  </a:cubicBezTo>
                  <a:cubicBezTo>
                    <a:pt x="76" y="16"/>
                    <a:pt x="71" y="14"/>
                    <a:pt x="72" y="13"/>
                  </a:cubicBezTo>
                  <a:cubicBezTo>
                    <a:pt x="73" y="12"/>
                    <a:pt x="76" y="9"/>
                    <a:pt x="76" y="9"/>
                  </a:cubicBezTo>
                  <a:cubicBezTo>
                    <a:pt x="76" y="9"/>
                    <a:pt x="82" y="7"/>
                    <a:pt x="85" y="7"/>
                  </a:cubicBezTo>
                  <a:cubicBezTo>
                    <a:pt x="89" y="6"/>
                    <a:pt x="91" y="9"/>
                    <a:pt x="93" y="9"/>
                  </a:cubicBezTo>
                  <a:cubicBezTo>
                    <a:pt x="96" y="9"/>
                    <a:pt x="92" y="4"/>
                    <a:pt x="94" y="4"/>
                  </a:cubicBezTo>
                  <a:cubicBezTo>
                    <a:pt x="96" y="3"/>
                    <a:pt x="102" y="3"/>
                    <a:pt x="104" y="4"/>
                  </a:cubicBezTo>
                  <a:cubicBezTo>
                    <a:pt x="106" y="5"/>
                    <a:pt x="111" y="5"/>
                    <a:pt x="112" y="6"/>
                  </a:cubicBezTo>
                  <a:cubicBezTo>
                    <a:pt x="114" y="7"/>
                    <a:pt x="118" y="9"/>
                    <a:pt x="119" y="10"/>
                  </a:cubicBezTo>
                  <a:cubicBezTo>
                    <a:pt x="120" y="11"/>
                    <a:pt x="123" y="11"/>
                    <a:pt x="124" y="10"/>
                  </a:cubicBezTo>
                  <a:cubicBezTo>
                    <a:pt x="125" y="9"/>
                    <a:pt x="117" y="4"/>
                    <a:pt x="117" y="2"/>
                  </a:cubicBezTo>
                  <a:cubicBezTo>
                    <a:pt x="118" y="1"/>
                    <a:pt x="127" y="1"/>
                    <a:pt x="129" y="1"/>
                  </a:cubicBezTo>
                  <a:cubicBezTo>
                    <a:pt x="132" y="1"/>
                    <a:pt x="136" y="2"/>
                    <a:pt x="137" y="3"/>
                  </a:cubicBezTo>
                  <a:cubicBezTo>
                    <a:pt x="138" y="4"/>
                    <a:pt x="142" y="6"/>
                    <a:pt x="144" y="6"/>
                  </a:cubicBezTo>
                  <a:cubicBezTo>
                    <a:pt x="146" y="6"/>
                    <a:pt x="144" y="1"/>
                    <a:pt x="145" y="1"/>
                  </a:cubicBezTo>
                  <a:cubicBezTo>
                    <a:pt x="147" y="1"/>
                    <a:pt x="152" y="1"/>
                    <a:pt x="155" y="1"/>
                  </a:cubicBezTo>
                  <a:cubicBezTo>
                    <a:pt x="157" y="2"/>
                    <a:pt x="167" y="0"/>
                    <a:pt x="169" y="1"/>
                  </a:cubicBezTo>
                  <a:cubicBezTo>
                    <a:pt x="171" y="1"/>
                    <a:pt x="186" y="3"/>
                    <a:pt x="189" y="3"/>
                  </a:cubicBezTo>
                  <a:cubicBezTo>
                    <a:pt x="192" y="4"/>
                    <a:pt x="200" y="4"/>
                    <a:pt x="191" y="6"/>
                  </a:cubicBezTo>
                  <a:cubicBezTo>
                    <a:pt x="182" y="9"/>
                    <a:pt x="176" y="9"/>
                    <a:pt x="178" y="11"/>
                  </a:cubicBezTo>
                  <a:cubicBezTo>
                    <a:pt x="180" y="12"/>
                    <a:pt x="189" y="12"/>
                    <a:pt x="191" y="12"/>
                  </a:cubicBezTo>
                  <a:cubicBezTo>
                    <a:pt x="192" y="12"/>
                    <a:pt x="202" y="9"/>
                    <a:pt x="205" y="7"/>
                  </a:cubicBezTo>
                  <a:cubicBezTo>
                    <a:pt x="208" y="5"/>
                    <a:pt x="213" y="6"/>
                    <a:pt x="215" y="6"/>
                  </a:cubicBezTo>
                  <a:cubicBezTo>
                    <a:pt x="217" y="7"/>
                    <a:pt x="219" y="11"/>
                    <a:pt x="222" y="11"/>
                  </a:cubicBezTo>
                  <a:cubicBezTo>
                    <a:pt x="224" y="12"/>
                    <a:pt x="230" y="11"/>
                    <a:pt x="232" y="12"/>
                  </a:cubicBezTo>
                  <a:cubicBezTo>
                    <a:pt x="234" y="14"/>
                    <a:pt x="237" y="15"/>
                    <a:pt x="233" y="18"/>
                  </a:cubicBezTo>
                  <a:cubicBezTo>
                    <a:pt x="231" y="19"/>
                    <a:pt x="217" y="24"/>
                    <a:pt x="213" y="24"/>
                  </a:cubicBezTo>
                  <a:cubicBezTo>
                    <a:pt x="209" y="24"/>
                    <a:pt x="200" y="26"/>
                    <a:pt x="198" y="27"/>
                  </a:cubicBezTo>
                  <a:cubicBezTo>
                    <a:pt x="192" y="27"/>
                    <a:pt x="179" y="32"/>
                    <a:pt x="174" y="32"/>
                  </a:cubicBezTo>
                  <a:cubicBezTo>
                    <a:pt x="169" y="33"/>
                    <a:pt x="169" y="36"/>
                    <a:pt x="170" y="37"/>
                  </a:cubicBezTo>
                  <a:cubicBezTo>
                    <a:pt x="171" y="37"/>
                    <a:pt x="178" y="36"/>
                    <a:pt x="181" y="36"/>
                  </a:cubicBezTo>
                  <a:cubicBezTo>
                    <a:pt x="184" y="36"/>
                    <a:pt x="209" y="30"/>
                    <a:pt x="209" y="31"/>
                  </a:cubicBezTo>
                  <a:cubicBezTo>
                    <a:pt x="210" y="32"/>
                    <a:pt x="197" y="39"/>
                    <a:pt x="193" y="40"/>
                  </a:cubicBezTo>
                  <a:cubicBezTo>
                    <a:pt x="188" y="42"/>
                    <a:pt x="176" y="49"/>
                    <a:pt x="172" y="51"/>
                  </a:cubicBezTo>
                  <a:cubicBezTo>
                    <a:pt x="169" y="52"/>
                    <a:pt x="164" y="58"/>
                    <a:pt x="161" y="60"/>
                  </a:cubicBezTo>
                  <a:cubicBezTo>
                    <a:pt x="158" y="61"/>
                    <a:pt x="149" y="65"/>
                    <a:pt x="145" y="65"/>
                  </a:cubicBezTo>
                  <a:cubicBezTo>
                    <a:pt x="142" y="65"/>
                    <a:pt x="121" y="67"/>
                    <a:pt x="118" y="66"/>
                  </a:cubicBezTo>
                  <a:cubicBezTo>
                    <a:pt x="115" y="66"/>
                    <a:pt x="112" y="69"/>
                    <a:pt x="114" y="69"/>
                  </a:cubicBezTo>
                  <a:cubicBezTo>
                    <a:pt x="116" y="69"/>
                    <a:pt x="128" y="71"/>
                    <a:pt x="131" y="72"/>
                  </a:cubicBezTo>
                  <a:cubicBezTo>
                    <a:pt x="134" y="73"/>
                    <a:pt x="132" y="74"/>
                    <a:pt x="132" y="76"/>
                  </a:cubicBezTo>
                  <a:cubicBezTo>
                    <a:pt x="132" y="78"/>
                    <a:pt x="132" y="82"/>
                    <a:pt x="130" y="85"/>
                  </a:cubicBezTo>
                  <a:cubicBezTo>
                    <a:pt x="127" y="88"/>
                    <a:pt x="124" y="91"/>
                    <a:pt x="123" y="91"/>
                  </a:cubicBezTo>
                  <a:cubicBezTo>
                    <a:pt x="122" y="91"/>
                    <a:pt x="110" y="91"/>
                    <a:pt x="106" y="91"/>
                  </a:cubicBezTo>
                  <a:cubicBezTo>
                    <a:pt x="102" y="92"/>
                    <a:pt x="110" y="97"/>
                    <a:pt x="108" y="98"/>
                  </a:cubicBezTo>
                  <a:cubicBezTo>
                    <a:pt x="106" y="100"/>
                    <a:pt x="91" y="102"/>
                    <a:pt x="87" y="101"/>
                  </a:cubicBezTo>
                  <a:cubicBezTo>
                    <a:pt x="83" y="100"/>
                    <a:pt x="84" y="100"/>
                    <a:pt x="83" y="103"/>
                  </a:cubicBezTo>
                  <a:cubicBezTo>
                    <a:pt x="81" y="106"/>
                    <a:pt x="97" y="106"/>
                    <a:pt x="101" y="107"/>
                  </a:cubicBezTo>
                  <a:cubicBezTo>
                    <a:pt x="104" y="108"/>
                    <a:pt x="106" y="106"/>
                    <a:pt x="107" y="108"/>
                  </a:cubicBezTo>
                  <a:cubicBezTo>
                    <a:pt x="108" y="111"/>
                    <a:pt x="107" y="114"/>
                    <a:pt x="105" y="115"/>
                  </a:cubicBezTo>
                  <a:cubicBezTo>
                    <a:pt x="103" y="115"/>
                    <a:pt x="88" y="120"/>
                    <a:pt x="86" y="120"/>
                  </a:cubicBezTo>
                  <a:cubicBezTo>
                    <a:pt x="84" y="120"/>
                    <a:pt x="89" y="114"/>
                    <a:pt x="84" y="114"/>
                  </a:cubicBezTo>
                  <a:cubicBezTo>
                    <a:pt x="79" y="114"/>
                    <a:pt x="77" y="116"/>
                    <a:pt x="69" y="115"/>
                  </a:cubicBezTo>
                  <a:cubicBezTo>
                    <a:pt x="61" y="115"/>
                    <a:pt x="59" y="114"/>
                    <a:pt x="57" y="114"/>
                  </a:cubicBezTo>
                  <a:cubicBezTo>
                    <a:pt x="55" y="114"/>
                    <a:pt x="61" y="120"/>
                    <a:pt x="54" y="119"/>
                  </a:cubicBezTo>
                  <a:cubicBezTo>
                    <a:pt x="47" y="119"/>
                    <a:pt x="39" y="116"/>
                    <a:pt x="35" y="115"/>
                  </a:cubicBezTo>
                  <a:cubicBezTo>
                    <a:pt x="30" y="115"/>
                    <a:pt x="20" y="116"/>
                    <a:pt x="18" y="113"/>
                  </a:cubicBezTo>
                  <a:cubicBezTo>
                    <a:pt x="16" y="111"/>
                    <a:pt x="17" y="110"/>
                    <a:pt x="21" y="109"/>
                  </a:cubicBezTo>
                  <a:cubicBezTo>
                    <a:pt x="24" y="109"/>
                    <a:pt x="35" y="108"/>
                    <a:pt x="38" y="106"/>
                  </a:cubicBezTo>
                  <a:cubicBezTo>
                    <a:pt x="41" y="104"/>
                    <a:pt x="35" y="103"/>
                    <a:pt x="34" y="101"/>
                  </a:cubicBezTo>
                  <a:cubicBezTo>
                    <a:pt x="33" y="99"/>
                    <a:pt x="29" y="97"/>
                    <a:pt x="31" y="95"/>
                  </a:cubicBezTo>
                  <a:cubicBezTo>
                    <a:pt x="32" y="94"/>
                    <a:pt x="38" y="92"/>
                    <a:pt x="42" y="95"/>
                  </a:cubicBezTo>
                  <a:cubicBezTo>
                    <a:pt x="46" y="98"/>
                    <a:pt x="46" y="101"/>
                    <a:pt x="49" y="102"/>
                  </a:cubicBezTo>
                  <a:cubicBezTo>
                    <a:pt x="52" y="103"/>
                    <a:pt x="59" y="103"/>
                    <a:pt x="62" y="103"/>
                  </a:cubicBezTo>
                  <a:cubicBezTo>
                    <a:pt x="64" y="102"/>
                    <a:pt x="65" y="101"/>
                    <a:pt x="64" y="100"/>
                  </a:cubicBezTo>
                  <a:cubicBezTo>
                    <a:pt x="64" y="98"/>
                    <a:pt x="57" y="100"/>
                    <a:pt x="55" y="97"/>
                  </a:cubicBezTo>
                  <a:cubicBezTo>
                    <a:pt x="53" y="94"/>
                    <a:pt x="50" y="92"/>
                    <a:pt x="52" y="91"/>
                  </a:cubicBezTo>
                  <a:cubicBezTo>
                    <a:pt x="54" y="90"/>
                    <a:pt x="56" y="89"/>
                    <a:pt x="55" y="86"/>
                  </a:cubicBezTo>
                  <a:cubicBezTo>
                    <a:pt x="54" y="83"/>
                    <a:pt x="51" y="87"/>
                    <a:pt x="45" y="87"/>
                  </a:cubicBezTo>
                  <a:cubicBezTo>
                    <a:pt x="39" y="88"/>
                    <a:pt x="36" y="89"/>
                    <a:pt x="36" y="87"/>
                  </a:cubicBezTo>
                  <a:cubicBezTo>
                    <a:pt x="37" y="85"/>
                    <a:pt x="39" y="82"/>
                    <a:pt x="41" y="80"/>
                  </a:cubicBezTo>
                  <a:cubicBezTo>
                    <a:pt x="43" y="79"/>
                    <a:pt x="44" y="78"/>
                    <a:pt x="48" y="78"/>
                  </a:cubicBezTo>
                  <a:cubicBezTo>
                    <a:pt x="53" y="78"/>
                    <a:pt x="63" y="77"/>
                    <a:pt x="66" y="79"/>
                  </a:cubicBezTo>
                  <a:cubicBezTo>
                    <a:pt x="70" y="80"/>
                    <a:pt x="70" y="80"/>
                    <a:pt x="72" y="77"/>
                  </a:cubicBezTo>
                  <a:cubicBezTo>
                    <a:pt x="74" y="74"/>
                    <a:pt x="68" y="74"/>
                    <a:pt x="65" y="73"/>
                  </a:cubicBezTo>
                  <a:cubicBezTo>
                    <a:pt x="62" y="73"/>
                    <a:pt x="60" y="74"/>
                    <a:pt x="60" y="71"/>
                  </a:cubicBezTo>
                  <a:cubicBezTo>
                    <a:pt x="61" y="67"/>
                    <a:pt x="59" y="67"/>
                    <a:pt x="56" y="64"/>
                  </a:cubicBezTo>
                  <a:cubicBezTo>
                    <a:pt x="53" y="62"/>
                    <a:pt x="49" y="60"/>
                    <a:pt x="48" y="60"/>
                  </a:cubicBezTo>
                  <a:cubicBezTo>
                    <a:pt x="47" y="60"/>
                    <a:pt x="45" y="61"/>
                    <a:pt x="44" y="59"/>
                  </a:cubicBezTo>
                  <a:cubicBezTo>
                    <a:pt x="43" y="58"/>
                    <a:pt x="42" y="53"/>
                    <a:pt x="43" y="53"/>
                  </a:cubicBezTo>
                  <a:cubicBezTo>
                    <a:pt x="45" y="52"/>
                    <a:pt x="50" y="53"/>
                    <a:pt x="53" y="53"/>
                  </a:cubicBezTo>
                  <a:cubicBezTo>
                    <a:pt x="56" y="53"/>
                    <a:pt x="61" y="52"/>
                    <a:pt x="63" y="54"/>
                  </a:cubicBezTo>
                  <a:cubicBezTo>
                    <a:pt x="65" y="56"/>
                    <a:pt x="74" y="59"/>
                    <a:pt x="75" y="60"/>
                  </a:cubicBezTo>
                  <a:cubicBezTo>
                    <a:pt x="75" y="62"/>
                    <a:pt x="78" y="64"/>
                    <a:pt x="80" y="64"/>
                  </a:cubicBezTo>
                  <a:cubicBezTo>
                    <a:pt x="81" y="64"/>
                    <a:pt x="84" y="63"/>
                    <a:pt x="84" y="61"/>
                  </a:cubicBezTo>
                  <a:cubicBezTo>
                    <a:pt x="84" y="60"/>
                    <a:pt x="81" y="59"/>
                    <a:pt x="81" y="58"/>
                  </a:cubicBezTo>
                  <a:cubicBezTo>
                    <a:pt x="81" y="56"/>
                    <a:pt x="72" y="54"/>
                    <a:pt x="71" y="53"/>
                  </a:cubicBezTo>
                  <a:cubicBezTo>
                    <a:pt x="71" y="51"/>
                    <a:pt x="77" y="51"/>
                    <a:pt x="79" y="51"/>
                  </a:cubicBezTo>
                  <a:cubicBezTo>
                    <a:pt x="82" y="51"/>
                    <a:pt x="94" y="48"/>
                    <a:pt x="96" y="48"/>
                  </a:cubicBezTo>
                  <a:cubicBezTo>
                    <a:pt x="98" y="47"/>
                    <a:pt x="102" y="46"/>
                    <a:pt x="102" y="44"/>
                  </a:cubicBezTo>
                  <a:cubicBezTo>
                    <a:pt x="102" y="42"/>
                    <a:pt x="101" y="41"/>
                    <a:pt x="102" y="40"/>
                  </a:cubicBezTo>
                  <a:cubicBezTo>
                    <a:pt x="103" y="39"/>
                    <a:pt x="105" y="36"/>
                    <a:pt x="104" y="36"/>
                  </a:cubicBezTo>
                  <a:cubicBezTo>
                    <a:pt x="103" y="35"/>
                    <a:pt x="97" y="38"/>
                    <a:pt x="96" y="39"/>
                  </a:cubicBezTo>
                  <a:cubicBezTo>
                    <a:pt x="95" y="39"/>
                    <a:pt x="96" y="43"/>
                    <a:pt x="94" y="43"/>
                  </a:cubicBezTo>
                  <a:cubicBezTo>
                    <a:pt x="91" y="43"/>
                    <a:pt x="73" y="47"/>
                    <a:pt x="65" y="46"/>
                  </a:cubicBezTo>
                  <a:cubicBezTo>
                    <a:pt x="58" y="46"/>
                    <a:pt x="45" y="48"/>
                    <a:pt x="41" y="46"/>
                  </a:cubicBezTo>
                  <a:cubicBezTo>
                    <a:pt x="37" y="44"/>
                    <a:pt x="30" y="46"/>
                    <a:pt x="25" y="43"/>
                  </a:cubicBezTo>
                  <a:cubicBezTo>
                    <a:pt x="21" y="39"/>
                    <a:pt x="32" y="40"/>
                    <a:pt x="37" y="40"/>
                  </a:cubicBezTo>
                  <a:cubicBezTo>
                    <a:pt x="43" y="39"/>
                    <a:pt x="49" y="36"/>
                    <a:pt x="50" y="35"/>
                  </a:cubicBezTo>
                  <a:cubicBezTo>
                    <a:pt x="52" y="33"/>
                    <a:pt x="49" y="33"/>
                    <a:pt x="43" y="34"/>
                  </a:cubicBezTo>
                  <a:cubicBezTo>
                    <a:pt x="37" y="34"/>
                    <a:pt x="21" y="37"/>
                    <a:pt x="15" y="35"/>
                  </a:cubicBezTo>
                  <a:cubicBezTo>
                    <a:pt x="9" y="33"/>
                    <a:pt x="16" y="35"/>
                    <a:pt x="12" y="32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02" name="Freeform 356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3469250" y="1780786"/>
              <a:ext cx="57627" cy="40741"/>
            </a:xfrm>
            <a:custGeom>
              <a:avLst/>
              <a:gdLst>
                <a:gd name="T0" fmla="*/ 2147483647 w 16"/>
                <a:gd name="T1" fmla="*/ 2147483647 h 11"/>
                <a:gd name="T2" fmla="*/ 2147483647 w 16"/>
                <a:gd name="T3" fmla="*/ 2147483647 h 11"/>
                <a:gd name="T4" fmla="*/ 2147483647 w 16"/>
                <a:gd name="T5" fmla="*/ 0 h 11"/>
                <a:gd name="T6" fmla="*/ 2147483647 w 16"/>
                <a:gd name="T7" fmla="*/ 2147483647 h 11"/>
                <a:gd name="T8" fmla="*/ 2147483647 w 16"/>
                <a:gd name="T9" fmla="*/ 2147483647 h 11"/>
                <a:gd name="T10" fmla="*/ 2147483647 w 16"/>
                <a:gd name="T11" fmla="*/ 2147483647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11"/>
                <a:gd name="T20" fmla="*/ 16 w 16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11">
                  <a:moveTo>
                    <a:pt x="8" y="10"/>
                  </a:moveTo>
                  <a:cubicBezTo>
                    <a:pt x="6" y="10"/>
                    <a:pt x="2" y="7"/>
                    <a:pt x="2" y="5"/>
                  </a:cubicBezTo>
                  <a:cubicBezTo>
                    <a:pt x="0" y="3"/>
                    <a:pt x="4" y="0"/>
                    <a:pt x="6" y="0"/>
                  </a:cubicBezTo>
                  <a:cubicBezTo>
                    <a:pt x="6" y="0"/>
                    <a:pt x="9" y="0"/>
                    <a:pt x="11" y="1"/>
                  </a:cubicBezTo>
                  <a:cubicBezTo>
                    <a:pt x="13" y="1"/>
                    <a:pt x="16" y="4"/>
                    <a:pt x="16" y="7"/>
                  </a:cubicBezTo>
                  <a:cubicBezTo>
                    <a:pt x="16" y="11"/>
                    <a:pt x="10" y="10"/>
                    <a:pt x="8" y="1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03" name="Freeform 357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3430146" y="1845493"/>
              <a:ext cx="370460" cy="127017"/>
            </a:xfrm>
            <a:custGeom>
              <a:avLst/>
              <a:gdLst>
                <a:gd name="T0" fmla="*/ 2147483647 w 105"/>
                <a:gd name="T1" fmla="*/ 2147483647 h 34"/>
                <a:gd name="T2" fmla="*/ 2147483647 w 105"/>
                <a:gd name="T3" fmla="*/ 0 h 34"/>
                <a:gd name="T4" fmla="*/ 2147483647 w 105"/>
                <a:gd name="T5" fmla="*/ 0 h 34"/>
                <a:gd name="T6" fmla="*/ 2147483647 w 105"/>
                <a:gd name="T7" fmla="*/ 2147483647 h 34"/>
                <a:gd name="T8" fmla="*/ 2147483647 w 105"/>
                <a:gd name="T9" fmla="*/ 2147483647 h 34"/>
                <a:gd name="T10" fmla="*/ 2147483647 w 105"/>
                <a:gd name="T11" fmla="*/ 2147483647 h 34"/>
                <a:gd name="T12" fmla="*/ 2147483647 w 105"/>
                <a:gd name="T13" fmla="*/ 2147483647 h 34"/>
                <a:gd name="T14" fmla="*/ 2147483647 w 105"/>
                <a:gd name="T15" fmla="*/ 2147483647 h 34"/>
                <a:gd name="T16" fmla="*/ 2147483647 w 105"/>
                <a:gd name="T17" fmla="*/ 2147483647 h 34"/>
                <a:gd name="T18" fmla="*/ 2147483647 w 105"/>
                <a:gd name="T19" fmla="*/ 2147483647 h 34"/>
                <a:gd name="T20" fmla="*/ 2147483647 w 105"/>
                <a:gd name="T21" fmla="*/ 2147483647 h 34"/>
                <a:gd name="T22" fmla="*/ 2147483647 w 105"/>
                <a:gd name="T23" fmla="*/ 2147483647 h 34"/>
                <a:gd name="T24" fmla="*/ 2147483647 w 105"/>
                <a:gd name="T25" fmla="*/ 2147483647 h 34"/>
                <a:gd name="T26" fmla="*/ 2147483647 w 105"/>
                <a:gd name="T27" fmla="*/ 2147483647 h 34"/>
                <a:gd name="T28" fmla="*/ 2147483647 w 105"/>
                <a:gd name="T29" fmla="*/ 2147483647 h 34"/>
                <a:gd name="T30" fmla="*/ 2147483647 w 105"/>
                <a:gd name="T31" fmla="*/ 2147483647 h 34"/>
                <a:gd name="T32" fmla="*/ 2147483647 w 105"/>
                <a:gd name="T33" fmla="*/ 2147483647 h 34"/>
                <a:gd name="T34" fmla="*/ 2147483647 w 105"/>
                <a:gd name="T35" fmla="*/ 2147483647 h 34"/>
                <a:gd name="T36" fmla="*/ 2147483647 w 105"/>
                <a:gd name="T37" fmla="*/ 2147483647 h 34"/>
                <a:gd name="T38" fmla="*/ 2147483647 w 105"/>
                <a:gd name="T39" fmla="*/ 2147483647 h 34"/>
                <a:gd name="T40" fmla="*/ 2147483647 w 105"/>
                <a:gd name="T41" fmla="*/ 2147483647 h 34"/>
                <a:gd name="T42" fmla="*/ 2147483647 w 105"/>
                <a:gd name="T43" fmla="*/ 2147483647 h 34"/>
                <a:gd name="T44" fmla="*/ 2147483647 w 105"/>
                <a:gd name="T45" fmla="*/ 2147483647 h 34"/>
                <a:gd name="T46" fmla="*/ 2147483647 w 105"/>
                <a:gd name="T47" fmla="*/ 2147483647 h 34"/>
                <a:gd name="T48" fmla="*/ 2147483647 w 105"/>
                <a:gd name="T49" fmla="*/ 2147483647 h 34"/>
                <a:gd name="T50" fmla="*/ 2147483647 w 105"/>
                <a:gd name="T51" fmla="*/ 2147483647 h 34"/>
                <a:gd name="T52" fmla="*/ 2147483647 w 105"/>
                <a:gd name="T53" fmla="*/ 2147483647 h 34"/>
                <a:gd name="T54" fmla="*/ 2147483647 w 105"/>
                <a:gd name="T55" fmla="*/ 2147483647 h 34"/>
                <a:gd name="T56" fmla="*/ 2147483647 w 105"/>
                <a:gd name="T57" fmla="*/ 2147483647 h 34"/>
                <a:gd name="T58" fmla="*/ 2147483647 w 105"/>
                <a:gd name="T59" fmla="*/ 2147483647 h 34"/>
                <a:gd name="T60" fmla="*/ 2147483647 w 105"/>
                <a:gd name="T61" fmla="*/ 2147483647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5"/>
                <a:gd name="T94" fmla="*/ 0 h 34"/>
                <a:gd name="T95" fmla="*/ 105 w 105"/>
                <a:gd name="T96" fmla="*/ 34 h 3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5" h="34">
                  <a:moveTo>
                    <a:pt x="1" y="5"/>
                  </a:moveTo>
                  <a:cubicBezTo>
                    <a:pt x="2" y="4"/>
                    <a:pt x="4" y="1"/>
                    <a:pt x="5" y="0"/>
                  </a:cubicBezTo>
                  <a:cubicBezTo>
                    <a:pt x="6" y="0"/>
                    <a:pt x="12" y="0"/>
                    <a:pt x="14" y="0"/>
                  </a:cubicBezTo>
                  <a:cubicBezTo>
                    <a:pt x="16" y="1"/>
                    <a:pt x="19" y="6"/>
                    <a:pt x="23" y="6"/>
                  </a:cubicBezTo>
                  <a:cubicBezTo>
                    <a:pt x="26" y="6"/>
                    <a:pt x="30" y="6"/>
                    <a:pt x="30" y="8"/>
                  </a:cubicBezTo>
                  <a:cubicBezTo>
                    <a:pt x="30" y="9"/>
                    <a:pt x="24" y="9"/>
                    <a:pt x="23" y="10"/>
                  </a:cubicBezTo>
                  <a:cubicBezTo>
                    <a:pt x="22" y="11"/>
                    <a:pt x="25" y="14"/>
                    <a:pt x="29" y="15"/>
                  </a:cubicBezTo>
                  <a:cubicBezTo>
                    <a:pt x="33" y="16"/>
                    <a:pt x="42" y="15"/>
                    <a:pt x="44" y="16"/>
                  </a:cubicBezTo>
                  <a:cubicBezTo>
                    <a:pt x="46" y="17"/>
                    <a:pt x="52" y="21"/>
                    <a:pt x="53" y="20"/>
                  </a:cubicBezTo>
                  <a:cubicBezTo>
                    <a:pt x="54" y="20"/>
                    <a:pt x="55" y="17"/>
                    <a:pt x="58" y="17"/>
                  </a:cubicBezTo>
                  <a:cubicBezTo>
                    <a:pt x="60" y="17"/>
                    <a:pt x="69" y="14"/>
                    <a:pt x="71" y="14"/>
                  </a:cubicBezTo>
                  <a:cubicBezTo>
                    <a:pt x="73" y="14"/>
                    <a:pt x="86" y="14"/>
                    <a:pt x="88" y="14"/>
                  </a:cubicBezTo>
                  <a:cubicBezTo>
                    <a:pt x="90" y="14"/>
                    <a:pt x="93" y="14"/>
                    <a:pt x="96" y="15"/>
                  </a:cubicBezTo>
                  <a:cubicBezTo>
                    <a:pt x="98" y="16"/>
                    <a:pt x="104" y="19"/>
                    <a:pt x="103" y="20"/>
                  </a:cubicBezTo>
                  <a:cubicBezTo>
                    <a:pt x="103" y="21"/>
                    <a:pt x="96" y="23"/>
                    <a:pt x="98" y="25"/>
                  </a:cubicBezTo>
                  <a:cubicBezTo>
                    <a:pt x="99" y="26"/>
                    <a:pt x="105" y="26"/>
                    <a:pt x="105" y="27"/>
                  </a:cubicBezTo>
                  <a:cubicBezTo>
                    <a:pt x="105" y="28"/>
                    <a:pt x="98" y="31"/>
                    <a:pt x="98" y="31"/>
                  </a:cubicBezTo>
                  <a:cubicBezTo>
                    <a:pt x="98" y="31"/>
                    <a:pt x="91" y="33"/>
                    <a:pt x="86" y="33"/>
                  </a:cubicBezTo>
                  <a:cubicBezTo>
                    <a:pt x="81" y="33"/>
                    <a:pt x="77" y="31"/>
                    <a:pt x="77" y="31"/>
                  </a:cubicBezTo>
                  <a:cubicBezTo>
                    <a:pt x="77" y="31"/>
                    <a:pt x="77" y="27"/>
                    <a:pt x="75" y="27"/>
                  </a:cubicBezTo>
                  <a:cubicBezTo>
                    <a:pt x="74" y="27"/>
                    <a:pt x="71" y="32"/>
                    <a:pt x="68" y="32"/>
                  </a:cubicBezTo>
                  <a:cubicBezTo>
                    <a:pt x="66" y="32"/>
                    <a:pt x="60" y="34"/>
                    <a:pt x="53" y="33"/>
                  </a:cubicBezTo>
                  <a:cubicBezTo>
                    <a:pt x="46" y="33"/>
                    <a:pt x="38" y="33"/>
                    <a:pt x="36" y="33"/>
                  </a:cubicBezTo>
                  <a:cubicBezTo>
                    <a:pt x="35" y="33"/>
                    <a:pt x="36" y="28"/>
                    <a:pt x="34" y="27"/>
                  </a:cubicBezTo>
                  <a:cubicBezTo>
                    <a:pt x="32" y="27"/>
                    <a:pt x="29" y="32"/>
                    <a:pt x="27" y="32"/>
                  </a:cubicBezTo>
                  <a:cubicBezTo>
                    <a:pt x="25" y="32"/>
                    <a:pt x="20" y="31"/>
                    <a:pt x="18" y="31"/>
                  </a:cubicBezTo>
                  <a:cubicBezTo>
                    <a:pt x="16" y="30"/>
                    <a:pt x="10" y="32"/>
                    <a:pt x="9" y="29"/>
                  </a:cubicBezTo>
                  <a:cubicBezTo>
                    <a:pt x="7" y="26"/>
                    <a:pt x="6" y="24"/>
                    <a:pt x="6" y="22"/>
                  </a:cubicBezTo>
                  <a:cubicBezTo>
                    <a:pt x="6" y="20"/>
                    <a:pt x="8" y="17"/>
                    <a:pt x="8" y="16"/>
                  </a:cubicBezTo>
                  <a:cubicBezTo>
                    <a:pt x="7" y="14"/>
                    <a:pt x="5" y="10"/>
                    <a:pt x="5" y="10"/>
                  </a:cubicBezTo>
                  <a:cubicBezTo>
                    <a:pt x="2" y="9"/>
                    <a:pt x="0" y="7"/>
                    <a:pt x="1" y="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04" name="Freeform 358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3337531" y="1900613"/>
              <a:ext cx="96731" cy="64707"/>
            </a:xfrm>
            <a:custGeom>
              <a:avLst/>
              <a:gdLst>
                <a:gd name="T0" fmla="*/ 0 w 28"/>
                <a:gd name="T1" fmla="*/ 2147483647 h 17"/>
                <a:gd name="T2" fmla="*/ 2147483647 w 28"/>
                <a:gd name="T3" fmla="*/ 2147483647 h 17"/>
                <a:gd name="T4" fmla="*/ 2147483647 w 28"/>
                <a:gd name="T5" fmla="*/ 0 h 17"/>
                <a:gd name="T6" fmla="*/ 2147483647 w 28"/>
                <a:gd name="T7" fmla="*/ 2147483647 h 17"/>
                <a:gd name="T8" fmla="*/ 2147483647 w 28"/>
                <a:gd name="T9" fmla="*/ 2147483647 h 17"/>
                <a:gd name="T10" fmla="*/ 2147483647 w 28"/>
                <a:gd name="T11" fmla="*/ 2147483647 h 17"/>
                <a:gd name="T12" fmla="*/ 2147483647 w 28"/>
                <a:gd name="T13" fmla="*/ 2147483647 h 17"/>
                <a:gd name="T14" fmla="*/ 0 w 28"/>
                <a:gd name="T15" fmla="*/ 2147483647 h 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8"/>
                <a:gd name="T25" fmla="*/ 0 h 17"/>
                <a:gd name="T26" fmla="*/ 28 w 28"/>
                <a:gd name="T27" fmla="*/ 17 h 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8" h="17">
                  <a:moveTo>
                    <a:pt x="0" y="10"/>
                  </a:moveTo>
                  <a:cubicBezTo>
                    <a:pt x="0" y="10"/>
                    <a:pt x="0" y="5"/>
                    <a:pt x="2" y="4"/>
                  </a:cubicBezTo>
                  <a:cubicBezTo>
                    <a:pt x="6" y="2"/>
                    <a:pt x="8" y="0"/>
                    <a:pt x="10" y="0"/>
                  </a:cubicBezTo>
                  <a:cubicBezTo>
                    <a:pt x="10" y="0"/>
                    <a:pt x="16" y="0"/>
                    <a:pt x="20" y="1"/>
                  </a:cubicBezTo>
                  <a:cubicBezTo>
                    <a:pt x="24" y="2"/>
                    <a:pt x="24" y="6"/>
                    <a:pt x="26" y="9"/>
                  </a:cubicBezTo>
                  <a:cubicBezTo>
                    <a:pt x="28" y="12"/>
                    <a:pt x="26" y="17"/>
                    <a:pt x="22" y="17"/>
                  </a:cubicBezTo>
                  <a:cubicBezTo>
                    <a:pt x="18" y="17"/>
                    <a:pt x="14" y="16"/>
                    <a:pt x="10" y="16"/>
                  </a:cubicBezTo>
                  <a:cubicBezTo>
                    <a:pt x="6" y="16"/>
                    <a:pt x="0" y="10"/>
                    <a:pt x="0" y="1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05" name="Freeform 359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3333415" y="1550717"/>
              <a:ext cx="312833" cy="210896"/>
            </a:xfrm>
            <a:custGeom>
              <a:avLst/>
              <a:gdLst>
                <a:gd name="T0" fmla="*/ 2147483647 w 89"/>
                <a:gd name="T1" fmla="*/ 2147483647 h 57"/>
                <a:gd name="T2" fmla="*/ 2147483647 w 89"/>
                <a:gd name="T3" fmla="*/ 2147483647 h 57"/>
                <a:gd name="T4" fmla="*/ 2147483647 w 89"/>
                <a:gd name="T5" fmla="*/ 2147483647 h 57"/>
                <a:gd name="T6" fmla="*/ 2147483647 w 89"/>
                <a:gd name="T7" fmla="*/ 2147483647 h 57"/>
                <a:gd name="T8" fmla="*/ 2147483647 w 89"/>
                <a:gd name="T9" fmla="*/ 2147483647 h 57"/>
                <a:gd name="T10" fmla="*/ 2147483647 w 89"/>
                <a:gd name="T11" fmla="*/ 2147483647 h 57"/>
                <a:gd name="T12" fmla="*/ 2147483647 w 89"/>
                <a:gd name="T13" fmla="*/ 2147483647 h 57"/>
                <a:gd name="T14" fmla="*/ 2147483647 w 89"/>
                <a:gd name="T15" fmla="*/ 2147483647 h 57"/>
                <a:gd name="T16" fmla="*/ 2147483647 w 89"/>
                <a:gd name="T17" fmla="*/ 2147483647 h 57"/>
                <a:gd name="T18" fmla="*/ 2147483647 w 89"/>
                <a:gd name="T19" fmla="*/ 2147483647 h 57"/>
                <a:gd name="T20" fmla="*/ 2147483647 w 89"/>
                <a:gd name="T21" fmla="*/ 0 h 57"/>
                <a:gd name="T22" fmla="*/ 2147483647 w 89"/>
                <a:gd name="T23" fmla="*/ 2147483647 h 57"/>
                <a:gd name="T24" fmla="*/ 2147483647 w 89"/>
                <a:gd name="T25" fmla="*/ 2147483647 h 57"/>
                <a:gd name="T26" fmla="*/ 2147483647 w 89"/>
                <a:gd name="T27" fmla="*/ 2147483647 h 57"/>
                <a:gd name="T28" fmla="*/ 2147483647 w 89"/>
                <a:gd name="T29" fmla="*/ 2147483647 h 57"/>
                <a:gd name="T30" fmla="*/ 2147483647 w 89"/>
                <a:gd name="T31" fmla="*/ 2147483647 h 57"/>
                <a:gd name="T32" fmla="*/ 2147483647 w 89"/>
                <a:gd name="T33" fmla="*/ 2147483647 h 57"/>
                <a:gd name="T34" fmla="*/ 2147483647 w 89"/>
                <a:gd name="T35" fmla="*/ 2147483647 h 57"/>
                <a:gd name="T36" fmla="*/ 2147483647 w 89"/>
                <a:gd name="T37" fmla="*/ 2147483647 h 57"/>
                <a:gd name="T38" fmla="*/ 2147483647 w 89"/>
                <a:gd name="T39" fmla="*/ 2147483647 h 57"/>
                <a:gd name="T40" fmla="*/ 2147483647 w 89"/>
                <a:gd name="T41" fmla="*/ 2147483647 h 57"/>
                <a:gd name="T42" fmla="*/ 2147483647 w 89"/>
                <a:gd name="T43" fmla="*/ 2147483647 h 57"/>
                <a:gd name="T44" fmla="*/ 2147483647 w 89"/>
                <a:gd name="T45" fmla="*/ 2147483647 h 57"/>
                <a:gd name="T46" fmla="*/ 2147483647 w 89"/>
                <a:gd name="T47" fmla="*/ 2147483647 h 57"/>
                <a:gd name="T48" fmla="*/ 2147483647 w 89"/>
                <a:gd name="T49" fmla="*/ 2147483647 h 57"/>
                <a:gd name="T50" fmla="*/ 2147483647 w 89"/>
                <a:gd name="T51" fmla="*/ 2147483647 h 57"/>
                <a:gd name="T52" fmla="*/ 2147483647 w 89"/>
                <a:gd name="T53" fmla="*/ 2147483647 h 57"/>
                <a:gd name="T54" fmla="*/ 2147483647 w 89"/>
                <a:gd name="T55" fmla="*/ 2147483647 h 57"/>
                <a:gd name="T56" fmla="*/ 2147483647 w 89"/>
                <a:gd name="T57" fmla="*/ 2147483647 h 57"/>
                <a:gd name="T58" fmla="*/ 2147483647 w 89"/>
                <a:gd name="T59" fmla="*/ 2147483647 h 57"/>
                <a:gd name="T60" fmla="*/ 2147483647 w 89"/>
                <a:gd name="T61" fmla="*/ 2147483647 h 57"/>
                <a:gd name="T62" fmla="*/ 2147483647 w 89"/>
                <a:gd name="T63" fmla="*/ 2147483647 h 57"/>
                <a:gd name="T64" fmla="*/ 2147483647 w 89"/>
                <a:gd name="T65" fmla="*/ 2147483647 h 57"/>
                <a:gd name="T66" fmla="*/ 2147483647 w 89"/>
                <a:gd name="T67" fmla="*/ 2147483647 h 57"/>
                <a:gd name="T68" fmla="*/ 2147483647 w 89"/>
                <a:gd name="T69" fmla="*/ 2147483647 h 57"/>
                <a:gd name="T70" fmla="*/ 2147483647 w 89"/>
                <a:gd name="T71" fmla="*/ 2147483647 h 57"/>
                <a:gd name="T72" fmla="*/ 2147483647 w 89"/>
                <a:gd name="T73" fmla="*/ 2147483647 h 57"/>
                <a:gd name="T74" fmla="*/ 2147483647 w 89"/>
                <a:gd name="T75" fmla="*/ 2147483647 h 57"/>
                <a:gd name="T76" fmla="*/ 2147483647 w 89"/>
                <a:gd name="T77" fmla="*/ 2147483647 h 57"/>
                <a:gd name="T78" fmla="*/ 2147483647 w 89"/>
                <a:gd name="T79" fmla="*/ 2147483647 h 57"/>
                <a:gd name="T80" fmla="*/ 2147483647 w 89"/>
                <a:gd name="T81" fmla="*/ 2147483647 h 5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89"/>
                <a:gd name="T124" fmla="*/ 0 h 57"/>
                <a:gd name="T125" fmla="*/ 89 w 89"/>
                <a:gd name="T126" fmla="*/ 57 h 5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89" h="57">
                  <a:moveTo>
                    <a:pt x="8" y="33"/>
                  </a:moveTo>
                  <a:cubicBezTo>
                    <a:pt x="7" y="32"/>
                    <a:pt x="0" y="27"/>
                    <a:pt x="1" y="23"/>
                  </a:cubicBezTo>
                  <a:cubicBezTo>
                    <a:pt x="2" y="19"/>
                    <a:pt x="3" y="17"/>
                    <a:pt x="5" y="15"/>
                  </a:cubicBezTo>
                  <a:cubicBezTo>
                    <a:pt x="6" y="14"/>
                    <a:pt x="14" y="15"/>
                    <a:pt x="15" y="15"/>
                  </a:cubicBezTo>
                  <a:cubicBezTo>
                    <a:pt x="16" y="16"/>
                    <a:pt x="18" y="15"/>
                    <a:pt x="18" y="14"/>
                  </a:cubicBezTo>
                  <a:cubicBezTo>
                    <a:pt x="18" y="13"/>
                    <a:pt x="18" y="12"/>
                    <a:pt x="17" y="11"/>
                  </a:cubicBezTo>
                  <a:cubicBezTo>
                    <a:pt x="16" y="10"/>
                    <a:pt x="10" y="9"/>
                    <a:pt x="11" y="7"/>
                  </a:cubicBezTo>
                  <a:cubicBezTo>
                    <a:pt x="12" y="6"/>
                    <a:pt x="18" y="6"/>
                    <a:pt x="19" y="6"/>
                  </a:cubicBezTo>
                  <a:cubicBezTo>
                    <a:pt x="21" y="6"/>
                    <a:pt x="25" y="6"/>
                    <a:pt x="26" y="6"/>
                  </a:cubicBezTo>
                  <a:cubicBezTo>
                    <a:pt x="26" y="5"/>
                    <a:pt x="19" y="2"/>
                    <a:pt x="19" y="1"/>
                  </a:cubicBezTo>
                  <a:cubicBezTo>
                    <a:pt x="19" y="0"/>
                    <a:pt x="23" y="0"/>
                    <a:pt x="27" y="0"/>
                  </a:cubicBezTo>
                  <a:cubicBezTo>
                    <a:pt x="30" y="1"/>
                    <a:pt x="37" y="3"/>
                    <a:pt x="38" y="5"/>
                  </a:cubicBezTo>
                  <a:cubicBezTo>
                    <a:pt x="39" y="6"/>
                    <a:pt x="43" y="14"/>
                    <a:pt x="46" y="14"/>
                  </a:cubicBezTo>
                  <a:cubicBezTo>
                    <a:pt x="50" y="15"/>
                    <a:pt x="57" y="15"/>
                    <a:pt x="58" y="15"/>
                  </a:cubicBezTo>
                  <a:cubicBezTo>
                    <a:pt x="59" y="16"/>
                    <a:pt x="56" y="21"/>
                    <a:pt x="58" y="21"/>
                  </a:cubicBezTo>
                  <a:cubicBezTo>
                    <a:pt x="60" y="22"/>
                    <a:pt x="63" y="23"/>
                    <a:pt x="63" y="21"/>
                  </a:cubicBezTo>
                  <a:cubicBezTo>
                    <a:pt x="64" y="20"/>
                    <a:pt x="63" y="17"/>
                    <a:pt x="64" y="17"/>
                  </a:cubicBezTo>
                  <a:cubicBezTo>
                    <a:pt x="66" y="17"/>
                    <a:pt x="70" y="16"/>
                    <a:pt x="70" y="18"/>
                  </a:cubicBezTo>
                  <a:cubicBezTo>
                    <a:pt x="70" y="20"/>
                    <a:pt x="69" y="23"/>
                    <a:pt x="69" y="23"/>
                  </a:cubicBezTo>
                  <a:cubicBezTo>
                    <a:pt x="69" y="23"/>
                    <a:pt x="74" y="25"/>
                    <a:pt x="74" y="27"/>
                  </a:cubicBezTo>
                  <a:cubicBezTo>
                    <a:pt x="74" y="29"/>
                    <a:pt x="68" y="31"/>
                    <a:pt x="71" y="32"/>
                  </a:cubicBezTo>
                  <a:cubicBezTo>
                    <a:pt x="73" y="33"/>
                    <a:pt x="73" y="34"/>
                    <a:pt x="74" y="34"/>
                  </a:cubicBezTo>
                  <a:cubicBezTo>
                    <a:pt x="75" y="34"/>
                    <a:pt x="78" y="31"/>
                    <a:pt x="79" y="31"/>
                  </a:cubicBezTo>
                  <a:cubicBezTo>
                    <a:pt x="80" y="31"/>
                    <a:pt x="84" y="32"/>
                    <a:pt x="85" y="33"/>
                  </a:cubicBezTo>
                  <a:cubicBezTo>
                    <a:pt x="87" y="34"/>
                    <a:pt x="89" y="35"/>
                    <a:pt x="89" y="37"/>
                  </a:cubicBezTo>
                  <a:cubicBezTo>
                    <a:pt x="89" y="38"/>
                    <a:pt x="80" y="39"/>
                    <a:pt x="78" y="40"/>
                  </a:cubicBezTo>
                  <a:cubicBezTo>
                    <a:pt x="75" y="41"/>
                    <a:pt x="71" y="46"/>
                    <a:pt x="69" y="46"/>
                  </a:cubicBezTo>
                  <a:cubicBezTo>
                    <a:pt x="67" y="47"/>
                    <a:pt x="63" y="54"/>
                    <a:pt x="62" y="54"/>
                  </a:cubicBezTo>
                  <a:cubicBezTo>
                    <a:pt x="60" y="54"/>
                    <a:pt x="56" y="52"/>
                    <a:pt x="54" y="50"/>
                  </a:cubicBezTo>
                  <a:cubicBezTo>
                    <a:pt x="53" y="48"/>
                    <a:pt x="50" y="48"/>
                    <a:pt x="50" y="50"/>
                  </a:cubicBezTo>
                  <a:cubicBezTo>
                    <a:pt x="50" y="51"/>
                    <a:pt x="52" y="52"/>
                    <a:pt x="51" y="53"/>
                  </a:cubicBezTo>
                  <a:cubicBezTo>
                    <a:pt x="50" y="55"/>
                    <a:pt x="50" y="57"/>
                    <a:pt x="47" y="57"/>
                  </a:cubicBezTo>
                  <a:cubicBezTo>
                    <a:pt x="45" y="56"/>
                    <a:pt x="34" y="54"/>
                    <a:pt x="34" y="54"/>
                  </a:cubicBezTo>
                  <a:cubicBezTo>
                    <a:pt x="30" y="52"/>
                    <a:pt x="27" y="49"/>
                    <a:pt x="25" y="47"/>
                  </a:cubicBezTo>
                  <a:cubicBezTo>
                    <a:pt x="23" y="45"/>
                    <a:pt x="20" y="43"/>
                    <a:pt x="19" y="42"/>
                  </a:cubicBezTo>
                  <a:cubicBezTo>
                    <a:pt x="19" y="41"/>
                    <a:pt x="26" y="39"/>
                    <a:pt x="27" y="39"/>
                  </a:cubicBezTo>
                  <a:cubicBezTo>
                    <a:pt x="29" y="39"/>
                    <a:pt x="36" y="40"/>
                    <a:pt x="37" y="39"/>
                  </a:cubicBezTo>
                  <a:cubicBezTo>
                    <a:pt x="37" y="38"/>
                    <a:pt x="33" y="35"/>
                    <a:pt x="32" y="34"/>
                  </a:cubicBezTo>
                  <a:cubicBezTo>
                    <a:pt x="31" y="33"/>
                    <a:pt x="29" y="34"/>
                    <a:pt x="27" y="34"/>
                  </a:cubicBezTo>
                  <a:cubicBezTo>
                    <a:pt x="25" y="34"/>
                    <a:pt x="19" y="36"/>
                    <a:pt x="16" y="36"/>
                  </a:cubicBezTo>
                  <a:cubicBezTo>
                    <a:pt x="13" y="36"/>
                    <a:pt x="10" y="35"/>
                    <a:pt x="8" y="3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06" name="Freeform 360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3325182" y="1814338"/>
              <a:ext cx="94673" cy="52724"/>
            </a:xfrm>
            <a:custGeom>
              <a:avLst/>
              <a:gdLst>
                <a:gd name="T0" fmla="*/ 2147483647 w 27"/>
                <a:gd name="T1" fmla="*/ 2147483647 h 15"/>
                <a:gd name="T2" fmla="*/ 0 w 27"/>
                <a:gd name="T3" fmla="*/ 2147483647 h 15"/>
                <a:gd name="T4" fmla="*/ 2147483647 w 27"/>
                <a:gd name="T5" fmla="*/ 2147483647 h 15"/>
                <a:gd name="T6" fmla="*/ 2147483647 w 27"/>
                <a:gd name="T7" fmla="*/ 2147483647 h 15"/>
                <a:gd name="T8" fmla="*/ 2147483647 w 27"/>
                <a:gd name="T9" fmla="*/ 2147483647 h 15"/>
                <a:gd name="T10" fmla="*/ 2147483647 w 27"/>
                <a:gd name="T11" fmla="*/ 2147483647 h 15"/>
                <a:gd name="T12" fmla="*/ 2147483647 w 27"/>
                <a:gd name="T13" fmla="*/ 2147483647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15"/>
                <a:gd name="T23" fmla="*/ 27 w 27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15">
                  <a:moveTo>
                    <a:pt x="7" y="11"/>
                  </a:moveTo>
                  <a:cubicBezTo>
                    <a:pt x="5" y="11"/>
                    <a:pt x="0" y="6"/>
                    <a:pt x="0" y="3"/>
                  </a:cubicBezTo>
                  <a:cubicBezTo>
                    <a:pt x="0" y="0"/>
                    <a:pt x="8" y="1"/>
                    <a:pt x="11" y="1"/>
                  </a:cubicBezTo>
                  <a:cubicBezTo>
                    <a:pt x="11" y="1"/>
                    <a:pt x="17" y="3"/>
                    <a:pt x="21" y="3"/>
                  </a:cubicBezTo>
                  <a:cubicBezTo>
                    <a:pt x="25" y="3"/>
                    <a:pt x="27" y="6"/>
                    <a:pt x="27" y="8"/>
                  </a:cubicBezTo>
                  <a:cubicBezTo>
                    <a:pt x="27" y="11"/>
                    <a:pt x="25" y="15"/>
                    <a:pt x="22" y="15"/>
                  </a:cubicBezTo>
                  <a:cubicBezTo>
                    <a:pt x="19" y="15"/>
                    <a:pt x="9" y="12"/>
                    <a:pt x="7" y="1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07" name="Freeform 361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3286078" y="1713683"/>
              <a:ext cx="100847" cy="59914"/>
            </a:xfrm>
            <a:custGeom>
              <a:avLst/>
              <a:gdLst>
                <a:gd name="T0" fmla="*/ 0 w 28"/>
                <a:gd name="T1" fmla="*/ 2147483647 h 16"/>
                <a:gd name="T2" fmla="*/ 2147483647 w 28"/>
                <a:gd name="T3" fmla="*/ 0 h 16"/>
                <a:gd name="T4" fmla="*/ 2147483647 w 28"/>
                <a:gd name="T5" fmla="*/ 2147483647 h 16"/>
                <a:gd name="T6" fmla="*/ 2147483647 w 28"/>
                <a:gd name="T7" fmla="*/ 2147483647 h 16"/>
                <a:gd name="T8" fmla="*/ 2147483647 w 28"/>
                <a:gd name="T9" fmla="*/ 2147483647 h 16"/>
                <a:gd name="T10" fmla="*/ 2147483647 w 28"/>
                <a:gd name="T11" fmla="*/ 2147483647 h 16"/>
                <a:gd name="T12" fmla="*/ 0 w 28"/>
                <a:gd name="T13" fmla="*/ 2147483647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16"/>
                <a:gd name="T23" fmla="*/ 28 w 28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16">
                  <a:moveTo>
                    <a:pt x="0" y="3"/>
                  </a:moveTo>
                  <a:cubicBezTo>
                    <a:pt x="0" y="1"/>
                    <a:pt x="6" y="0"/>
                    <a:pt x="9" y="0"/>
                  </a:cubicBezTo>
                  <a:cubicBezTo>
                    <a:pt x="12" y="1"/>
                    <a:pt x="26" y="5"/>
                    <a:pt x="27" y="6"/>
                  </a:cubicBezTo>
                  <a:cubicBezTo>
                    <a:pt x="28" y="8"/>
                    <a:pt x="27" y="12"/>
                    <a:pt x="27" y="12"/>
                  </a:cubicBezTo>
                  <a:cubicBezTo>
                    <a:pt x="27" y="12"/>
                    <a:pt x="22" y="15"/>
                    <a:pt x="20" y="16"/>
                  </a:cubicBezTo>
                  <a:cubicBezTo>
                    <a:pt x="18" y="16"/>
                    <a:pt x="11" y="16"/>
                    <a:pt x="11" y="16"/>
                  </a:cubicBezTo>
                  <a:cubicBezTo>
                    <a:pt x="9" y="14"/>
                    <a:pt x="0" y="5"/>
                    <a:pt x="0" y="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08" name="Freeform 362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3170824" y="1994078"/>
              <a:ext cx="172881" cy="153379"/>
            </a:xfrm>
            <a:custGeom>
              <a:avLst/>
              <a:gdLst>
                <a:gd name="T0" fmla="*/ 2147483647 w 49"/>
                <a:gd name="T1" fmla="*/ 2147483647 h 42"/>
                <a:gd name="T2" fmla="*/ 0 w 49"/>
                <a:gd name="T3" fmla="*/ 2147483647 h 42"/>
                <a:gd name="T4" fmla="*/ 2147483647 w 49"/>
                <a:gd name="T5" fmla="*/ 2147483647 h 42"/>
                <a:gd name="T6" fmla="*/ 2147483647 w 49"/>
                <a:gd name="T7" fmla="*/ 2147483647 h 42"/>
                <a:gd name="T8" fmla="*/ 2147483647 w 49"/>
                <a:gd name="T9" fmla="*/ 2147483647 h 42"/>
                <a:gd name="T10" fmla="*/ 2147483647 w 49"/>
                <a:gd name="T11" fmla="*/ 2147483647 h 42"/>
                <a:gd name="T12" fmla="*/ 2147483647 w 49"/>
                <a:gd name="T13" fmla="*/ 2147483647 h 42"/>
                <a:gd name="T14" fmla="*/ 2147483647 w 49"/>
                <a:gd name="T15" fmla="*/ 2147483647 h 42"/>
                <a:gd name="T16" fmla="*/ 2147483647 w 49"/>
                <a:gd name="T17" fmla="*/ 2147483647 h 42"/>
                <a:gd name="T18" fmla="*/ 2147483647 w 49"/>
                <a:gd name="T19" fmla="*/ 2147483647 h 42"/>
                <a:gd name="T20" fmla="*/ 2147483647 w 49"/>
                <a:gd name="T21" fmla="*/ 2147483647 h 42"/>
                <a:gd name="T22" fmla="*/ 2147483647 w 49"/>
                <a:gd name="T23" fmla="*/ 2147483647 h 42"/>
                <a:gd name="T24" fmla="*/ 2147483647 w 49"/>
                <a:gd name="T25" fmla="*/ 2147483647 h 42"/>
                <a:gd name="T26" fmla="*/ 2147483647 w 49"/>
                <a:gd name="T27" fmla="*/ 2147483647 h 42"/>
                <a:gd name="T28" fmla="*/ 2147483647 w 49"/>
                <a:gd name="T29" fmla="*/ 2147483647 h 42"/>
                <a:gd name="T30" fmla="*/ 2147483647 w 49"/>
                <a:gd name="T31" fmla="*/ 2147483647 h 42"/>
                <a:gd name="T32" fmla="*/ 2147483647 w 49"/>
                <a:gd name="T33" fmla="*/ 2147483647 h 42"/>
                <a:gd name="T34" fmla="*/ 2147483647 w 49"/>
                <a:gd name="T35" fmla="*/ 2147483647 h 42"/>
                <a:gd name="T36" fmla="*/ 2147483647 w 49"/>
                <a:gd name="T37" fmla="*/ 2147483647 h 42"/>
                <a:gd name="T38" fmla="*/ 2147483647 w 49"/>
                <a:gd name="T39" fmla="*/ 2147483647 h 42"/>
                <a:gd name="T40" fmla="*/ 2147483647 w 49"/>
                <a:gd name="T41" fmla="*/ 2147483647 h 42"/>
                <a:gd name="T42" fmla="*/ 2147483647 w 49"/>
                <a:gd name="T43" fmla="*/ 2147483647 h 42"/>
                <a:gd name="T44" fmla="*/ 2147483647 w 49"/>
                <a:gd name="T45" fmla="*/ 2147483647 h 42"/>
                <a:gd name="T46" fmla="*/ 2147483647 w 49"/>
                <a:gd name="T47" fmla="*/ 2147483647 h 42"/>
                <a:gd name="T48" fmla="*/ 2147483647 w 49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9"/>
                <a:gd name="T76" fmla="*/ 0 h 42"/>
                <a:gd name="T77" fmla="*/ 49 w 49"/>
                <a:gd name="T78" fmla="*/ 42 h 4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9" h="42">
                  <a:moveTo>
                    <a:pt x="4" y="22"/>
                  </a:moveTo>
                  <a:cubicBezTo>
                    <a:pt x="3" y="22"/>
                    <a:pt x="1" y="22"/>
                    <a:pt x="0" y="20"/>
                  </a:cubicBezTo>
                  <a:cubicBezTo>
                    <a:pt x="0" y="18"/>
                    <a:pt x="1" y="15"/>
                    <a:pt x="3" y="15"/>
                  </a:cubicBezTo>
                  <a:cubicBezTo>
                    <a:pt x="5" y="14"/>
                    <a:pt x="11" y="18"/>
                    <a:pt x="11" y="19"/>
                  </a:cubicBezTo>
                  <a:cubicBezTo>
                    <a:pt x="12" y="19"/>
                    <a:pt x="16" y="20"/>
                    <a:pt x="17" y="19"/>
                  </a:cubicBezTo>
                  <a:cubicBezTo>
                    <a:pt x="18" y="19"/>
                    <a:pt x="20" y="17"/>
                    <a:pt x="19" y="15"/>
                  </a:cubicBezTo>
                  <a:cubicBezTo>
                    <a:pt x="18" y="13"/>
                    <a:pt x="19" y="12"/>
                    <a:pt x="18" y="12"/>
                  </a:cubicBezTo>
                  <a:cubicBezTo>
                    <a:pt x="17" y="11"/>
                    <a:pt x="9" y="10"/>
                    <a:pt x="9" y="8"/>
                  </a:cubicBezTo>
                  <a:cubicBezTo>
                    <a:pt x="9" y="7"/>
                    <a:pt x="14" y="3"/>
                    <a:pt x="16" y="3"/>
                  </a:cubicBezTo>
                  <a:cubicBezTo>
                    <a:pt x="19" y="2"/>
                    <a:pt x="26" y="3"/>
                    <a:pt x="27" y="2"/>
                  </a:cubicBezTo>
                  <a:cubicBezTo>
                    <a:pt x="29" y="2"/>
                    <a:pt x="39" y="1"/>
                    <a:pt x="39" y="1"/>
                  </a:cubicBezTo>
                  <a:cubicBezTo>
                    <a:pt x="41" y="0"/>
                    <a:pt x="44" y="5"/>
                    <a:pt x="45" y="6"/>
                  </a:cubicBezTo>
                  <a:cubicBezTo>
                    <a:pt x="45" y="6"/>
                    <a:pt x="40" y="8"/>
                    <a:pt x="41" y="10"/>
                  </a:cubicBezTo>
                  <a:cubicBezTo>
                    <a:pt x="42" y="11"/>
                    <a:pt x="47" y="14"/>
                    <a:pt x="47" y="16"/>
                  </a:cubicBezTo>
                  <a:cubicBezTo>
                    <a:pt x="47" y="17"/>
                    <a:pt x="49" y="22"/>
                    <a:pt x="49" y="23"/>
                  </a:cubicBezTo>
                  <a:cubicBezTo>
                    <a:pt x="49" y="24"/>
                    <a:pt x="46" y="25"/>
                    <a:pt x="47" y="27"/>
                  </a:cubicBezTo>
                  <a:cubicBezTo>
                    <a:pt x="47" y="28"/>
                    <a:pt x="47" y="32"/>
                    <a:pt x="47" y="33"/>
                  </a:cubicBezTo>
                  <a:cubicBezTo>
                    <a:pt x="47" y="34"/>
                    <a:pt x="38" y="36"/>
                    <a:pt x="36" y="35"/>
                  </a:cubicBezTo>
                  <a:cubicBezTo>
                    <a:pt x="34" y="34"/>
                    <a:pt x="36" y="37"/>
                    <a:pt x="35" y="39"/>
                  </a:cubicBezTo>
                  <a:cubicBezTo>
                    <a:pt x="33" y="40"/>
                    <a:pt x="31" y="42"/>
                    <a:pt x="29" y="40"/>
                  </a:cubicBezTo>
                  <a:cubicBezTo>
                    <a:pt x="26" y="39"/>
                    <a:pt x="25" y="34"/>
                    <a:pt x="24" y="33"/>
                  </a:cubicBezTo>
                  <a:cubicBezTo>
                    <a:pt x="23" y="32"/>
                    <a:pt x="20" y="31"/>
                    <a:pt x="20" y="31"/>
                  </a:cubicBezTo>
                  <a:cubicBezTo>
                    <a:pt x="19" y="30"/>
                    <a:pt x="14" y="26"/>
                    <a:pt x="12" y="26"/>
                  </a:cubicBezTo>
                  <a:cubicBezTo>
                    <a:pt x="10" y="27"/>
                    <a:pt x="9" y="27"/>
                    <a:pt x="7" y="26"/>
                  </a:cubicBezTo>
                  <a:cubicBezTo>
                    <a:pt x="6" y="25"/>
                    <a:pt x="5" y="23"/>
                    <a:pt x="4" y="22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09" name="Freeform 363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3121429" y="1838303"/>
              <a:ext cx="197578" cy="107845"/>
            </a:xfrm>
            <a:custGeom>
              <a:avLst/>
              <a:gdLst>
                <a:gd name="T0" fmla="*/ 0 w 56"/>
                <a:gd name="T1" fmla="*/ 2147483647 h 29"/>
                <a:gd name="T2" fmla="*/ 0 w 56"/>
                <a:gd name="T3" fmla="*/ 2147483647 h 29"/>
                <a:gd name="T4" fmla="*/ 2147483647 w 56"/>
                <a:gd name="T5" fmla="*/ 2147483647 h 29"/>
                <a:gd name="T6" fmla="*/ 2147483647 w 56"/>
                <a:gd name="T7" fmla="*/ 2147483647 h 29"/>
                <a:gd name="T8" fmla="*/ 2147483647 w 56"/>
                <a:gd name="T9" fmla="*/ 2147483647 h 29"/>
                <a:gd name="T10" fmla="*/ 2147483647 w 56"/>
                <a:gd name="T11" fmla="*/ 2147483647 h 29"/>
                <a:gd name="T12" fmla="*/ 2147483647 w 56"/>
                <a:gd name="T13" fmla="*/ 2147483647 h 29"/>
                <a:gd name="T14" fmla="*/ 2147483647 w 56"/>
                <a:gd name="T15" fmla="*/ 2147483647 h 29"/>
                <a:gd name="T16" fmla="*/ 2147483647 w 56"/>
                <a:gd name="T17" fmla="*/ 2147483647 h 29"/>
                <a:gd name="T18" fmla="*/ 2147483647 w 56"/>
                <a:gd name="T19" fmla="*/ 2147483647 h 29"/>
                <a:gd name="T20" fmla="*/ 2147483647 w 56"/>
                <a:gd name="T21" fmla="*/ 0 h 29"/>
                <a:gd name="T22" fmla="*/ 2147483647 w 56"/>
                <a:gd name="T23" fmla="*/ 2147483647 h 29"/>
                <a:gd name="T24" fmla="*/ 2147483647 w 56"/>
                <a:gd name="T25" fmla="*/ 2147483647 h 29"/>
                <a:gd name="T26" fmla="*/ 2147483647 w 56"/>
                <a:gd name="T27" fmla="*/ 2147483647 h 29"/>
                <a:gd name="T28" fmla="*/ 2147483647 w 56"/>
                <a:gd name="T29" fmla="*/ 2147483647 h 29"/>
                <a:gd name="T30" fmla="*/ 2147483647 w 56"/>
                <a:gd name="T31" fmla="*/ 2147483647 h 29"/>
                <a:gd name="T32" fmla="*/ 2147483647 w 56"/>
                <a:gd name="T33" fmla="*/ 2147483647 h 29"/>
                <a:gd name="T34" fmla="*/ 2147483647 w 56"/>
                <a:gd name="T35" fmla="*/ 2147483647 h 29"/>
                <a:gd name="T36" fmla="*/ 2147483647 w 56"/>
                <a:gd name="T37" fmla="*/ 2147483647 h 29"/>
                <a:gd name="T38" fmla="*/ 2147483647 w 56"/>
                <a:gd name="T39" fmla="*/ 2147483647 h 29"/>
                <a:gd name="T40" fmla="*/ 2147483647 w 56"/>
                <a:gd name="T41" fmla="*/ 2147483647 h 29"/>
                <a:gd name="T42" fmla="*/ 2147483647 w 56"/>
                <a:gd name="T43" fmla="*/ 2147483647 h 29"/>
                <a:gd name="T44" fmla="*/ 2147483647 w 56"/>
                <a:gd name="T45" fmla="*/ 2147483647 h 29"/>
                <a:gd name="T46" fmla="*/ 2147483647 w 56"/>
                <a:gd name="T47" fmla="*/ 2147483647 h 29"/>
                <a:gd name="T48" fmla="*/ 2147483647 w 56"/>
                <a:gd name="T49" fmla="*/ 2147483647 h 29"/>
                <a:gd name="T50" fmla="*/ 2147483647 w 56"/>
                <a:gd name="T51" fmla="*/ 2147483647 h 29"/>
                <a:gd name="T52" fmla="*/ 0 w 56"/>
                <a:gd name="T53" fmla="*/ 2147483647 h 2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56"/>
                <a:gd name="T82" fmla="*/ 0 h 29"/>
                <a:gd name="T83" fmla="*/ 56 w 56"/>
                <a:gd name="T84" fmla="*/ 29 h 2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56" h="29">
                  <a:moveTo>
                    <a:pt x="0" y="8"/>
                  </a:moveTo>
                  <a:cubicBezTo>
                    <a:pt x="0" y="7"/>
                    <a:pt x="0" y="3"/>
                    <a:pt x="0" y="3"/>
                  </a:cubicBezTo>
                  <a:cubicBezTo>
                    <a:pt x="2" y="2"/>
                    <a:pt x="10" y="3"/>
                    <a:pt x="11" y="5"/>
                  </a:cubicBezTo>
                  <a:cubicBezTo>
                    <a:pt x="12" y="6"/>
                    <a:pt x="15" y="10"/>
                    <a:pt x="17" y="12"/>
                  </a:cubicBezTo>
                  <a:cubicBezTo>
                    <a:pt x="20" y="13"/>
                    <a:pt x="21" y="15"/>
                    <a:pt x="23" y="15"/>
                  </a:cubicBezTo>
                  <a:cubicBezTo>
                    <a:pt x="24" y="15"/>
                    <a:pt x="19" y="7"/>
                    <a:pt x="21" y="6"/>
                  </a:cubicBezTo>
                  <a:cubicBezTo>
                    <a:pt x="22" y="5"/>
                    <a:pt x="25" y="6"/>
                    <a:pt x="26" y="7"/>
                  </a:cubicBezTo>
                  <a:cubicBezTo>
                    <a:pt x="27" y="8"/>
                    <a:pt x="35" y="14"/>
                    <a:pt x="36" y="14"/>
                  </a:cubicBezTo>
                  <a:cubicBezTo>
                    <a:pt x="38" y="14"/>
                    <a:pt x="37" y="10"/>
                    <a:pt x="36" y="8"/>
                  </a:cubicBezTo>
                  <a:cubicBezTo>
                    <a:pt x="35" y="6"/>
                    <a:pt x="29" y="5"/>
                    <a:pt x="30" y="3"/>
                  </a:cubicBezTo>
                  <a:cubicBezTo>
                    <a:pt x="31" y="1"/>
                    <a:pt x="35" y="0"/>
                    <a:pt x="36" y="0"/>
                  </a:cubicBezTo>
                  <a:cubicBezTo>
                    <a:pt x="37" y="0"/>
                    <a:pt x="43" y="1"/>
                    <a:pt x="45" y="2"/>
                  </a:cubicBezTo>
                  <a:cubicBezTo>
                    <a:pt x="47" y="2"/>
                    <a:pt x="52" y="4"/>
                    <a:pt x="53" y="6"/>
                  </a:cubicBezTo>
                  <a:cubicBezTo>
                    <a:pt x="54" y="9"/>
                    <a:pt x="54" y="14"/>
                    <a:pt x="53" y="15"/>
                  </a:cubicBezTo>
                  <a:cubicBezTo>
                    <a:pt x="52" y="16"/>
                    <a:pt x="56" y="17"/>
                    <a:pt x="56" y="18"/>
                  </a:cubicBezTo>
                  <a:cubicBezTo>
                    <a:pt x="56" y="19"/>
                    <a:pt x="55" y="22"/>
                    <a:pt x="55" y="22"/>
                  </a:cubicBezTo>
                  <a:cubicBezTo>
                    <a:pt x="54" y="23"/>
                    <a:pt x="50" y="21"/>
                    <a:pt x="50" y="23"/>
                  </a:cubicBezTo>
                  <a:cubicBezTo>
                    <a:pt x="50" y="24"/>
                    <a:pt x="52" y="26"/>
                    <a:pt x="51" y="27"/>
                  </a:cubicBezTo>
                  <a:cubicBezTo>
                    <a:pt x="50" y="28"/>
                    <a:pt x="35" y="29"/>
                    <a:pt x="34" y="28"/>
                  </a:cubicBezTo>
                  <a:cubicBezTo>
                    <a:pt x="32" y="27"/>
                    <a:pt x="30" y="23"/>
                    <a:pt x="31" y="23"/>
                  </a:cubicBezTo>
                  <a:cubicBezTo>
                    <a:pt x="32" y="23"/>
                    <a:pt x="37" y="19"/>
                    <a:pt x="35" y="18"/>
                  </a:cubicBezTo>
                  <a:cubicBezTo>
                    <a:pt x="32" y="17"/>
                    <a:pt x="25" y="20"/>
                    <a:pt x="23" y="20"/>
                  </a:cubicBezTo>
                  <a:cubicBezTo>
                    <a:pt x="21" y="21"/>
                    <a:pt x="16" y="21"/>
                    <a:pt x="15" y="20"/>
                  </a:cubicBezTo>
                  <a:cubicBezTo>
                    <a:pt x="13" y="19"/>
                    <a:pt x="15" y="17"/>
                    <a:pt x="13" y="16"/>
                  </a:cubicBezTo>
                  <a:cubicBezTo>
                    <a:pt x="11" y="15"/>
                    <a:pt x="7" y="15"/>
                    <a:pt x="5" y="14"/>
                  </a:cubicBezTo>
                  <a:cubicBezTo>
                    <a:pt x="4" y="12"/>
                    <a:pt x="6" y="11"/>
                    <a:pt x="5" y="10"/>
                  </a:cubicBezTo>
                  <a:cubicBezTo>
                    <a:pt x="4" y="9"/>
                    <a:pt x="1" y="9"/>
                    <a:pt x="0" y="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10" name="Freeform 364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3090558" y="1680131"/>
              <a:ext cx="185230" cy="100655"/>
            </a:xfrm>
            <a:custGeom>
              <a:avLst/>
              <a:gdLst>
                <a:gd name="T0" fmla="*/ 2147483647 w 53"/>
                <a:gd name="T1" fmla="*/ 2147483647 h 27"/>
                <a:gd name="T2" fmla="*/ 2147483647 w 53"/>
                <a:gd name="T3" fmla="*/ 2147483647 h 27"/>
                <a:gd name="T4" fmla="*/ 2147483647 w 53"/>
                <a:gd name="T5" fmla="*/ 2147483647 h 27"/>
                <a:gd name="T6" fmla="*/ 2147483647 w 53"/>
                <a:gd name="T7" fmla="*/ 0 h 27"/>
                <a:gd name="T8" fmla="*/ 2147483647 w 53"/>
                <a:gd name="T9" fmla="*/ 2147483647 h 27"/>
                <a:gd name="T10" fmla="*/ 2147483647 w 53"/>
                <a:gd name="T11" fmla="*/ 2147483647 h 27"/>
                <a:gd name="T12" fmla="*/ 2147483647 w 53"/>
                <a:gd name="T13" fmla="*/ 2147483647 h 27"/>
                <a:gd name="T14" fmla="*/ 2147483647 w 53"/>
                <a:gd name="T15" fmla="*/ 2147483647 h 27"/>
                <a:gd name="T16" fmla="*/ 2147483647 w 53"/>
                <a:gd name="T17" fmla="*/ 2147483647 h 27"/>
                <a:gd name="T18" fmla="*/ 2147483647 w 53"/>
                <a:gd name="T19" fmla="*/ 2147483647 h 27"/>
                <a:gd name="T20" fmla="*/ 2147483647 w 53"/>
                <a:gd name="T21" fmla="*/ 2147483647 h 27"/>
                <a:gd name="T22" fmla="*/ 2147483647 w 53"/>
                <a:gd name="T23" fmla="*/ 2147483647 h 27"/>
                <a:gd name="T24" fmla="*/ 2147483647 w 53"/>
                <a:gd name="T25" fmla="*/ 2147483647 h 27"/>
                <a:gd name="T26" fmla="*/ 2147483647 w 53"/>
                <a:gd name="T27" fmla="*/ 2147483647 h 27"/>
                <a:gd name="T28" fmla="*/ 2147483647 w 53"/>
                <a:gd name="T29" fmla="*/ 2147483647 h 27"/>
                <a:gd name="T30" fmla="*/ 2147483647 w 53"/>
                <a:gd name="T31" fmla="*/ 2147483647 h 27"/>
                <a:gd name="T32" fmla="*/ 2147483647 w 53"/>
                <a:gd name="T33" fmla="*/ 2147483647 h 27"/>
                <a:gd name="T34" fmla="*/ 2147483647 w 53"/>
                <a:gd name="T35" fmla="*/ 2147483647 h 27"/>
                <a:gd name="T36" fmla="*/ 2147483647 w 53"/>
                <a:gd name="T37" fmla="*/ 2147483647 h 27"/>
                <a:gd name="T38" fmla="*/ 2147483647 w 53"/>
                <a:gd name="T39" fmla="*/ 2147483647 h 27"/>
                <a:gd name="T40" fmla="*/ 2147483647 w 53"/>
                <a:gd name="T41" fmla="*/ 2147483647 h 27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3"/>
                <a:gd name="T64" fmla="*/ 0 h 27"/>
                <a:gd name="T65" fmla="*/ 53 w 53"/>
                <a:gd name="T66" fmla="*/ 27 h 27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3" h="27">
                  <a:moveTo>
                    <a:pt x="8" y="9"/>
                  </a:moveTo>
                  <a:cubicBezTo>
                    <a:pt x="7" y="9"/>
                    <a:pt x="1" y="7"/>
                    <a:pt x="1" y="6"/>
                  </a:cubicBezTo>
                  <a:cubicBezTo>
                    <a:pt x="0" y="5"/>
                    <a:pt x="1" y="2"/>
                    <a:pt x="3" y="1"/>
                  </a:cubicBezTo>
                  <a:cubicBezTo>
                    <a:pt x="5" y="0"/>
                    <a:pt x="7" y="1"/>
                    <a:pt x="11" y="0"/>
                  </a:cubicBezTo>
                  <a:cubicBezTo>
                    <a:pt x="16" y="0"/>
                    <a:pt x="20" y="1"/>
                    <a:pt x="21" y="2"/>
                  </a:cubicBezTo>
                  <a:cubicBezTo>
                    <a:pt x="22" y="3"/>
                    <a:pt x="24" y="7"/>
                    <a:pt x="25" y="7"/>
                  </a:cubicBezTo>
                  <a:cubicBezTo>
                    <a:pt x="26" y="7"/>
                    <a:pt x="26" y="5"/>
                    <a:pt x="29" y="5"/>
                  </a:cubicBezTo>
                  <a:cubicBezTo>
                    <a:pt x="32" y="5"/>
                    <a:pt x="35" y="7"/>
                    <a:pt x="36" y="7"/>
                  </a:cubicBezTo>
                  <a:cubicBezTo>
                    <a:pt x="38" y="8"/>
                    <a:pt x="44" y="13"/>
                    <a:pt x="46" y="13"/>
                  </a:cubicBezTo>
                  <a:cubicBezTo>
                    <a:pt x="48" y="14"/>
                    <a:pt x="45" y="17"/>
                    <a:pt x="46" y="18"/>
                  </a:cubicBezTo>
                  <a:cubicBezTo>
                    <a:pt x="47" y="20"/>
                    <a:pt x="52" y="21"/>
                    <a:pt x="52" y="22"/>
                  </a:cubicBezTo>
                  <a:cubicBezTo>
                    <a:pt x="52" y="24"/>
                    <a:pt x="53" y="26"/>
                    <a:pt x="51" y="27"/>
                  </a:cubicBezTo>
                  <a:cubicBezTo>
                    <a:pt x="49" y="27"/>
                    <a:pt x="44" y="27"/>
                    <a:pt x="42" y="27"/>
                  </a:cubicBezTo>
                  <a:cubicBezTo>
                    <a:pt x="41" y="27"/>
                    <a:pt x="39" y="25"/>
                    <a:pt x="39" y="25"/>
                  </a:cubicBezTo>
                  <a:cubicBezTo>
                    <a:pt x="37" y="23"/>
                    <a:pt x="38" y="22"/>
                    <a:pt x="35" y="21"/>
                  </a:cubicBezTo>
                  <a:cubicBezTo>
                    <a:pt x="32" y="19"/>
                    <a:pt x="27" y="19"/>
                    <a:pt x="25" y="19"/>
                  </a:cubicBezTo>
                  <a:cubicBezTo>
                    <a:pt x="24" y="19"/>
                    <a:pt x="15" y="22"/>
                    <a:pt x="12" y="19"/>
                  </a:cubicBezTo>
                  <a:cubicBezTo>
                    <a:pt x="8" y="17"/>
                    <a:pt x="4" y="16"/>
                    <a:pt x="6" y="15"/>
                  </a:cubicBezTo>
                  <a:cubicBezTo>
                    <a:pt x="7" y="14"/>
                    <a:pt x="15" y="14"/>
                    <a:pt x="16" y="14"/>
                  </a:cubicBezTo>
                  <a:cubicBezTo>
                    <a:pt x="18" y="13"/>
                    <a:pt x="16" y="10"/>
                    <a:pt x="14" y="9"/>
                  </a:cubicBezTo>
                  <a:cubicBezTo>
                    <a:pt x="12" y="8"/>
                    <a:pt x="9" y="9"/>
                    <a:pt x="8" y="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11" name="Freeform 365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3076151" y="1775993"/>
              <a:ext cx="63801" cy="47931"/>
            </a:xfrm>
            <a:custGeom>
              <a:avLst/>
              <a:gdLst>
                <a:gd name="T0" fmla="*/ 2147483647 w 18"/>
                <a:gd name="T1" fmla="*/ 2147483647 h 13"/>
                <a:gd name="T2" fmla="*/ 2147483647 w 18"/>
                <a:gd name="T3" fmla="*/ 2147483647 h 13"/>
                <a:gd name="T4" fmla="*/ 2147483647 w 18"/>
                <a:gd name="T5" fmla="*/ 2147483647 h 13"/>
                <a:gd name="T6" fmla="*/ 2147483647 w 18"/>
                <a:gd name="T7" fmla="*/ 2147483647 h 13"/>
                <a:gd name="T8" fmla="*/ 2147483647 w 18"/>
                <a:gd name="T9" fmla="*/ 2147483647 h 13"/>
                <a:gd name="T10" fmla="*/ 2147483647 w 18"/>
                <a:gd name="T11" fmla="*/ 2147483647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13"/>
                <a:gd name="T20" fmla="*/ 18 w 18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13">
                  <a:moveTo>
                    <a:pt x="6" y="11"/>
                  </a:moveTo>
                  <a:cubicBezTo>
                    <a:pt x="4" y="9"/>
                    <a:pt x="0" y="3"/>
                    <a:pt x="1" y="1"/>
                  </a:cubicBezTo>
                  <a:cubicBezTo>
                    <a:pt x="2" y="0"/>
                    <a:pt x="6" y="1"/>
                    <a:pt x="8" y="2"/>
                  </a:cubicBezTo>
                  <a:cubicBezTo>
                    <a:pt x="10" y="3"/>
                    <a:pt x="11" y="5"/>
                    <a:pt x="12" y="6"/>
                  </a:cubicBezTo>
                  <a:cubicBezTo>
                    <a:pt x="12" y="7"/>
                    <a:pt x="18" y="10"/>
                    <a:pt x="16" y="11"/>
                  </a:cubicBezTo>
                  <a:cubicBezTo>
                    <a:pt x="15" y="12"/>
                    <a:pt x="9" y="13"/>
                    <a:pt x="6" y="1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12" name="Freeform 366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2901212" y="1761614"/>
              <a:ext cx="84382" cy="43138"/>
            </a:xfrm>
            <a:custGeom>
              <a:avLst/>
              <a:gdLst>
                <a:gd name="T0" fmla="*/ 0 w 24"/>
                <a:gd name="T1" fmla="*/ 2147483647 h 12"/>
                <a:gd name="T2" fmla="*/ 2147483647 w 24"/>
                <a:gd name="T3" fmla="*/ 2147483647 h 12"/>
                <a:gd name="T4" fmla="*/ 2147483647 w 24"/>
                <a:gd name="T5" fmla="*/ 0 h 12"/>
                <a:gd name="T6" fmla="*/ 2147483647 w 24"/>
                <a:gd name="T7" fmla="*/ 2147483647 h 12"/>
                <a:gd name="T8" fmla="*/ 2147483647 w 24"/>
                <a:gd name="T9" fmla="*/ 2147483647 h 12"/>
                <a:gd name="T10" fmla="*/ 2147483647 w 24"/>
                <a:gd name="T11" fmla="*/ 2147483647 h 12"/>
                <a:gd name="T12" fmla="*/ 2147483647 w 24"/>
                <a:gd name="T13" fmla="*/ 2147483647 h 12"/>
                <a:gd name="T14" fmla="*/ 2147483647 w 24"/>
                <a:gd name="T15" fmla="*/ 2147483647 h 12"/>
                <a:gd name="T16" fmla="*/ 0 w 24"/>
                <a:gd name="T17" fmla="*/ 2147483647 h 12"/>
                <a:gd name="T18" fmla="*/ 0 w 24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4"/>
                <a:gd name="T31" fmla="*/ 0 h 12"/>
                <a:gd name="T32" fmla="*/ 24 w 24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4" h="12">
                  <a:moveTo>
                    <a:pt x="0" y="5"/>
                  </a:moveTo>
                  <a:cubicBezTo>
                    <a:pt x="0" y="4"/>
                    <a:pt x="2" y="2"/>
                    <a:pt x="3" y="2"/>
                  </a:cubicBezTo>
                  <a:cubicBezTo>
                    <a:pt x="3" y="2"/>
                    <a:pt x="14" y="0"/>
                    <a:pt x="18" y="0"/>
                  </a:cubicBezTo>
                  <a:cubicBezTo>
                    <a:pt x="22" y="0"/>
                    <a:pt x="24" y="0"/>
                    <a:pt x="24" y="1"/>
                  </a:cubicBezTo>
                  <a:cubicBezTo>
                    <a:pt x="23" y="3"/>
                    <a:pt x="14" y="3"/>
                    <a:pt x="14" y="5"/>
                  </a:cubicBezTo>
                  <a:cubicBezTo>
                    <a:pt x="15" y="8"/>
                    <a:pt x="21" y="6"/>
                    <a:pt x="21" y="7"/>
                  </a:cubicBezTo>
                  <a:cubicBezTo>
                    <a:pt x="22" y="8"/>
                    <a:pt x="21" y="9"/>
                    <a:pt x="18" y="10"/>
                  </a:cubicBezTo>
                  <a:cubicBezTo>
                    <a:pt x="16" y="12"/>
                    <a:pt x="8" y="11"/>
                    <a:pt x="6" y="11"/>
                  </a:cubicBezTo>
                  <a:cubicBezTo>
                    <a:pt x="4" y="11"/>
                    <a:pt x="2" y="10"/>
                    <a:pt x="0" y="9"/>
                  </a:cubicBezTo>
                  <a:cubicBezTo>
                    <a:pt x="0" y="9"/>
                    <a:pt x="0" y="7"/>
                    <a:pt x="0" y="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13" name="Freeform 367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2882689" y="1713683"/>
              <a:ext cx="117312" cy="35948"/>
            </a:xfrm>
            <a:custGeom>
              <a:avLst/>
              <a:gdLst>
                <a:gd name="T0" fmla="*/ 2147483647 w 33"/>
                <a:gd name="T1" fmla="*/ 2147483647 h 10"/>
                <a:gd name="T2" fmla="*/ 2147483647 w 33"/>
                <a:gd name="T3" fmla="*/ 2147483647 h 10"/>
                <a:gd name="T4" fmla="*/ 2147483647 w 33"/>
                <a:gd name="T5" fmla="*/ 2147483647 h 10"/>
                <a:gd name="T6" fmla="*/ 2147483647 w 33"/>
                <a:gd name="T7" fmla="*/ 2147483647 h 10"/>
                <a:gd name="T8" fmla="*/ 2147483647 w 33"/>
                <a:gd name="T9" fmla="*/ 2147483647 h 10"/>
                <a:gd name="T10" fmla="*/ 2147483647 w 33"/>
                <a:gd name="T11" fmla="*/ 2147483647 h 10"/>
                <a:gd name="T12" fmla="*/ 2147483647 w 33"/>
                <a:gd name="T13" fmla="*/ 2147483647 h 10"/>
                <a:gd name="T14" fmla="*/ 2147483647 w 33"/>
                <a:gd name="T15" fmla="*/ 2147483647 h 10"/>
                <a:gd name="T16" fmla="*/ 2147483647 w 33"/>
                <a:gd name="T17" fmla="*/ 2147483647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10"/>
                <a:gd name="T29" fmla="*/ 33 w 33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10">
                  <a:moveTo>
                    <a:pt x="2" y="6"/>
                  </a:moveTo>
                  <a:cubicBezTo>
                    <a:pt x="3" y="4"/>
                    <a:pt x="15" y="2"/>
                    <a:pt x="17" y="1"/>
                  </a:cubicBezTo>
                  <a:cubicBezTo>
                    <a:pt x="19" y="0"/>
                    <a:pt x="24" y="0"/>
                    <a:pt x="26" y="1"/>
                  </a:cubicBezTo>
                  <a:cubicBezTo>
                    <a:pt x="28" y="1"/>
                    <a:pt x="33" y="4"/>
                    <a:pt x="33" y="5"/>
                  </a:cubicBezTo>
                  <a:cubicBezTo>
                    <a:pt x="33" y="6"/>
                    <a:pt x="33" y="7"/>
                    <a:pt x="31" y="7"/>
                  </a:cubicBezTo>
                  <a:cubicBezTo>
                    <a:pt x="29" y="7"/>
                    <a:pt x="21" y="7"/>
                    <a:pt x="19" y="7"/>
                  </a:cubicBezTo>
                  <a:cubicBezTo>
                    <a:pt x="17" y="7"/>
                    <a:pt x="13" y="8"/>
                    <a:pt x="10" y="9"/>
                  </a:cubicBezTo>
                  <a:cubicBezTo>
                    <a:pt x="8" y="9"/>
                    <a:pt x="3" y="10"/>
                    <a:pt x="2" y="9"/>
                  </a:cubicBezTo>
                  <a:cubicBezTo>
                    <a:pt x="0" y="7"/>
                    <a:pt x="2" y="6"/>
                    <a:pt x="2" y="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14" name="Freeform 368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2837410" y="1761614"/>
              <a:ext cx="45278" cy="26362"/>
            </a:xfrm>
            <a:custGeom>
              <a:avLst/>
              <a:gdLst>
                <a:gd name="T0" fmla="*/ 0 w 13"/>
                <a:gd name="T1" fmla="*/ 2147483647 h 7"/>
                <a:gd name="T2" fmla="*/ 2147483647 w 13"/>
                <a:gd name="T3" fmla="*/ 0 h 7"/>
                <a:gd name="T4" fmla="*/ 2147483647 w 13"/>
                <a:gd name="T5" fmla="*/ 2147483647 h 7"/>
                <a:gd name="T6" fmla="*/ 2147483647 w 13"/>
                <a:gd name="T7" fmla="*/ 2147483647 h 7"/>
                <a:gd name="T8" fmla="*/ 2147483647 w 13"/>
                <a:gd name="T9" fmla="*/ 2147483647 h 7"/>
                <a:gd name="T10" fmla="*/ 0 w 13"/>
                <a:gd name="T11" fmla="*/ 214748364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7"/>
                <a:gd name="T20" fmla="*/ 13 w 13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7">
                  <a:moveTo>
                    <a:pt x="0" y="2"/>
                  </a:moveTo>
                  <a:cubicBezTo>
                    <a:pt x="0" y="1"/>
                    <a:pt x="6" y="0"/>
                    <a:pt x="7" y="0"/>
                  </a:cubicBezTo>
                  <a:cubicBezTo>
                    <a:pt x="8" y="0"/>
                    <a:pt x="13" y="3"/>
                    <a:pt x="12" y="4"/>
                  </a:cubicBezTo>
                  <a:cubicBezTo>
                    <a:pt x="12" y="5"/>
                    <a:pt x="9" y="7"/>
                    <a:pt x="7" y="6"/>
                  </a:cubicBezTo>
                  <a:cubicBezTo>
                    <a:pt x="6" y="5"/>
                    <a:pt x="3" y="5"/>
                    <a:pt x="3" y="5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15" name="Freeform 369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2775667" y="1831113"/>
              <a:ext cx="329297" cy="155775"/>
            </a:xfrm>
            <a:custGeom>
              <a:avLst/>
              <a:gdLst>
                <a:gd name="T0" fmla="*/ 2147483647 w 94"/>
                <a:gd name="T1" fmla="*/ 2147483647 h 42"/>
                <a:gd name="T2" fmla="*/ 2147483647 w 94"/>
                <a:gd name="T3" fmla="*/ 2147483647 h 42"/>
                <a:gd name="T4" fmla="*/ 2147483647 w 94"/>
                <a:gd name="T5" fmla="*/ 2147483647 h 42"/>
                <a:gd name="T6" fmla="*/ 2147483647 w 94"/>
                <a:gd name="T7" fmla="*/ 2147483647 h 42"/>
                <a:gd name="T8" fmla="*/ 2147483647 w 94"/>
                <a:gd name="T9" fmla="*/ 2147483647 h 42"/>
                <a:gd name="T10" fmla="*/ 2147483647 w 94"/>
                <a:gd name="T11" fmla="*/ 2147483647 h 42"/>
                <a:gd name="T12" fmla="*/ 2147483647 w 94"/>
                <a:gd name="T13" fmla="*/ 2147483647 h 42"/>
                <a:gd name="T14" fmla="*/ 2147483647 w 94"/>
                <a:gd name="T15" fmla="*/ 2147483647 h 42"/>
                <a:gd name="T16" fmla="*/ 2147483647 w 94"/>
                <a:gd name="T17" fmla="*/ 2147483647 h 42"/>
                <a:gd name="T18" fmla="*/ 2147483647 w 94"/>
                <a:gd name="T19" fmla="*/ 2147483647 h 42"/>
                <a:gd name="T20" fmla="*/ 2147483647 w 94"/>
                <a:gd name="T21" fmla="*/ 2147483647 h 42"/>
                <a:gd name="T22" fmla="*/ 2147483647 w 94"/>
                <a:gd name="T23" fmla="*/ 2147483647 h 42"/>
                <a:gd name="T24" fmla="*/ 2147483647 w 94"/>
                <a:gd name="T25" fmla="*/ 2147483647 h 42"/>
                <a:gd name="T26" fmla="*/ 2147483647 w 94"/>
                <a:gd name="T27" fmla="*/ 2147483647 h 42"/>
                <a:gd name="T28" fmla="*/ 2147483647 w 94"/>
                <a:gd name="T29" fmla="*/ 2147483647 h 42"/>
                <a:gd name="T30" fmla="*/ 2147483647 w 94"/>
                <a:gd name="T31" fmla="*/ 0 h 42"/>
                <a:gd name="T32" fmla="*/ 2147483647 w 94"/>
                <a:gd name="T33" fmla="*/ 2147483647 h 42"/>
                <a:gd name="T34" fmla="*/ 2147483647 w 94"/>
                <a:gd name="T35" fmla="*/ 2147483647 h 42"/>
                <a:gd name="T36" fmla="*/ 2147483647 w 94"/>
                <a:gd name="T37" fmla="*/ 2147483647 h 42"/>
                <a:gd name="T38" fmla="*/ 2147483647 w 94"/>
                <a:gd name="T39" fmla="*/ 2147483647 h 42"/>
                <a:gd name="T40" fmla="*/ 2147483647 w 94"/>
                <a:gd name="T41" fmla="*/ 2147483647 h 42"/>
                <a:gd name="T42" fmla="*/ 2147483647 w 94"/>
                <a:gd name="T43" fmla="*/ 2147483647 h 42"/>
                <a:gd name="T44" fmla="*/ 2147483647 w 94"/>
                <a:gd name="T45" fmla="*/ 2147483647 h 42"/>
                <a:gd name="T46" fmla="*/ 2147483647 w 94"/>
                <a:gd name="T47" fmla="*/ 2147483647 h 42"/>
                <a:gd name="T48" fmla="*/ 2147483647 w 94"/>
                <a:gd name="T49" fmla="*/ 2147483647 h 42"/>
                <a:gd name="T50" fmla="*/ 2147483647 w 94"/>
                <a:gd name="T51" fmla="*/ 2147483647 h 42"/>
                <a:gd name="T52" fmla="*/ 2147483647 w 94"/>
                <a:gd name="T53" fmla="*/ 2147483647 h 42"/>
                <a:gd name="T54" fmla="*/ 2147483647 w 94"/>
                <a:gd name="T55" fmla="*/ 2147483647 h 42"/>
                <a:gd name="T56" fmla="*/ 2147483647 w 94"/>
                <a:gd name="T57" fmla="*/ 2147483647 h 42"/>
                <a:gd name="T58" fmla="*/ 2147483647 w 94"/>
                <a:gd name="T59" fmla="*/ 2147483647 h 42"/>
                <a:gd name="T60" fmla="*/ 2147483647 w 94"/>
                <a:gd name="T61" fmla="*/ 2147483647 h 42"/>
                <a:gd name="T62" fmla="*/ 2147483647 w 94"/>
                <a:gd name="T63" fmla="*/ 2147483647 h 42"/>
                <a:gd name="T64" fmla="*/ 2147483647 w 94"/>
                <a:gd name="T65" fmla="*/ 2147483647 h 42"/>
                <a:gd name="T66" fmla="*/ 2147483647 w 94"/>
                <a:gd name="T67" fmla="*/ 2147483647 h 42"/>
                <a:gd name="T68" fmla="*/ 2147483647 w 94"/>
                <a:gd name="T69" fmla="*/ 2147483647 h 42"/>
                <a:gd name="T70" fmla="*/ 2147483647 w 94"/>
                <a:gd name="T71" fmla="*/ 2147483647 h 42"/>
                <a:gd name="T72" fmla="*/ 2147483647 w 94"/>
                <a:gd name="T73" fmla="*/ 2147483647 h 42"/>
                <a:gd name="T74" fmla="*/ 2147483647 w 94"/>
                <a:gd name="T75" fmla="*/ 2147483647 h 42"/>
                <a:gd name="T76" fmla="*/ 2147483647 w 94"/>
                <a:gd name="T77" fmla="*/ 2147483647 h 4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4"/>
                <a:gd name="T118" fmla="*/ 0 h 42"/>
                <a:gd name="T119" fmla="*/ 94 w 94"/>
                <a:gd name="T120" fmla="*/ 42 h 4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4" h="42">
                  <a:moveTo>
                    <a:pt x="1" y="26"/>
                  </a:moveTo>
                  <a:cubicBezTo>
                    <a:pt x="2" y="25"/>
                    <a:pt x="6" y="21"/>
                    <a:pt x="7" y="20"/>
                  </a:cubicBezTo>
                  <a:cubicBezTo>
                    <a:pt x="8" y="18"/>
                    <a:pt x="10" y="13"/>
                    <a:pt x="10" y="12"/>
                  </a:cubicBezTo>
                  <a:cubicBezTo>
                    <a:pt x="11" y="11"/>
                    <a:pt x="16" y="7"/>
                    <a:pt x="18" y="7"/>
                  </a:cubicBezTo>
                  <a:cubicBezTo>
                    <a:pt x="20" y="7"/>
                    <a:pt x="25" y="6"/>
                    <a:pt x="25" y="7"/>
                  </a:cubicBezTo>
                  <a:cubicBezTo>
                    <a:pt x="26" y="9"/>
                    <a:pt x="25" y="12"/>
                    <a:pt x="28" y="12"/>
                  </a:cubicBezTo>
                  <a:cubicBezTo>
                    <a:pt x="30" y="12"/>
                    <a:pt x="32" y="9"/>
                    <a:pt x="36" y="10"/>
                  </a:cubicBezTo>
                  <a:cubicBezTo>
                    <a:pt x="40" y="12"/>
                    <a:pt x="44" y="16"/>
                    <a:pt x="46" y="18"/>
                  </a:cubicBezTo>
                  <a:cubicBezTo>
                    <a:pt x="47" y="19"/>
                    <a:pt x="46" y="22"/>
                    <a:pt x="48" y="22"/>
                  </a:cubicBezTo>
                  <a:cubicBezTo>
                    <a:pt x="50" y="22"/>
                    <a:pt x="64" y="23"/>
                    <a:pt x="65" y="22"/>
                  </a:cubicBezTo>
                  <a:cubicBezTo>
                    <a:pt x="66" y="21"/>
                    <a:pt x="68" y="20"/>
                    <a:pt x="65" y="18"/>
                  </a:cubicBezTo>
                  <a:cubicBezTo>
                    <a:pt x="62" y="16"/>
                    <a:pt x="61" y="17"/>
                    <a:pt x="60" y="16"/>
                  </a:cubicBezTo>
                  <a:cubicBezTo>
                    <a:pt x="58" y="14"/>
                    <a:pt x="64" y="13"/>
                    <a:pt x="62" y="12"/>
                  </a:cubicBezTo>
                  <a:cubicBezTo>
                    <a:pt x="61" y="11"/>
                    <a:pt x="54" y="9"/>
                    <a:pt x="54" y="8"/>
                  </a:cubicBezTo>
                  <a:cubicBezTo>
                    <a:pt x="54" y="6"/>
                    <a:pt x="61" y="4"/>
                    <a:pt x="63" y="2"/>
                  </a:cubicBezTo>
                  <a:cubicBezTo>
                    <a:pt x="65" y="0"/>
                    <a:pt x="67" y="0"/>
                    <a:pt x="68" y="0"/>
                  </a:cubicBezTo>
                  <a:cubicBezTo>
                    <a:pt x="69" y="0"/>
                    <a:pt x="68" y="4"/>
                    <a:pt x="69" y="6"/>
                  </a:cubicBezTo>
                  <a:cubicBezTo>
                    <a:pt x="70" y="7"/>
                    <a:pt x="71" y="9"/>
                    <a:pt x="72" y="10"/>
                  </a:cubicBezTo>
                  <a:cubicBezTo>
                    <a:pt x="73" y="11"/>
                    <a:pt x="69" y="12"/>
                    <a:pt x="71" y="14"/>
                  </a:cubicBezTo>
                  <a:cubicBezTo>
                    <a:pt x="73" y="15"/>
                    <a:pt x="78" y="17"/>
                    <a:pt x="80" y="17"/>
                  </a:cubicBezTo>
                  <a:cubicBezTo>
                    <a:pt x="82" y="17"/>
                    <a:pt x="80" y="12"/>
                    <a:pt x="82" y="12"/>
                  </a:cubicBezTo>
                  <a:cubicBezTo>
                    <a:pt x="84" y="12"/>
                    <a:pt x="88" y="13"/>
                    <a:pt x="90" y="14"/>
                  </a:cubicBezTo>
                  <a:cubicBezTo>
                    <a:pt x="93" y="16"/>
                    <a:pt x="94" y="20"/>
                    <a:pt x="92" y="23"/>
                  </a:cubicBezTo>
                  <a:cubicBezTo>
                    <a:pt x="90" y="25"/>
                    <a:pt x="89" y="30"/>
                    <a:pt x="86" y="30"/>
                  </a:cubicBezTo>
                  <a:cubicBezTo>
                    <a:pt x="84" y="30"/>
                    <a:pt x="68" y="29"/>
                    <a:pt x="66" y="30"/>
                  </a:cubicBezTo>
                  <a:cubicBezTo>
                    <a:pt x="64" y="31"/>
                    <a:pt x="51" y="36"/>
                    <a:pt x="48" y="36"/>
                  </a:cubicBezTo>
                  <a:cubicBezTo>
                    <a:pt x="45" y="37"/>
                    <a:pt x="37" y="42"/>
                    <a:pt x="32" y="40"/>
                  </a:cubicBezTo>
                  <a:cubicBezTo>
                    <a:pt x="27" y="38"/>
                    <a:pt x="24" y="36"/>
                    <a:pt x="24" y="35"/>
                  </a:cubicBezTo>
                  <a:cubicBezTo>
                    <a:pt x="25" y="34"/>
                    <a:pt x="30" y="32"/>
                    <a:pt x="33" y="32"/>
                  </a:cubicBezTo>
                  <a:cubicBezTo>
                    <a:pt x="36" y="32"/>
                    <a:pt x="43" y="31"/>
                    <a:pt x="45" y="30"/>
                  </a:cubicBezTo>
                  <a:cubicBezTo>
                    <a:pt x="47" y="29"/>
                    <a:pt x="50" y="29"/>
                    <a:pt x="49" y="27"/>
                  </a:cubicBezTo>
                  <a:cubicBezTo>
                    <a:pt x="48" y="26"/>
                    <a:pt x="42" y="26"/>
                    <a:pt x="39" y="26"/>
                  </a:cubicBezTo>
                  <a:cubicBezTo>
                    <a:pt x="36" y="26"/>
                    <a:pt x="30" y="28"/>
                    <a:pt x="29" y="27"/>
                  </a:cubicBezTo>
                  <a:cubicBezTo>
                    <a:pt x="28" y="26"/>
                    <a:pt x="30" y="22"/>
                    <a:pt x="28" y="22"/>
                  </a:cubicBezTo>
                  <a:cubicBezTo>
                    <a:pt x="27" y="22"/>
                    <a:pt x="24" y="23"/>
                    <a:pt x="24" y="23"/>
                  </a:cubicBezTo>
                  <a:cubicBezTo>
                    <a:pt x="24" y="23"/>
                    <a:pt x="23" y="29"/>
                    <a:pt x="22" y="29"/>
                  </a:cubicBezTo>
                  <a:cubicBezTo>
                    <a:pt x="20" y="29"/>
                    <a:pt x="15" y="30"/>
                    <a:pt x="14" y="30"/>
                  </a:cubicBezTo>
                  <a:cubicBezTo>
                    <a:pt x="14" y="30"/>
                    <a:pt x="12" y="29"/>
                    <a:pt x="12" y="29"/>
                  </a:cubicBezTo>
                  <a:cubicBezTo>
                    <a:pt x="10" y="28"/>
                    <a:pt x="0" y="27"/>
                    <a:pt x="1" y="2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16" name="Freeform 370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2728330" y="2008458"/>
              <a:ext cx="500121" cy="273206"/>
            </a:xfrm>
            <a:custGeom>
              <a:avLst/>
              <a:gdLst>
                <a:gd name="T0" fmla="*/ 2147483647 w 142"/>
                <a:gd name="T1" fmla="*/ 2147483647 h 74"/>
                <a:gd name="T2" fmla="*/ 2147483647 w 142"/>
                <a:gd name="T3" fmla="*/ 2147483647 h 74"/>
                <a:gd name="T4" fmla="*/ 2147483647 w 142"/>
                <a:gd name="T5" fmla="*/ 2147483647 h 74"/>
                <a:gd name="T6" fmla="*/ 2147483647 w 142"/>
                <a:gd name="T7" fmla="*/ 2147483647 h 74"/>
                <a:gd name="T8" fmla="*/ 2147483647 w 142"/>
                <a:gd name="T9" fmla="*/ 2147483647 h 74"/>
                <a:gd name="T10" fmla="*/ 2147483647 w 142"/>
                <a:gd name="T11" fmla="*/ 2147483647 h 74"/>
                <a:gd name="T12" fmla="*/ 2147483647 w 142"/>
                <a:gd name="T13" fmla="*/ 2147483647 h 74"/>
                <a:gd name="T14" fmla="*/ 2147483647 w 142"/>
                <a:gd name="T15" fmla="*/ 2147483647 h 74"/>
                <a:gd name="T16" fmla="*/ 2147483647 w 142"/>
                <a:gd name="T17" fmla="*/ 2147483647 h 74"/>
                <a:gd name="T18" fmla="*/ 2147483647 w 142"/>
                <a:gd name="T19" fmla="*/ 2147483647 h 74"/>
                <a:gd name="T20" fmla="*/ 2147483647 w 142"/>
                <a:gd name="T21" fmla="*/ 2147483647 h 74"/>
                <a:gd name="T22" fmla="*/ 2147483647 w 142"/>
                <a:gd name="T23" fmla="*/ 2147483647 h 74"/>
                <a:gd name="T24" fmla="*/ 2147483647 w 142"/>
                <a:gd name="T25" fmla="*/ 2147483647 h 74"/>
                <a:gd name="T26" fmla="*/ 2147483647 w 142"/>
                <a:gd name="T27" fmla="*/ 2147483647 h 74"/>
                <a:gd name="T28" fmla="*/ 2147483647 w 142"/>
                <a:gd name="T29" fmla="*/ 2147483647 h 74"/>
                <a:gd name="T30" fmla="*/ 2147483647 w 142"/>
                <a:gd name="T31" fmla="*/ 2147483647 h 74"/>
                <a:gd name="T32" fmla="*/ 2147483647 w 142"/>
                <a:gd name="T33" fmla="*/ 2147483647 h 74"/>
                <a:gd name="T34" fmla="*/ 2147483647 w 142"/>
                <a:gd name="T35" fmla="*/ 2147483647 h 74"/>
                <a:gd name="T36" fmla="*/ 2147483647 w 142"/>
                <a:gd name="T37" fmla="*/ 2147483647 h 74"/>
                <a:gd name="T38" fmla="*/ 2147483647 w 142"/>
                <a:gd name="T39" fmla="*/ 2147483647 h 74"/>
                <a:gd name="T40" fmla="*/ 2147483647 w 142"/>
                <a:gd name="T41" fmla="*/ 2147483647 h 74"/>
                <a:gd name="T42" fmla="*/ 2147483647 w 142"/>
                <a:gd name="T43" fmla="*/ 2147483647 h 74"/>
                <a:gd name="T44" fmla="*/ 2147483647 w 142"/>
                <a:gd name="T45" fmla="*/ 2147483647 h 74"/>
                <a:gd name="T46" fmla="*/ 2147483647 w 142"/>
                <a:gd name="T47" fmla="*/ 2147483647 h 74"/>
                <a:gd name="T48" fmla="*/ 2147483647 w 142"/>
                <a:gd name="T49" fmla="*/ 2147483647 h 74"/>
                <a:gd name="T50" fmla="*/ 2147483647 w 142"/>
                <a:gd name="T51" fmla="*/ 2147483647 h 74"/>
                <a:gd name="T52" fmla="*/ 2147483647 w 142"/>
                <a:gd name="T53" fmla="*/ 2147483647 h 74"/>
                <a:gd name="T54" fmla="*/ 2147483647 w 142"/>
                <a:gd name="T55" fmla="*/ 2147483647 h 74"/>
                <a:gd name="T56" fmla="*/ 2147483647 w 142"/>
                <a:gd name="T57" fmla="*/ 2147483647 h 74"/>
                <a:gd name="T58" fmla="*/ 2147483647 w 142"/>
                <a:gd name="T59" fmla="*/ 2147483647 h 74"/>
                <a:gd name="T60" fmla="*/ 2147483647 w 142"/>
                <a:gd name="T61" fmla="*/ 2147483647 h 74"/>
                <a:gd name="T62" fmla="*/ 2147483647 w 142"/>
                <a:gd name="T63" fmla="*/ 2147483647 h 7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2"/>
                <a:gd name="T97" fmla="*/ 0 h 74"/>
                <a:gd name="T98" fmla="*/ 142 w 142"/>
                <a:gd name="T99" fmla="*/ 74 h 7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2" h="74">
                  <a:moveTo>
                    <a:pt x="6" y="31"/>
                  </a:moveTo>
                  <a:cubicBezTo>
                    <a:pt x="4" y="30"/>
                    <a:pt x="0" y="31"/>
                    <a:pt x="2" y="29"/>
                  </a:cubicBezTo>
                  <a:cubicBezTo>
                    <a:pt x="4" y="26"/>
                    <a:pt x="7" y="26"/>
                    <a:pt x="9" y="24"/>
                  </a:cubicBezTo>
                  <a:cubicBezTo>
                    <a:pt x="10" y="23"/>
                    <a:pt x="3" y="19"/>
                    <a:pt x="15" y="17"/>
                  </a:cubicBezTo>
                  <a:cubicBezTo>
                    <a:pt x="18" y="16"/>
                    <a:pt x="25" y="12"/>
                    <a:pt x="26" y="11"/>
                  </a:cubicBezTo>
                  <a:cubicBezTo>
                    <a:pt x="30" y="10"/>
                    <a:pt x="37" y="6"/>
                    <a:pt x="39" y="8"/>
                  </a:cubicBezTo>
                  <a:cubicBezTo>
                    <a:pt x="41" y="10"/>
                    <a:pt x="36" y="17"/>
                    <a:pt x="37" y="17"/>
                  </a:cubicBezTo>
                  <a:cubicBezTo>
                    <a:pt x="38" y="18"/>
                    <a:pt x="44" y="18"/>
                    <a:pt x="45" y="17"/>
                  </a:cubicBezTo>
                  <a:cubicBezTo>
                    <a:pt x="45" y="16"/>
                    <a:pt x="46" y="11"/>
                    <a:pt x="47" y="11"/>
                  </a:cubicBezTo>
                  <a:cubicBezTo>
                    <a:pt x="48" y="11"/>
                    <a:pt x="60" y="14"/>
                    <a:pt x="60" y="16"/>
                  </a:cubicBezTo>
                  <a:cubicBezTo>
                    <a:pt x="61" y="18"/>
                    <a:pt x="56" y="20"/>
                    <a:pt x="58" y="21"/>
                  </a:cubicBezTo>
                  <a:cubicBezTo>
                    <a:pt x="59" y="22"/>
                    <a:pt x="61" y="21"/>
                    <a:pt x="63" y="21"/>
                  </a:cubicBezTo>
                  <a:cubicBezTo>
                    <a:pt x="65" y="21"/>
                    <a:pt x="68" y="18"/>
                    <a:pt x="69" y="17"/>
                  </a:cubicBezTo>
                  <a:cubicBezTo>
                    <a:pt x="70" y="16"/>
                    <a:pt x="65" y="12"/>
                    <a:pt x="66" y="11"/>
                  </a:cubicBezTo>
                  <a:cubicBezTo>
                    <a:pt x="68" y="11"/>
                    <a:pt x="71" y="11"/>
                    <a:pt x="73" y="12"/>
                  </a:cubicBezTo>
                  <a:cubicBezTo>
                    <a:pt x="74" y="13"/>
                    <a:pt x="81" y="15"/>
                    <a:pt x="81" y="17"/>
                  </a:cubicBezTo>
                  <a:cubicBezTo>
                    <a:pt x="81" y="20"/>
                    <a:pt x="83" y="31"/>
                    <a:pt x="85" y="31"/>
                  </a:cubicBezTo>
                  <a:cubicBezTo>
                    <a:pt x="87" y="31"/>
                    <a:pt x="91" y="29"/>
                    <a:pt x="92" y="27"/>
                  </a:cubicBezTo>
                  <a:cubicBezTo>
                    <a:pt x="93" y="26"/>
                    <a:pt x="90" y="24"/>
                    <a:pt x="89" y="22"/>
                  </a:cubicBezTo>
                  <a:cubicBezTo>
                    <a:pt x="89" y="19"/>
                    <a:pt x="84" y="9"/>
                    <a:pt x="85" y="8"/>
                  </a:cubicBezTo>
                  <a:cubicBezTo>
                    <a:pt x="86" y="6"/>
                    <a:pt x="90" y="7"/>
                    <a:pt x="92" y="8"/>
                  </a:cubicBezTo>
                  <a:cubicBezTo>
                    <a:pt x="93" y="8"/>
                    <a:pt x="97" y="8"/>
                    <a:pt x="98" y="8"/>
                  </a:cubicBezTo>
                  <a:cubicBezTo>
                    <a:pt x="98" y="8"/>
                    <a:pt x="94" y="3"/>
                    <a:pt x="96" y="2"/>
                  </a:cubicBezTo>
                  <a:cubicBezTo>
                    <a:pt x="99" y="1"/>
                    <a:pt x="102" y="1"/>
                    <a:pt x="106" y="1"/>
                  </a:cubicBezTo>
                  <a:cubicBezTo>
                    <a:pt x="110" y="0"/>
                    <a:pt x="112" y="2"/>
                    <a:pt x="113" y="4"/>
                  </a:cubicBezTo>
                  <a:cubicBezTo>
                    <a:pt x="113" y="6"/>
                    <a:pt x="109" y="12"/>
                    <a:pt x="108" y="12"/>
                  </a:cubicBezTo>
                  <a:cubicBezTo>
                    <a:pt x="106" y="12"/>
                    <a:pt x="106" y="15"/>
                    <a:pt x="106" y="15"/>
                  </a:cubicBezTo>
                  <a:cubicBezTo>
                    <a:pt x="106" y="15"/>
                    <a:pt x="113" y="30"/>
                    <a:pt x="114" y="32"/>
                  </a:cubicBezTo>
                  <a:cubicBezTo>
                    <a:pt x="114" y="34"/>
                    <a:pt x="110" y="38"/>
                    <a:pt x="112" y="39"/>
                  </a:cubicBezTo>
                  <a:cubicBezTo>
                    <a:pt x="114" y="41"/>
                    <a:pt x="118" y="44"/>
                    <a:pt x="121" y="45"/>
                  </a:cubicBezTo>
                  <a:cubicBezTo>
                    <a:pt x="123" y="46"/>
                    <a:pt x="138" y="49"/>
                    <a:pt x="139" y="51"/>
                  </a:cubicBezTo>
                  <a:cubicBezTo>
                    <a:pt x="140" y="53"/>
                    <a:pt x="142" y="58"/>
                    <a:pt x="140" y="58"/>
                  </a:cubicBezTo>
                  <a:cubicBezTo>
                    <a:pt x="139" y="59"/>
                    <a:pt x="133" y="56"/>
                    <a:pt x="131" y="55"/>
                  </a:cubicBezTo>
                  <a:cubicBezTo>
                    <a:pt x="130" y="55"/>
                    <a:pt x="128" y="57"/>
                    <a:pt x="127" y="58"/>
                  </a:cubicBezTo>
                  <a:cubicBezTo>
                    <a:pt x="126" y="59"/>
                    <a:pt x="124" y="60"/>
                    <a:pt x="123" y="60"/>
                  </a:cubicBezTo>
                  <a:cubicBezTo>
                    <a:pt x="121" y="59"/>
                    <a:pt x="122" y="64"/>
                    <a:pt x="124" y="64"/>
                  </a:cubicBezTo>
                  <a:cubicBezTo>
                    <a:pt x="125" y="64"/>
                    <a:pt x="130" y="60"/>
                    <a:pt x="132" y="61"/>
                  </a:cubicBezTo>
                  <a:cubicBezTo>
                    <a:pt x="133" y="63"/>
                    <a:pt x="135" y="64"/>
                    <a:pt x="134" y="66"/>
                  </a:cubicBezTo>
                  <a:cubicBezTo>
                    <a:pt x="134" y="68"/>
                    <a:pt x="129" y="70"/>
                    <a:pt x="126" y="70"/>
                  </a:cubicBezTo>
                  <a:cubicBezTo>
                    <a:pt x="122" y="70"/>
                    <a:pt x="111" y="69"/>
                    <a:pt x="110" y="68"/>
                  </a:cubicBezTo>
                  <a:cubicBezTo>
                    <a:pt x="109" y="66"/>
                    <a:pt x="105" y="65"/>
                    <a:pt x="103" y="65"/>
                  </a:cubicBezTo>
                  <a:cubicBezTo>
                    <a:pt x="101" y="65"/>
                    <a:pt x="100" y="62"/>
                    <a:pt x="98" y="61"/>
                  </a:cubicBezTo>
                  <a:cubicBezTo>
                    <a:pt x="96" y="61"/>
                    <a:pt x="94" y="61"/>
                    <a:pt x="93" y="63"/>
                  </a:cubicBezTo>
                  <a:cubicBezTo>
                    <a:pt x="92" y="64"/>
                    <a:pt x="93" y="66"/>
                    <a:pt x="90" y="66"/>
                  </a:cubicBezTo>
                  <a:cubicBezTo>
                    <a:pt x="87" y="66"/>
                    <a:pt x="83" y="68"/>
                    <a:pt x="81" y="69"/>
                  </a:cubicBezTo>
                  <a:cubicBezTo>
                    <a:pt x="79" y="69"/>
                    <a:pt x="71" y="72"/>
                    <a:pt x="66" y="72"/>
                  </a:cubicBezTo>
                  <a:cubicBezTo>
                    <a:pt x="62" y="72"/>
                    <a:pt x="51" y="74"/>
                    <a:pt x="49" y="73"/>
                  </a:cubicBezTo>
                  <a:cubicBezTo>
                    <a:pt x="47" y="72"/>
                    <a:pt x="44" y="72"/>
                    <a:pt x="44" y="68"/>
                  </a:cubicBezTo>
                  <a:cubicBezTo>
                    <a:pt x="44" y="65"/>
                    <a:pt x="44" y="63"/>
                    <a:pt x="42" y="63"/>
                  </a:cubicBezTo>
                  <a:cubicBezTo>
                    <a:pt x="41" y="63"/>
                    <a:pt x="31" y="64"/>
                    <a:pt x="27" y="62"/>
                  </a:cubicBezTo>
                  <a:cubicBezTo>
                    <a:pt x="23" y="61"/>
                    <a:pt x="16" y="59"/>
                    <a:pt x="15" y="56"/>
                  </a:cubicBezTo>
                  <a:cubicBezTo>
                    <a:pt x="14" y="54"/>
                    <a:pt x="17" y="53"/>
                    <a:pt x="19" y="53"/>
                  </a:cubicBezTo>
                  <a:cubicBezTo>
                    <a:pt x="22" y="52"/>
                    <a:pt x="34" y="51"/>
                    <a:pt x="38" y="51"/>
                  </a:cubicBezTo>
                  <a:cubicBezTo>
                    <a:pt x="41" y="51"/>
                    <a:pt x="49" y="52"/>
                    <a:pt x="52" y="52"/>
                  </a:cubicBezTo>
                  <a:cubicBezTo>
                    <a:pt x="54" y="52"/>
                    <a:pt x="57" y="50"/>
                    <a:pt x="57" y="48"/>
                  </a:cubicBezTo>
                  <a:cubicBezTo>
                    <a:pt x="57" y="47"/>
                    <a:pt x="54" y="46"/>
                    <a:pt x="51" y="45"/>
                  </a:cubicBezTo>
                  <a:cubicBezTo>
                    <a:pt x="47" y="45"/>
                    <a:pt x="41" y="43"/>
                    <a:pt x="38" y="44"/>
                  </a:cubicBezTo>
                  <a:cubicBezTo>
                    <a:pt x="35" y="44"/>
                    <a:pt x="24" y="46"/>
                    <a:pt x="21" y="46"/>
                  </a:cubicBezTo>
                  <a:cubicBezTo>
                    <a:pt x="19" y="46"/>
                    <a:pt x="13" y="46"/>
                    <a:pt x="11" y="44"/>
                  </a:cubicBezTo>
                  <a:cubicBezTo>
                    <a:pt x="8" y="42"/>
                    <a:pt x="6" y="42"/>
                    <a:pt x="8" y="40"/>
                  </a:cubicBezTo>
                  <a:cubicBezTo>
                    <a:pt x="9" y="39"/>
                    <a:pt x="22" y="37"/>
                    <a:pt x="24" y="36"/>
                  </a:cubicBezTo>
                  <a:cubicBezTo>
                    <a:pt x="26" y="35"/>
                    <a:pt x="30" y="35"/>
                    <a:pt x="30" y="33"/>
                  </a:cubicBezTo>
                  <a:cubicBezTo>
                    <a:pt x="29" y="32"/>
                    <a:pt x="26" y="32"/>
                    <a:pt x="23" y="32"/>
                  </a:cubicBezTo>
                  <a:cubicBezTo>
                    <a:pt x="21" y="32"/>
                    <a:pt x="14" y="34"/>
                    <a:pt x="11" y="33"/>
                  </a:cubicBezTo>
                  <a:cubicBezTo>
                    <a:pt x="7" y="32"/>
                    <a:pt x="8" y="33"/>
                    <a:pt x="6" y="3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17" name="Freeform 371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2718040" y="1879044"/>
              <a:ext cx="63801" cy="45534"/>
            </a:xfrm>
            <a:custGeom>
              <a:avLst/>
              <a:gdLst>
                <a:gd name="T0" fmla="*/ 2147483647 w 18"/>
                <a:gd name="T1" fmla="*/ 2147483647 h 12"/>
                <a:gd name="T2" fmla="*/ 2147483647 w 18"/>
                <a:gd name="T3" fmla="*/ 2147483647 h 12"/>
                <a:gd name="T4" fmla="*/ 0 w 18"/>
                <a:gd name="T5" fmla="*/ 2147483647 h 12"/>
                <a:gd name="T6" fmla="*/ 2147483647 w 18"/>
                <a:gd name="T7" fmla="*/ 2147483647 h 12"/>
                <a:gd name="T8" fmla="*/ 2147483647 w 18"/>
                <a:gd name="T9" fmla="*/ 2147483647 h 12"/>
                <a:gd name="T10" fmla="*/ 2147483647 w 18"/>
                <a:gd name="T11" fmla="*/ 2147483647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12"/>
                <a:gd name="T20" fmla="*/ 18 w 18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12">
                  <a:moveTo>
                    <a:pt x="13" y="7"/>
                  </a:moveTo>
                  <a:cubicBezTo>
                    <a:pt x="13" y="9"/>
                    <a:pt x="9" y="11"/>
                    <a:pt x="7" y="11"/>
                  </a:cubicBezTo>
                  <a:cubicBezTo>
                    <a:pt x="6" y="12"/>
                    <a:pt x="0" y="10"/>
                    <a:pt x="0" y="8"/>
                  </a:cubicBezTo>
                  <a:cubicBezTo>
                    <a:pt x="1" y="7"/>
                    <a:pt x="10" y="1"/>
                    <a:pt x="12" y="1"/>
                  </a:cubicBezTo>
                  <a:cubicBezTo>
                    <a:pt x="12" y="1"/>
                    <a:pt x="15" y="0"/>
                    <a:pt x="16" y="1"/>
                  </a:cubicBezTo>
                  <a:cubicBezTo>
                    <a:pt x="18" y="1"/>
                    <a:pt x="14" y="5"/>
                    <a:pt x="13" y="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18" name="Freeform 372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2549275" y="1965320"/>
              <a:ext cx="284019" cy="186931"/>
            </a:xfrm>
            <a:custGeom>
              <a:avLst/>
              <a:gdLst>
                <a:gd name="T0" fmla="*/ 2147483647 w 81"/>
                <a:gd name="T1" fmla="*/ 2147483647 h 51"/>
                <a:gd name="T2" fmla="*/ 2147483647 w 81"/>
                <a:gd name="T3" fmla="*/ 2147483647 h 51"/>
                <a:gd name="T4" fmla="*/ 2147483647 w 81"/>
                <a:gd name="T5" fmla="*/ 2147483647 h 51"/>
                <a:gd name="T6" fmla="*/ 2147483647 w 81"/>
                <a:gd name="T7" fmla="*/ 2147483647 h 51"/>
                <a:gd name="T8" fmla="*/ 2147483647 w 81"/>
                <a:gd name="T9" fmla="*/ 2147483647 h 51"/>
                <a:gd name="T10" fmla="*/ 2147483647 w 81"/>
                <a:gd name="T11" fmla="*/ 2147483647 h 51"/>
                <a:gd name="T12" fmla="*/ 2147483647 w 81"/>
                <a:gd name="T13" fmla="*/ 0 h 51"/>
                <a:gd name="T14" fmla="*/ 2147483647 w 81"/>
                <a:gd name="T15" fmla="*/ 2147483647 h 51"/>
                <a:gd name="T16" fmla="*/ 2147483647 w 81"/>
                <a:gd name="T17" fmla="*/ 2147483647 h 51"/>
                <a:gd name="T18" fmla="*/ 2147483647 w 81"/>
                <a:gd name="T19" fmla="*/ 2147483647 h 51"/>
                <a:gd name="T20" fmla="*/ 2147483647 w 81"/>
                <a:gd name="T21" fmla="*/ 2147483647 h 51"/>
                <a:gd name="T22" fmla="*/ 2147483647 w 81"/>
                <a:gd name="T23" fmla="*/ 2147483647 h 51"/>
                <a:gd name="T24" fmla="*/ 2147483647 w 81"/>
                <a:gd name="T25" fmla="*/ 2147483647 h 51"/>
                <a:gd name="T26" fmla="*/ 2147483647 w 81"/>
                <a:gd name="T27" fmla="*/ 2147483647 h 51"/>
                <a:gd name="T28" fmla="*/ 2147483647 w 81"/>
                <a:gd name="T29" fmla="*/ 2147483647 h 51"/>
                <a:gd name="T30" fmla="*/ 2147483647 w 81"/>
                <a:gd name="T31" fmla="*/ 2147483647 h 51"/>
                <a:gd name="T32" fmla="*/ 2147483647 w 81"/>
                <a:gd name="T33" fmla="*/ 2147483647 h 51"/>
                <a:gd name="T34" fmla="*/ 2147483647 w 81"/>
                <a:gd name="T35" fmla="*/ 2147483647 h 51"/>
                <a:gd name="T36" fmla="*/ 2147483647 w 81"/>
                <a:gd name="T37" fmla="*/ 2147483647 h 51"/>
                <a:gd name="T38" fmla="*/ 2147483647 w 81"/>
                <a:gd name="T39" fmla="*/ 2147483647 h 5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1"/>
                <a:gd name="T61" fmla="*/ 0 h 51"/>
                <a:gd name="T62" fmla="*/ 81 w 81"/>
                <a:gd name="T63" fmla="*/ 51 h 5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1" h="51">
                  <a:moveTo>
                    <a:pt x="7" y="28"/>
                  </a:moveTo>
                  <a:cubicBezTo>
                    <a:pt x="8" y="26"/>
                    <a:pt x="14" y="17"/>
                    <a:pt x="15" y="16"/>
                  </a:cubicBezTo>
                  <a:cubicBezTo>
                    <a:pt x="16" y="15"/>
                    <a:pt x="18" y="14"/>
                    <a:pt x="18" y="12"/>
                  </a:cubicBezTo>
                  <a:cubicBezTo>
                    <a:pt x="18" y="11"/>
                    <a:pt x="11" y="11"/>
                    <a:pt x="10" y="9"/>
                  </a:cubicBezTo>
                  <a:cubicBezTo>
                    <a:pt x="10" y="8"/>
                    <a:pt x="7" y="4"/>
                    <a:pt x="8" y="3"/>
                  </a:cubicBezTo>
                  <a:cubicBezTo>
                    <a:pt x="9" y="3"/>
                    <a:pt x="22" y="1"/>
                    <a:pt x="24" y="1"/>
                  </a:cubicBezTo>
                  <a:cubicBezTo>
                    <a:pt x="27" y="1"/>
                    <a:pt x="34" y="0"/>
                    <a:pt x="35" y="0"/>
                  </a:cubicBezTo>
                  <a:cubicBezTo>
                    <a:pt x="36" y="0"/>
                    <a:pt x="44" y="6"/>
                    <a:pt x="47" y="6"/>
                  </a:cubicBezTo>
                  <a:cubicBezTo>
                    <a:pt x="49" y="7"/>
                    <a:pt x="61" y="5"/>
                    <a:pt x="63" y="5"/>
                  </a:cubicBezTo>
                  <a:cubicBezTo>
                    <a:pt x="65" y="5"/>
                    <a:pt x="81" y="14"/>
                    <a:pt x="81" y="16"/>
                  </a:cubicBezTo>
                  <a:cubicBezTo>
                    <a:pt x="80" y="17"/>
                    <a:pt x="54" y="27"/>
                    <a:pt x="52" y="27"/>
                  </a:cubicBezTo>
                  <a:cubicBezTo>
                    <a:pt x="51" y="28"/>
                    <a:pt x="50" y="34"/>
                    <a:pt x="48" y="34"/>
                  </a:cubicBezTo>
                  <a:cubicBezTo>
                    <a:pt x="47" y="34"/>
                    <a:pt x="43" y="34"/>
                    <a:pt x="42" y="35"/>
                  </a:cubicBezTo>
                  <a:cubicBezTo>
                    <a:pt x="42" y="36"/>
                    <a:pt x="44" y="43"/>
                    <a:pt x="41" y="44"/>
                  </a:cubicBezTo>
                  <a:cubicBezTo>
                    <a:pt x="38" y="46"/>
                    <a:pt x="34" y="46"/>
                    <a:pt x="33" y="46"/>
                  </a:cubicBezTo>
                  <a:cubicBezTo>
                    <a:pt x="32" y="46"/>
                    <a:pt x="27" y="51"/>
                    <a:pt x="24" y="51"/>
                  </a:cubicBezTo>
                  <a:cubicBezTo>
                    <a:pt x="22" y="51"/>
                    <a:pt x="19" y="51"/>
                    <a:pt x="19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4" y="43"/>
                    <a:pt x="4" y="38"/>
                    <a:pt x="2" y="38"/>
                  </a:cubicBezTo>
                  <a:cubicBezTo>
                    <a:pt x="0" y="38"/>
                    <a:pt x="5" y="29"/>
                    <a:pt x="7" y="2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19" name="Freeform 373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2627483" y="1790372"/>
              <a:ext cx="203753" cy="98258"/>
            </a:xfrm>
            <a:custGeom>
              <a:avLst/>
              <a:gdLst>
                <a:gd name="T0" fmla="*/ 2147483647 w 58"/>
                <a:gd name="T1" fmla="*/ 2147483647 h 27"/>
                <a:gd name="T2" fmla="*/ 2147483647 w 58"/>
                <a:gd name="T3" fmla="*/ 2147483647 h 27"/>
                <a:gd name="T4" fmla="*/ 2147483647 w 58"/>
                <a:gd name="T5" fmla="*/ 2147483647 h 27"/>
                <a:gd name="T6" fmla="*/ 2147483647 w 58"/>
                <a:gd name="T7" fmla="*/ 2147483647 h 27"/>
                <a:gd name="T8" fmla="*/ 2147483647 w 58"/>
                <a:gd name="T9" fmla="*/ 2147483647 h 27"/>
                <a:gd name="T10" fmla="*/ 2147483647 w 58"/>
                <a:gd name="T11" fmla="*/ 0 h 27"/>
                <a:gd name="T12" fmla="*/ 2147483647 w 58"/>
                <a:gd name="T13" fmla="*/ 2147483647 h 27"/>
                <a:gd name="T14" fmla="*/ 2147483647 w 58"/>
                <a:gd name="T15" fmla="*/ 2147483647 h 27"/>
                <a:gd name="T16" fmla="*/ 2147483647 w 58"/>
                <a:gd name="T17" fmla="*/ 2147483647 h 27"/>
                <a:gd name="T18" fmla="*/ 2147483647 w 58"/>
                <a:gd name="T19" fmla="*/ 2147483647 h 27"/>
                <a:gd name="T20" fmla="*/ 2147483647 w 58"/>
                <a:gd name="T21" fmla="*/ 2147483647 h 27"/>
                <a:gd name="T22" fmla="*/ 2147483647 w 58"/>
                <a:gd name="T23" fmla="*/ 2147483647 h 27"/>
                <a:gd name="T24" fmla="*/ 2147483647 w 58"/>
                <a:gd name="T25" fmla="*/ 2147483647 h 27"/>
                <a:gd name="T26" fmla="*/ 2147483647 w 58"/>
                <a:gd name="T27" fmla="*/ 2147483647 h 27"/>
                <a:gd name="T28" fmla="*/ 2147483647 w 58"/>
                <a:gd name="T29" fmla="*/ 2147483647 h 27"/>
                <a:gd name="T30" fmla="*/ 2147483647 w 58"/>
                <a:gd name="T31" fmla="*/ 2147483647 h 27"/>
                <a:gd name="T32" fmla="*/ 2147483647 w 58"/>
                <a:gd name="T33" fmla="*/ 2147483647 h 27"/>
                <a:gd name="T34" fmla="*/ 2147483647 w 58"/>
                <a:gd name="T35" fmla="*/ 2147483647 h 27"/>
                <a:gd name="T36" fmla="*/ 2147483647 w 58"/>
                <a:gd name="T37" fmla="*/ 2147483647 h 27"/>
                <a:gd name="T38" fmla="*/ 2147483647 w 58"/>
                <a:gd name="T39" fmla="*/ 2147483647 h 27"/>
                <a:gd name="T40" fmla="*/ 2147483647 w 58"/>
                <a:gd name="T41" fmla="*/ 2147483647 h 27"/>
                <a:gd name="T42" fmla="*/ 2147483647 w 58"/>
                <a:gd name="T43" fmla="*/ 2147483647 h 2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58"/>
                <a:gd name="T67" fmla="*/ 0 h 27"/>
                <a:gd name="T68" fmla="*/ 58 w 58"/>
                <a:gd name="T69" fmla="*/ 27 h 2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58" h="27">
                  <a:moveTo>
                    <a:pt x="4" y="19"/>
                  </a:moveTo>
                  <a:cubicBezTo>
                    <a:pt x="6" y="18"/>
                    <a:pt x="10" y="20"/>
                    <a:pt x="12" y="18"/>
                  </a:cubicBezTo>
                  <a:cubicBezTo>
                    <a:pt x="14" y="17"/>
                    <a:pt x="14" y="15"/>
                    <a:pt x="16" y="14"/>
                  </a:cubicBezTo>
                  <a:cubicBezTo>
                    <a:pt x="17" y="12"/>
                    <a:pt x="28" y="5"/>
                    <a:pt x="30" y="4"/>
                  </a:cubicBezTo>
                  <a:cubicBezTo>
                    <a:pt x="32" y="4"/>
                    <a:pt x="44" y="6"/>
                    <a:pt x="45" y="5"/>
                  </a:cubicBezTo>
                  <a:cubicBezTo>
                    <a:pt x="47" y="3"/>
                    <a:pt x="46" y="0"/>
                    <a:pt x="49" y="0"/>
                  </a:cubicBezTo>
                  <a:cubicBezTo>
                    <a:pt x="52" y="0"/>
                    <a:pt x="58" y="4"/>
                    <a:pt x="58" y="4"/>
                  </a:cubicBezTo>
                  <a:cubicBezTo>
                    <a:pt x="58" y="5"/>
                    <a:pt x="51" y="6"/>
                    <a:pt x="51" y="7"/>
                  </a:cubicBezTo>
                  <a:cubicBezTo>
                    <a:pt x="51" y="8"/>
                    <a:pt x="56" y="12"/>
                    <a:pt x="55" y="13"/>
                  </a:cubicBezTo>
                  <a:cubicBezTo>
                    <a:pt x="54" y="14"/>
                    <a:pt x="50" y="16"/>
                    <a:pt x="48" y="16"/>
                  </a:cubicBezTo>
                  <a:cubicBezTo>
                    <a:pt x="46" y="16"/>
                    <a:pt x="46" y="20"/>
                    <a:pt x="42" y="19"/>
                  </a:cubicBezTo>
                  <a:cubicBezTo>
                    <a:pt x="39" y="18"/>
                    <a:pt x="39" y="16"/>
                    <a:pt x="39" y="14"/>
                  </a:cubicBezTo>
                  <a:cubicBezTo>
                    <a:pt x="39" y="12"/>
                    <a:pt x="36" y="13"/>
                    <a:pt x="34" y="14"/>
                  </a:cubicBezTo>
                  <a:cubicBezTo>
                    <a:pt x="33" y="15"/>
                    <a:pt x="34" y="19"/>
                    <a:pt x="32" y="20"/>
                  </a:cubicBezTo>
                  <a:cubicBezTo>
                    <a:pt x="29" y="21"/>
                    <a:pt x="29" y="24"/>
                    <a:pt x="27" y="24"/>
                  </a:cubicBezTo>
                  <a:cubicBezTo>
                    <a:pt x="25" y="24"/>
                    <a:pt x="22" y="27"/>
                    <a:pt x="21" y="27"/>
                  </a:cubicBezTo>
                  <a:cubicBezTo>
                    <a:pt x="20" y="27"/>
                    <a:pt x="18" y="21"/>
                    <a:pt x="16" y="22"/>
                  </a:cubicBezTo>
                  <a:cubicBezTo>
                    <a:pt x="14" y="23"/>
                    <a:pt x="14" y="27"/>
                    <a:pt x="12" y="27"/>
                  </a:cubicBezTo>
                  <a:cubicBezTo>
                    <a:pt x="10" y="27"/>
                    <a:pt x="8" y="25"/>
                    <a:pt x="7" y="26"/>
                  </a:cubicBezTo>
                  <a:cubicBezTo>
                    <a:pt x="5" y="26"/>
                    <a:pt x="5" y="27"/>
                    <a:pt x="4" y="27"/>
                  </a:cubicBezTo>
                  <a:cubicBezTo>
                    <a:pt x="2" y="26"/>
                    <a:pt x="1" y="25"/>
                    <a:pt x="1" y="25"/>
                  </a:cubicBezTo>
                  <a:cubicBezTo>
                    <a:pt x="0" y="23"/>
                    <a:pt x="2" y="19"/>
                    <a:pt x="4" y="1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20" name="Freeform 374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2477241" y="3034179"/>
              <a:ext cx="146126" cy="86276"/>
            </a:xfrm>
            <a:custGeom>
              <a:avLst/>
              <a:gdLst>
                <a:gd name="T0" fmla="*/ 2147483647 w 42"/>
                <a:gd name="T1" fmla="*/ 2147483647 h 23"/>
                <a:gd name="T2" fmla="*/ 2147483647 w 42"/>
                <a:gd name="T3" fmla="*/ 2147483647 h 23"/>
                <a:gd name="T4" fmla="*/ 2147483647 w 42"/>
                <a:gd name="T5" fmla="*/ 2147483647 h 23"/>
                <a:gd name="T6" fmla="*/ 2147483647 w 42"/>
                <a:gd name="T7" fmla="*/ 2147483647 h 23"/>
                <a:gd name="T8" fmla="*/ 2147483647 w 42"/>
                <a:gd name="T9" fmla="*/ 2147483647 h 23"/>
                <a:gd name="T10" fmla="*/ 2147483647 w 42"/>
                <a:gd name="T11" fmla="*/ 2147483647 h 23"/>
                <a:gd name="T12" fmla="*/ 2147483647 w 42"/>
                <a:gd name="T13" fmla="*/ 2147483647 h 23"/>
                <a:gd name="T14" fmla="*/ 2147483647 w 42"/>
                <a:gd name="T15" fmla="*/ 2147483647 h 23"/>
                <a:gd name="T16" fmla="*/ 2147483647 w 42"/>
                <a:gd name="T17" fmla="*/ 2147483647 h 23"/>
                <a:gd name="T18" fmla="*/ 2147483647 w 42"/>
                <a:gd name="T19" fmla="*/ 2147483647 h 23"/>
                <a:gd name="T20" fmla="*/ 2147483647 w 42"/>
                <a:gd name="T21" fmla="*/ 2147483647 h 23"/>
                <a:gd name="T22" fmla="*/ 2147483647 w 42"/>
                <a:gd name="T23" fmla="*/ 2147483647 h 23"/>
                <a:gd name="T24" fmla="*/ 2147483647 w 42"/>
                <a:gd name="T25" fmla="*/ 2147483647 h 2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2"/>
                <a:gd name="T40" fmla="*/ 0 h 23"/>
                <a:gd name="T41" fmla="*/ 42 w 42"/>
                <a:gd name="T42" fmla="*/ 23 h 2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2" h="23">
                  <a:moveTo>
                    <a:pt x="2" y="1"/>
                  </a:moveTo>
                  <a:cubicBezTo>
                    <a:pt x="4" y="0"/>
                    <a:pt x="6" y="0"/>
                    <a:pt x="7" y="1"/>
                  </a:cubicBezTo>
                  <a:cubicBezTo>
                    <a:pt x="8" y="2"/>
                    <a:pt x="12" y="5"/>
                    <a:pt x="14" y="5"/>
                  </a:cubicBezTo>
                  <a:cubicBezTo>
                    <a:pt x="16" y="6"/>
                    <a:pt x="19" y="7"/>
                    <a:pt x="21" y="8"/>
                  </a:cubicBezTo>
                  <a:cubicBezTo>
                    <a:pt x="24" y="9"/>
                    <a:pt x="26" y="11"/>
                    <a:pt x="29" y="13"/>
                  </a:cubicBezTo>
                  <a:cubicBezTo>
                    <a:pt x="31" y="16"/>
                    <a:pt x="38" y="18"/>
                    <a:pt x="40" y="19"/>
                  </a:cubicBezTo>
                  <a:cubicBezTo>
                    <a:pt x="42" y="20"/>
                    <a:pt x="42" y="23"/>
                    <a:pt x="42" y="23"/>
                  </a:cubicBezTo>
                  <a:cubicBezTo>
                    <a:pt x="41" y="23"/>
                    <a:pt x="40" y="23"/>
                    <a:pt x="39" y="23"/>
                  </a:cubicBezTo>
                  <a:cubicBezTo>
                    <a:pt x="38" y="23"/>
                    <a:pt x="37" y="23"/>
                    <a:pt x="37" y="23"/>
                  </a:cubicBezTo>
                  <a:cubicBezTo>
                    <a:pt x="35" y="23"/>
                    <a:pt x="26" y="21"/>
                    <a:pt x="23" y="20"/>
                  </a:cubicBezTo>
                  <a:cubicBezTo>
                    <a:pt x="20" y="19"/>
                    <a:pt x="12" y="12"/>
                    <a:pt x="10" y="10"/>
                  </a:cubicBezTo>
                  <a:cubicBezTo>
                    <a:pt x="9" y="8"/>
                    <a:pt x="4" y="6"/>
                    <a:pt x="3" y="4"/>
                  </a:cubicBezTo>
                  <a:cubicBezTo>
                    <a:pt x="2" y="2"/>
                    <a:pt x="0" y="2"/>
                    <a:pt x="2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21" name="Freeform 375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2353754" y="2911956"/>
              <a:ext cx="69976" cy="93465"/>
            </a:xfrm>
            <a:custGeom>
              <a:avLst/>
              <a:gdLst>
                <a:gd name="T0" fmla="*/ 2147483647 w 20"/>
                <a:gd name="T1" fmla="*/ 2147483647 h 25"/>
                <a:gd name="T2" fmla="*/ 2147483647 w 20"/>
                <a:gd name="T3" fmla="*/ 2147483647 h 25"/>
                <a:gd name="T4" fmla="*/ 0 w 20"/>
                <a:gd name="T5" fmla="*/ 2147483647 h 25"/>
                <a:gd name="T6" fmla="*/ 2147483647 w 20"/>
                <a:gd name="T7" fmla="*/ 0 h 25"/>
                <a:gd name="T8" fmla="*/ 2147483647 w 20"/>
                <a:gd name="T9" fmla="*/ 0 h 25"/>
                <a:gd name="T10" fmla="*/ 2147483647 w 20"/>
                <a:gd name="T11" fmla="*/ 2147483647 h 25"/>
                <a:gd name="T12" fmla="*/ 2147483647 w 20"/>
                <a:gd name="T13" fmla="*/ 2147483647 h 25"/>
                <a:gd name="T14" fmla="*/ 2147483647 w 20"/>
                <a:gd name="T15" fmla="*/ 2147483647 h 25"/>
                <a:gd name="T16" fmla="*/ 2147483647 w 20"/>
                <a:gd name="T17" fmla="*/ 2147483647 h 25"/>
                <a:gd name="T18" fmla="*/ 2147483647 w 20"/>
                <a:gd name="T19" fmla="*/ 2147483647 h 25"/>
                <a:gd name="T20" fmla="*/ 2147483647 w 20"/>
                <a:gd name="T21" fmla="*/ 2147483647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25"/>
                <a:gd name="T35" fmla="*/ 20 w 20"/>
                <a:gd name="T36" fmla="*/ 25 h 2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25">
                  <a:moveTo>
                    <a:pt x="10" y="18"/>
                  </a:moveTo>
                  <a:cubicBezTo>
                    <a:pt x="7" y="16"/>
                    <a:pt x="1" y="9"/>
                    <a:pt x="1" y="7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0" y="0"/>
                    <a:pt x="11" y="0"/>
                  </a:cubicBezTo>
                  <a:cubicBezTo>
                    <a:pt x="11" y="1"/>
                    <a:pt x="10" y="3"/>
                    <a:pt x="10" y="5"/>
                  </a:cubicBezTo>
                  <a:cubicBezTo>
                    <a:pt x="10" y="8"/>
                    <a:pt x="12" y="11"/>
                    <a:pt x="13" y="12"/>
                  </a:cubicBezTo>
                  <a:cubicBezTo>
                    <a:pt x="14" y="14"/>
                    <a:pt x="15" y="16"/>
                    <a:pt x="16" y="17"/>
                  </a:cubicBezTo>
                  <a:cubicBezTo>
                    <a:pt x="17" y="18"/>
                    <a:pt x="19" y="22"/>
                    <a:pt x="19" y="22"/>
                  </a:cubicBezTo>
                  <a:cubicBezTo>
                    <a:pt x="20" y="23"/>
                    <a:pt x="19" y="24"/>
                    <a:pt x="19" y="24"/>
                  </a:cubicBezTo>
                  <a:cubicBezTo>
                    <a:pt x="18" y="25"/>
                    <a:pt x="12" y="21"/>
                    <a:pt x="10" y="1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22" name="Freeform 376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2127362" y="1986889"/>
              <a:ext cx="2296850" cy="1354048"/>
            </a:xfrm>
            <a:custGeom>
              <a:avLst/>
              <a:gdLst>
                <a:gd name="T0" fmla="*/ 2147483647 w 654"/>
                <a:gd name="T1" fmla="*/ 2147483647 h 367"/>
                <a:gd name="T2" fmla="*/ 2147483647 w 654"/>
                <a:gd name="T3" fmla="*/ 2147483647 h 367"/>
                <a:gd name="T4" fmla="*/ 2147483647 w 654"/>
                <a:gd name="T5" fmla="*/ 2147483647 h 367"/>
                <a:gd name="T6" fmla="*/ 2147483647 w 654"/>
                <a:gd name="T7" fmla="*/ 2147483647 h 367"/>
                <a:gd name="T8" fmla="*/ 2147483647 w 654"/>
                <a:gd name="T9" fmla="*/ 2147483647 h 367"/>
                <a:gd name="T10" fmla="*/ 2147483647 w 654"/>
                <a:gd name="T11" fmla="*/ 2147483647 h 367"/>
                <a:gd name="T12" fmla="*/ 2147483647 w 654"/>
                <a:gd name="T13" fmla="*/ 2147483647 h 367"/>
                <a:gd name="T14" fmla="*/ 2147483647 w 654"/>
                <a:gd name="T15" fmla="*/ 2147483647 h 367"/>
                <a:gd name="T16" fmla="*/ 2147483647 w 654"/>
                <a:gd name="T17" fmla="*/ 2147483647 h 367"/>
                <a:gd name="T18" fmla="*/ 2147483647 w 654"/>
                <a:gd name="T19" fmla="*/ 2147483647 h 367"/>
                <a:gd name="T20" fmla="*/ 2147483647 w 654"/>
                <a:gd name="T21" fmla="*/ 2147483647 h 367"/>
                <a:gd name="T22" fmla="*/ 2147483647 w 654"/>
                <a:gd name="T23" fmla="*/ 2147483647 h 367"/>
                <a:gd name="T24" fmla="*/ 2147483647 w 654"/>
                <a:gd name="T25" fmla="*/ 2147483647 h 367"/>
                <a:gd name="T26" fmla="*/ 2147483647 w 654"/>
                <a:gd name="T27" fmla="*/ 2147483647 h 367"/>
                <a:gd name="T28" fmla="*/ 2147483647 w 654"/>
                <a:gd name="T29" fmla="*/ 2147483647 h 367"/>
                <a:gd name="T30" fmla="*/ 2147483647 w 654"/>
                <a:gd name="T31" fmla="*/ 2147483647 h 367"/>
                <a:gd name="T32" fmla="*/ 2147483647 w 654"/>
                <a:gd name="T33" fmla="*/ 2147483647 h 367"/>
                <a:gd name="T34" fmla="*/ 2147483647 w 654"/>
                <a:gd name="T35" fmla="*/ 2147483647 h 367"/>
                <a:gd name="T36" fmla="*/ 2147483647 w 654"/>
                <a:gd name="T37" fmla="*/ 2147483647 h 367"/>
                <a:gd name="T38" fmla="*/ 2147483647 w 654"/>
                <a:gd name="T39" fmla="*/ 2147483647 h 367"/>
                <a:gd name="T40" fmla="*/ 2147483647 w 654"/>
                <a:gd name="T41" fmla="*/ 2147483647 h 367"/>
                <a:gd name="T42" fmla="*/ 2147483647 w 654"/>
                <a:gd name="T43" fmla="*/ 2147483647 h 367"/>
                <a:gd name="T44" fmla="*/ 2147483647 w 654"/>
                <a:gd name="T45" fmla="*/ 2147483647 h 367"/>
                <a:gd name="T46" fmla="*/ 2147483647 w 654"/>
                <a:gd name="T47" fmla="*/ 2147483647 h 367"/>
                <a:gd name="T48" fmla="*/ 2147483647 w 654"/>
                <a:gd name="T49" fmla="*/ 2147483647 h 367"/>
                <a:gd name="T50" fmla="*/ 2147483647 w 654"/>
                <a:gd name="T51" fmla="*/ 2147483647 h 367"/>
                <a:gd name="T52" fmla="*/ 2147483647 w 654"/>
                <a:gd name="T53" fmla="*/ 2147483647 h 367"/>
                <a:gd name="T54" fmla="*/ 2147483647 w 654"/>
                <a:gd name="T55" fmla="*/ 2147483647 h 367"/>
                <a:gd name="T56" fmla="*/ 2147483647 w 654"/>
                <a:gd name="T57" fmla="*/ 2147483647 h 367"/>
                <a:gd name="T58" fmla="*/ 2147483647 w 654"/>
                <a:gd name="T59" fmla="*/ 2147483647 h 367"/>
                <a:gd name="T60" fmla="*/ 2147483647 w 654"/>
                <a:gd name="T61" fmla="*/ 2147483647 h 367"/>
                <a:gd name="T62" fmla="*/ 2147483647 w 654"/>
                <a:gd name="T63" fmla="*/ 2147483647 h 367"/>
                <a:gd name="T64" fmla="*/ 2147483647 w 654"/>
                <a:gd name="T65" fmla="*/ 2147483647 h 367"/>
                <a:gd name="T66" fmla="*/ 2147483647 w 654"/>
                <a:gd name="T67" fmla="*/ 2147483647 h 367"/>
                <a:gd name="T68" fmla="*/ 2147483647 w 654"/>
                <a:gd name="T69" fmla="*/ 2147483647 h 367"/>
                <a:gd name="T70" fmla="*/ 2147483647 w 654"/>
                <a:gd name="T71" fmla="*/ 2147483647 h 367"/>
                <a:gd name="T72" fmla="*/ 2147483647 w 654"/>
                <a:gd name="T73" fmla="*/ 2147483647 h 367"/>
                <a:gd name="T74" fmla="*/ 2147483647 w 654"/>
                <a:gd name="T75" fmla="*/ 2147483647 h 367"/>
                <a:gd name="T76" fmla="*/ 2147483647 w 654"/>
                <a:gd name="T77" fmla="*/ 2147483647 h 367"/>
                <a:gd name="T78" fmla="*/ 2147483647 w 654"/>
                <a:gd name="T79" fmla="*/ 2147483647 h 367"/>
                <a:gd name="T80" fmla="*/ 2147483647 w 654"/>
                <a:gd name="T81" fmla="*/ 2147483647 h 367"/>
                <a:gd name="T82" fmla="*/ 2147483647 w 654"/>
                <a:gd name="T83" fmla="*/ 2147483647 h 367"/>
                <a:gd name="T84" fmla="*/ 2147483647 w 654"/>
                <a:gd name="T85" fmla="*/ 2147483647 h 367"/>
                <a:gd name="T86" fmla="*/ 2147483647 w 654"/>
                <a:gd name="T87" fmla="*/ 2147483647 h 367"/>
                <a:gd name="T88" fmla="*/ 2147483647 w 654"/>
                <a:gd name="T89" fmla="*/ 2147483647 h 367"/>
                <a:gd name="T90" fmla="*/ 2147483647 w 654"/>
                <a:gd name="T91" fmla="*/ 2147483647 h 367"/>
                <a:gd name="T92" fmla="*/ 2147483647 w 654"/>
                <a:gd name="T93" fmla="*/ 2147483647 h 367"/>
                <a:gd name="T94" fmla="*/ 2147483647 w 654"/>
                <a:gd name="T95" fmla="*/ 2147483647 h 367"/>
                <a:gd name="T96" fmla="*/ 2147483647 w 654"/>
                <a:gd name="T97" fmla="*/ 2147483647 h 367"/>
                <a:gd name="T98" fmla="*/ 2147483647 w 654"/>
                <a:gd name="T99" fmla="*/ 2147483647 h 367"/>
                <a:gd name="T100" fmla="*/ 2147483647 w 654"/>
                <a:gd name="T101" fmla="*/ 2147483647 h 367"/>
                <a:gd name="T102" fmla="*/ 2147483647 w 654"/>
                <a:gd name="T103" fmla="*/ 2147483647 h 367"/>
                <a:gd name="T104" fmla="*/ 2147483647 w 654"/>
                <a:gd name="T105" fmla="*/ 2147483647 h 367"/>
                <a:gd name="T106" fmla="*/ 2147483647 w 654"/>
                <a:gd name="T107" fmla="*/ 2147483647 h 367"/>
                <a:gd name="T108" fmla="*/ 2147483647 w 654"/>
                <a:gd name="T109" fmla="*/ 2147483647 h 367"/>
                <a:gd name="T110" fmla="*/ 2147483647 w 654"/>
                <a:gd name="T111" fmla="*/ 2147483647 h 367"/>
                <a:gd name="T112" fmla="*/ 2147483647 w 654"/>
                <a:gd name="T113" fmla="*/ 2147483647 h 36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54"/>
                <a:gd name="T172" fmla="*/ 0 h 367"/>
                <a:gd name="T173" fmla="*/ 654 w 654"/>
                <a:gd name="T174" fmla="*/ 367 h 367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54" h="367">
                  <a:moveTo>
                    <a:pt x="1" y="175"/>
                  </a:moveTo>
                  <a:cubicBezTo>
                    <a:pt x="0" y="63"/>
                    <a:pt x="0" y="63"/>
                    <a:pt x="0" y="63"/>
                  </a:cubicBezTo>
                  <a:cubicBezTo>
                    <a:pt x="4" y="65"/>
                    <a:pt x="7" y="66"/>
                    <a:pt x="8" y="66"/>
                  </a:cubicBezTo>
                  <a:cubicBezTo>
                    <a:pt x="11" y="66"/>
                    <a:pt x="16" y="67"/>
                    <a:pt x="20" y="69"/>
                  </a:cubicBezTo>
                  <a:cubicBezTo>
                    <a:pt x="25" y="72"/>
                    <a:pt x="28" y="74"/>
                    <a:pt x="33" y="76"/>
                  </a:cubicBezTo>
                  <a:cubicBezTo>
                    <a:pt x="37" y="78"/>
                    <a:pt x="41" y="78"/>
                    <a:pt x="43" y="78"/>
                  </a:cubicBezTo>
                  <a:cubicBezTo>
                    <a:pt x="45" y="78"/>
                    <a:pt x="41" y="74"/>
                    <a:pt x="39" y="73"/>
                  </a:cubicBezTo>
                  <a:cubicBezTo>
                    <a:pt x="38" y="72"/>
                    <a:pt x="38" y="69"/>
                    <a:pt x="41" y="68"/>
                  </a:cubicBezTo>
                  <a:cubicBezTo>
                    <a:pt x="43" y="68"/>
                    <a:pt x="49" y="65"/>
                    <a:pt x="51" y="65"/>
                  </a:cubicBezTo>
                  <a:cubicBezTo>
                    <a:pt x="53" y="66"/>
                    <a:pt x="60" y="67"/>
                    <a:pt x="62" y="67"/>
                  </a:cubicBezTo>
                  <a:cubicBezTo>
                    <a:pt x="64" y="67"/>
                    <a:pt x="73" y="60"/>
                    <a:pt x="75" y="59"/>
                  </a:cubicBezTo>
                  <a:cubicBezTo>
                    <a:pt x="76" y="58"/>
                    <a:pt x="84" y="54"/>
                    <a:pt x="86" y="55"/>
                  </a:cubicBezTo>
                  <a:cubicBezTo>
                    <a:pt x="87" y="55"/>
                    <a:pt x="89" y="57"/>
                    <a:pt x="89" y="58"/>
                  </a:cubicBezTo>
                  <a:cubicBezTo>
                    <a:pt x="89" y="60"/>
                    <a:pt x="82" y="62"/>
                    <a:pt x="82" y="63"/>
                  </a:cubicBezTo>
                  <a:cubicBezTo>
                    <a:pt x="81" y="64"/>
                    <a:pt x="82" y="66"/>
                    <a:pt x="84" y="66"/>
                  </a:cubicBezTo>
                  <a:cubicBezTo>
                    <a:pt x="85" y="65"/>
                    <a:pt x="94" y="63"/>
                    <a:pt x="96" y="62"/>
                  </a:cubicBezTo>
                  <a:cubicBezTo>
                    <a:pt x="98" y="61"/>
                    <a:pt x="98" y="58"/>
                    <a:pt x="98" y="57"/>
                  </a:cubicBezTo>
                  <a:cubicBezTo>
                    <a:pt x="98" y="55"/>
                    <a:pt x="96" y="52"/>
                    <a:pt x="98" y="51"/>
                  </a:cubicBezTo>
                  <a:cubicBezTo>
                    <a:pt x="100" y="51"/>
                    <a:pt x="104" y="54"/>
                    <a:pt x="106" y="57"/>
                  </a:cubicBezTo>
                  <a:cubicBezTo>
                    <a:pt x="109" y="59"/>
                    <a:pt x="114" y="66"/>
                    <a:pt x="116" y="67"/>
                  </a:cubicBezTo>
                  <a:cubicBezTo>
                    <a:pt x="118" y="68"/>
                    <a:pt x="119" y="60"/>
                    <a:pt x="120" y="60"/>
                  </a:cubicBezTo>
                  <a:cubicBezTo>
                    <a:pt x="121" y="59"/>
                    <a:pt x="127" y="57"/>
                    <a:pt x="128" y="59"/>
                  </a:cubicBezTo>
                  <a:cubicBezTo>
                    <a:pt x="128" y="61"/>
                    <a:pt x="125" y="68"/>
                    <a:pt x="127" y="69"/>
                  </a:cubicBezTo>
                  <a:cubicBezTo>
                    <a:pt x="128" y="71"/>
                    <a:pt x="132" y="69"/>
                    <a:pt x="135" y="69"/>
                  </a:cubicBezTo>
                  <a:cubicBezTo>
                    <a:pt x="137" y="69"/>
                    <a:pt x="137" y="63"/>
                    <a:pt x="138" y="63"/>
                  </a:cubicBezTo>
                  <a:cubicBezTo>
                    <a:pt x="139" y="63"/>
                    <a:pt x="144" y="62"/>
                    <a:pt x="147" y="62"/>
                  </a:cubicBezTo>
                  <a:cubicBezTo>
                    <a:pt x="150" y="63"/>
                    <a:pt x="153" y="64"/>
                    <a:pt x="156" y="66"/>
                  </a:cubicBezTo>
                  <a:cubicBezTo>
                    <a:pt x="160" y="68"/>
                    <a:pt x="172" y="72"/>
                    <a:pt x="175" y="73"/>
                  </a:cubicBezTo>
                  <a:cubicBezTo>
                    <a:pt x="178" y="74"/>
                    <a:pt x="185" y="75"/>
                    <a:pt x="187" y="76"/>
                  </a:cubicBezTo>
                  <a:cubicBezTo>
                    <a:pt x="189" y="77"/>
                    <a:pt x="190" y="74"/>
                    <a:pt x="192" y="74"/>
                  </a:cubicBezTo>
                  <a:cubicBezTo>
                    <a:pt x="194" y="75"/>
                    <a:pt x="202" y="77"/>
                    <a:pt x="204" y="78"/>
                  </a:cubicBezTo>
                  <a:cubicBezTo>
                    <a:pt x="206" y="79"/>
                    <a:pt x="208" y="83"/>
                    <a:pt x="207" y="83"/>
                  </a:cubicBezTo>
                  <a:cubicBezTo>
                    <a:pt x="206" y="84"/>
                    <a:pt x="200" y="84"/>
                    <a:pt x="198" y="84"/>
                  </a:cubicBezTo>
                  <a:cubicBezTo>
                    <a:pt x="197" y="84"/>
                    <a:pt x="196" y="88"/>
                    <a:pt x="197" y="89"/>
                  </a:cubicBezTo>
                  <a:cubicBezTo>
                    <a:pt x="198" y="89"/>
                    <a:pt x="210" y="90"/>
                    <a:pt x="212" y="90"/>
                  </a:cubicBezTo>
                  <a:cubicBezTo>
                    <a:pt x="214" y="90"/>
                    <a:pt x="230" y="88"/>
                    <a:pt x="232" y="88"/>
                  </a:cubicBezTo>
                  <a:cubicBezTo>
                    <a:pt x="236" y="88"/>
                    <a:pt x="238" y="87"/>
                    <a:pt x="240" y="87"/>
                  </a:cubicBezTo>
                  <a:cubicBezTo>
                    <a:pt x="244" y="88"/>
                    <a:pt x="250" y="105"/>
                    <a:pt x="256" y="105"/>
                  </a:cubicBezTo>
                  <a:cubicBezTo>
                    <a:pt x="256" y="105"/>
                    <a:pt x="257" y="102"/>
                    <a:pt x="256" y="99"/>
                  </a:cubicBezTo>
                  <a:cubicBezTo>
                    <a:pt x="251" y="88"/>
                    <a:pt x="260" y="88"/>
                    <a:pt x="258" y="85"/>
                  </a:cubicBezTo>
                  <a:cubicBezTo>
                    <a:pt x="256" y="84"/>
                    <a:pt x="249" y="85"/>
                    <a:pt x="249" y="84"/>
                  </a:cubicBezTo>
                  <a:cubicBezTo>
                    <a:pt x="251" y="78"/>
                    <a:pt x="264" y="77"/>
                    <a:pt x="266" y="77"/>
                  </a:cubicBezTo>
                  <a:cubicBezTo>
                    <a:pt x="269" y="77"/>
                    <a:pt x="272" y="78"/>
                    <a:pt x="273" y="79"/>
                  </a:cubicBezTo>
                  <a:cubicBezTo>
                    <a:pt x="275" y="81"/>
                    <a:pt x="278" y="84"/>
                    <a:pt x="280" y="85"/>
                  </a:cubicBezTo>
                  <a:cubicBezTo>
                    <a:pt x="282" y="87"/>
                    <a:pt x="286" y="85"/>
                    <a:pt x="289" y="85"/>
                  </a:cubicBezTo>
                  <a:cubicBezTo>
                    <a:pt x="291" y="85"/>
                    <a:pt x="292" y="88"/>
                    <a:pt x="294" y="89"/>
                  </a:cubicBezTo>
                  <a:cubicBezTo>
                    <a:pt x="297" y="91"/>
                    <a:pt x="300" y="91"/>
                    <a:pt x="302" y="91"/>
                  </a:cubicBezTo>
                  <a:cubicBezTo>
                    <a:pt x="305" y="91"/>
                    <a:pt x="310" y="89"/>
                    <a:pt x="312" y="89"/>
                  </a:cubicBezTo>
                  <a:cubicBezTo>
                    <a:pt x="314" y="89"/>
                    <a:pt x="316" y="90"/>
                    <a:pt x="318" y="91"/>
                  </a:cubicBezTo>
                  <a:cubicBezTo>
                    <a:pt x="320" y="92"/>
                    <a:pt x="324" y="91"/>
                    <a:pt x="326" y="90"/>
                  </a:cubicBezTo>
                  <a:cubicBezTo>
                    <a:pt x="327" y="88"/>
                    <a:pt x="322" y="86"/>
                    <a:pt x="323" y="85"/>
                  </a:cubicBezTo>
                  <a:cubicBezTo>
                    <a:pt x="323" y="84"/>
                    <a:pt x="322" y="82"/>
                    <a:pt x="324" y="82"/>
                  </a:cubicBezTo>
                  <a:cubicBezTo>
                    <a:pt x="326" y="82"/>
                    <a:pt x="329" y="80"/>
                    <a:pt x="329" y="78"/>
                  </a:cubicBezTo>
                  <a:cubicBezTo>
                    <a:pt x="329" y="77"/>
                    <a:pt x="324" y="76"/>
                    <a:pt x="321" y="76"/>
                  </a:cubicBezTo>
                  <a:cubicBezTo>
                    <a:pt x="318" y="76"/>
                    <a:pt x="317" y="73"/>
                    <a:pt x="318" y="72"/>
                  </a:cubicBezTo>
                  <a:cubicBezTo>
                    <a:pt x="320" y="71"/>
                    <a:pt x="325" y="69"/>
                    <a:pt x="326" y="68"/>
                  </a:cubicBezTo>
                  <a:cubicBezTo>
                    <a:pt x="327" y="68"/>
                    <a:pt x="328" y="61"/>
                    <a:pt x="329" y="61"/>
                  </a:cubicBezTo>
                  <a:cubicBezTo>
                    <a:pt x="331" y="62"/>
                    <a:pt x="335" y="65"/>
                    <a:pt x="336" y="66"/>
                  </a:cubicBezTo>
                  <a:cubicBezTo>
                    <a:pt x="338" y="67"/>
                    <a:pt x="340" y="68"/>
                    <a:pt x="342" y="68"/>
                  </a:cubicBezTo>
                  <a:cubicBezTo>
                    <a:pt x="344" y="68"/>
                    <a:pt x="345" y="71"/>
                    <a:pt x="345" y="72"/>
                  </a:cubicBezTo>
                  <a:cubicBezTo>
                    <a:pt x="346" y="74"/>
                    <a:pt x="347" y="77"/>
                    <a:pt x="347" y="77"/>
                  </a:cubicBezTo>
                  <a:cubicBezTo>
                    <a:pt x="346" y="78"/>
                    <a:pt x="338" y="78"/>
                    <a:pt x="337" y="78"/>
                  </a:cubicBezTo>
                  <a:cubicBezTo>
                    <a:pt x="335" y="78"/>
                    <a:pt x="334" y="80"/>
                    <a:pt x="335" y="81"/>
                  </a:cubicBezTo>
                  <a:cubicBezTo>
                    <a:pt x="336" y="82"/>
                    <a:pt x="344" y="83"/>
                    <a:pt x="343" y="84"/>
                  </a:cubicBezTo>
                  <a:cubicBezTo>
                    <a:pt x="343" y="85"/>
                    <a:pt x="340" y="92"/>
                    <a:pt x="341" y="94"/>
                  </a:cubicBezTo>
                  <a:cubicBezTo>
                    <a:pt x="342" y="95"/>
                    <a:pt x="351" y="97"/>
                    <a:pt x="351" y="96"/>
                  </a:cubicBezTo>
                  <a:cubicBezTo>
                    <a:pt x="351" y="94"/>
                    <a:pt x="348" y="91"/>
                    <a:pt x="348" y="90"/>
                  </a:cubicBezTo>
                  <a:cubicBezTo>
                    <a:pt x="348" y="88"/>
                    <a:pt x="349" y="87"/>
                    <a:pt x="350" y="86"/>
                  </a:cubicBezTo>
                  <a:cubicBezTo>
                    <a:pt x="350" y="85"/>
                    <a:pt x="354" y="86"/>
                    <a:pt x="356" y="86"/>
                  </a:cubicBezTo>
                  <a:cubicBezTo>
                    <a:pt x="357" y="85"/>
                    <a:pt x="362" y="83"/>
                    <a:pt x="362" y="81"/>
                  </a:cubicBezTo>
                  <a:cubicBezTo>
                    <a:pt x="362" y="80"/>
                    <a:pt x="363" y="78"/>
                    <a:pt x="363" y="77"/>
                  </a:cubicBezTo>
                  <a:cubicBezTo>
                    <a:pt x="362" y="76"/>
                    <a:pt x="359" y="77"/>
                    <a:pt x="358" y="77"/>
                  </a:cubicBezTo>
                  <a:cubicBezTo>
                    <a:pt x="357" y="77"/>
                    <a:pt x="358" y="75"/>
                    <a:pt x="358" y="73"/>
                  </a:cubicBezTo>
                  <a:cubicBezTo>
                    <a:pt x="359" y="72"/>
                    <a:pt x="363" y="70"/>
                    <a:pt x="363" y="69"/>
                  </a:cubicBezTo>
                  <a:cubicBezTo>
                    <a:pt x="363" y="68"/>
                    <a:pt x="361" y="67"/>
                    <a:pt x="359" y="67"/>
                  </a:cubicBezTo>
                  <a:cubicBezTo>
                    <a:pt x="358" y="67"/>
                    <a:pt x="356" y="64"/>
                    <a:pt x="355" y="64"/>
                  </a:cubicBezTo>
                  <a:cubicBezTo>
                    <a:pt x="354" y="64"/>
                    <a:pt x="349" y="63"/>
                    <a:pt x="347" y="63"/>
                  </a:cubicBezTo>
                  <a:cubicBezTo>
                    <a:pt x="345" y="63"/>
                    <a:pt x="342" y="60"/>
                    <a:pt x="341" y="58"/>
                  </a:cubicBezTo>
                  <a:cubicBezTo>
                    <a:pt x="339" y="57"/>
                    <a:pt x="342" y="54"/>
                    <a:pt x="343" y="53"/>
                  </a:cubicBezTo>
                  <a:cubicBezTo>
                    <a:pt x="344" y="52"/>
                    <a:pt x="342" y="51"/>
                    <a:pt x="341" y="50"/>
                  </a:cubicBezTo>
                  <a:cubicBezTo>
                    <a:pt x="340" y="49"/>
                    <a:pt x="341" y="45"/>
                    <a:pt x="342" y="43"/>
                  </a:cubicBezTo>
                  <a:cubicBezTo>
                    <a:pt x="342" y="41"/>
                    <a:pt x="346" y="44"/>
                    <a:pt x="347" y="43"/>
                  </a:cubicBezTo>
                  <a:cubicBezTo>
                    <a:pt x="347" y="43"/>
                    <a:pt x="347" y="41"/>
                    <a:pt x="348" y="41"/>
                  </a:cubicBezTo>
                  <a:cubicBezTo>
                    <a:pt x="349" y="40"/>
                    <a:pt x="344" y="39"/>
                    <a:pt x="346" y="37"/>
                  </a:cubicBezTo>
                  <a:cubicBezTo>
                    <a:pt x="348" y="35"/>
                    <a:pt x="350" y="28"/>
                    <a:pt x="350" y="25"/>
                  </a:cubicBezTo>
                  <a:cubicBezTo>
                    <a:pt x="350" y="23"/>
                    <a:pt x="348" y="21"/>
                    <a:pt x="347" y="21"/>
                  </a:cubicBezTo>
                  <a:cubicBezTo>
                    <a:pt x="345" y="20"/>
                    <a:pt x="347" y="17"/>
                    <a:pt x="347" y="16"/>
                  </a:cubicBezTo>
                  <a:cubicBezTo>
                    <a:pt x="348" y="15"/>
                    <a:pt x="347" y="12"/>
                    <a:pt x="347" y="10"/>
                  </a:cubicBezTo>
                  <a:cubicBezTo>
                    <a:pt x="347" y="8"/>
                    <a:pt x="351" y="10"/>
                    <a:pt x="353" y="9"/>
                  </a:cubicBezTo>
                  <a:cubicBezTo>
                    <a:pt x="354" y="8"/>
                    <a:pt x="351" y="6"/>
                    <a:pt x="350" y="5"/>
                  </a:cubicBezTo>
                  <a:cubicBezTo>
                    <a:pt x="349" y="3"/>
                    <a:pt x="352" y="1"/>
                    <a:pt x="354" y="0"/>
                  </a:cubicBezTo>
                  <a:cubicBezTo>
                    <a:pt x="357" y="0"/>
                    <a:pt x="365" y="0"/>
                    <a:pt x="368" y="0"/>
                  </a:cubicBezTo>
                  <a:cubicBezTo>
                    <a:pt x="370" y="0"/>
                    <a:pt x="371" y="4"/>
                    <a:pt x="373" y="4"/>
                  </a:cubicBezTo>
                  <a:cubicBezTo>
                    <a:pt x="376" y="4"/>
                    <a:pt x="378" y="2"/>
                    <a:pt x="382" y="2"/>
                  </a:cubicBezTo>
                  <a:cubicBezTo>
                    <a:pt x="385" y="3"/>
                    <a:pt x="390" y="4"/>
                    <a:pt x="389" y="5"/>
                  </a:cubicBezTo>
                  <a:cubicBezTo>
                    <a:pt x="389" y="6"/>
                    <a:pt x="383" y="11"/>
                    <a:pt x="381" y="13"/>
                  </a:cubicBezTo>
                  <a:cubicBezTo>
                    <a:pt x="380" y="16"/>
                    <a:pt x="377" y="18"/>
                    <a:pt x="375" y="20"/>
                  </a:cubicBezTo>
                  <a:cubicBezTo>
                    <a:pt x="372" y="21"/>
                    <a:pt x="361" y="18"/>
                    <a:pt x="360" y="19"/>
                  </a:cubicBezTo>
                  <a:cubicBezTo>
                    <a:pt x="358" y="19"/>
                    <a:pt x="359" y="22"/>
                    <a:pt x="361" y="22"/>
                  </a:cubicBezTo>
                  <a:cubicBezTo>
                    <a:pt x="363" y="23"/>
                    <a:pt x="364" y="27"/>
                    <a:pt x="363" y="28"/>
                  </a:cubicBezTo>
                  <a:cubicBezTo>
                    <a:pt x="362" y="30"/>
                    <a:pt x="358" y="32"/>
                    <a:pt x="358" y="34"/>
                  </a:cubicBezTo>
                  <a:cubicBezTo>
                    <a:pt x="358" y="36"/>
                    <a:pt x="363" y="38"/>
                    <a:pt x="367" y="40"/>
                  </a:cubicBezTo>
                  <a:cubicBezTo>
                    <a:pt x="370" y="43"/>
                    <a:pt x="368" y="46"/>
                    <a:pt x="368" y="48"/>
                  </a:cubicBezTo>
                  <a:cubicBezTo>
                    <a:pt x="368" y="50"/>
                    <a:pt x="370" y="50"/>
                    <a:pt x="372" y="51"/>
                  </a:cubicBezTo>
                  <a:cubicBezTo>
                    <a:pt x="375" y="51"/>
                    <a:pt x="378" y="55"/>
                    <a:pt x="377" y="56"/>
                  </a:cubicBezTo>
                  <a:cubicBezTo>
                    <a:pt x="377" y="57"/>
                    <a:pt x="369" y="63"/>
                    <a:pt x="370" y="64"/>
                  </a:cubicBezTo>
                  <a:cubicBezTo>
                    <a:pt x="370" y="64"/>
                    <a:pt x="377" y="66"/>
                    <a:pt x="379" y="65"/>
                  </a:cubicBezTo>
                  <a:cubicBezTo>
                    <a:pt x="380" y="64"/>
                    <a:pt x="385" y="66"/>
                    <a:pt x="387" y="67"/>
                  </a:cubicBezTo>
                  <a:cubicBezTo>
                    <a:pt x="388" y="69"/>
                    <a:pt x="384" y="69"/>
                    <a:pt x="386" y="73"/>
                  </a:cubicBezTo>
                  <a:cubicBezTo>
                    <a:pt x="389" y="76"/>
                    <a:pt x="383" y="81"/>
                    <a:pt x="390" y="81"/>
                  </a:cubicBezTo>
                  <a:cubicBezTo>
                    <a:pt x="391" y="80"/>
                    <a:pt x="392" y="74"/>
                    <a:pt x="392" y="74"/>
                  </a:cubicBezTo>
                  <a:cubicBezTo>
                    <a:pt x="392" y="73"/>
                    <a:pt x="395" y="69"/>
                    <a:pt x="397" y="69"/>
                  </a:cubicBezTo>
                  <a:cubicBezTo>
                    <a:pt x="398" y="69"/>
                    <a:pt x="405" y="74"/>
                    <a:pt x="407" y="76"/>
                  </a:cubicBezTo>
                  <a:cubicBezTo>
                    <a:pt x="408" y="79"/>
                    <a:pt x="408" y="83"/>
                    <a:pt x="407" y="84"/>
                  </a:cubicBezTo>
                  <a:cubicBezTo>
                    <a:pt x="406" y="85"/>
                    <a:pt x="403" y="82"/>
                    <a:pt x="403" y="85"/>
                  </a:cubicBezTo>
                  <a:cubicBezTo>
                    <a:pt x="403" y="89"/>
                    <a:pt x="408" y="96"/>
                    <a:pt x="410" y="96"/>
                  </a:cubicBezTo>
                  <a:cubicBezTo>
                    <a:pt x="413" y="97"/>
                    <a:pt x="417" y="96"/>
                    <a:pt x="417" y="94"/>
                  </a:cubicBezTo>
                  <a:cubicBezTo>
                    <a:pt x="417" y="93"/>
                    <a:pt x="419" y="91"/>
                    <a:pt x="419" y="89"/>
                  </a:cubicBezTo>
                  <a:cubicBezTo>
                    <a:pt x="420" y="88"/>
                    <a:pt x="422" y="83"/>
                    <a:pt x="422" y="81"/>
                  </a:cubicBezTo>
                  <a:cubicBezTo>
                    <a:pt x="422" y="79"/>
                    <a:pt x="429" y="78"/>
                    <a:pt x="429" y="78"/>
                  </a:cubicBezTo>
                  <a:cubicBezTo>
                    <a:pt x="429" y="77"/>
                    <a:pt x="429" y="75"/>
                    <a:pt x="428" y="73"/>
                  </a:cubicBezTo>
                  <a:cubicBezTo>
                    <a:pt x="427" y="72"/>
                    <a:pt x="423" y="67"/>
                    <a:pt x="424" y="66"/>
                  </a:cubicBezTo>
                  <a:cubicBezTo>
                    <a:pt x="426" y="64"/>
                    <a:pt x="430" y="63"/>
                    <a:pt x="432" y="63"/>
                  </a:cubicBezTo>
                  <a:cubicBezTo>
                    <a:pt x="434" y="63"/>
                    <a:pt x="438" y="65"/>
                    <a:pt x="440" y="65"/>
                  </a:cubicBezTo>
                  <a:cubicBezTo>
                    <a:pt x="442" y="65"/>
                    <a:pt x="446" y="66"/>
                    <a:pt x="447" y="67"/>
                  </a:cubicBezTo>
                  <a:cubicBezTo>
                    <a:pt x="448" y="68"/>
                    <a:pt x="456" y="71"/>
                    <a:pt x="456" y="72"/>
                  </a:cubicBezTo>
                  <a:cubicBezTo>
                    <a:pt x="457" y="73"/>
                    <a:pt x="457" y="76"/>
                    <a:pt x="457" y="79"/>
                  </a:cubicBezTo>
                  <a:cubicBezTo>
                    <a:pt x="457" y="82"/>
                    <a:pt x="449" y="79"/>
                    <a:pt x="447" y="81"/>
                  </a:cubicBezTo>
                  <a:cubicBezTo>
                    <a:pt x="446" y="82"/>
                    <a:pt x="458" y="92"/>
                    <a:pt x="458" y="94"/>
                  </a:cubicBezTo>
                  <a:cubicBezTo>
                    <a:pt x="458" y="95"/>
                    <a:pt x="456" y="101"/>
                    <a:pt x="455" y="101"/>
                  </a:cubicBezTo>
                  <a:cubicBezTo>
                    <a:pt x="453" y="101"/>
                    <a:pt x="448" y="105"/>
                    <a:pt x="446" y="106"/>
                  </a:cubicBezTo>
                  <a:cubicBezTo>
                    <a:pt x="444" y="106"/>
                    <a:pt x="443" y="107"/>
                    <a:pt x="442" y="108"/>
                  </a:cubicBezTo>
                  <a:cubicBezTo>
                    <a:pt x="440" y="108"/>
                    <a:pt x="444" y="113"/>
                    <a:pt x="438" y="115"/>
                  </a:cubicBezTo>
                  <a:cubicBezTo>
                    <a:pt x="436" y="116"/>
                    <a:pt x="435" y="111"/>
                    <a:pt x="432" y="110"/>
                  </a:cubicBezTo>
                  <a:cubicBezTo>
                    <a:pt x="430" y="109"/>
                    <a:pt x="430" y="105"/>
                    <a:pt x="426" y="104"/>
                  </a:cubicBezTo>
                  <a:cubicBezTo>
                    <a:pt x="423" y="104"/>
                    <a:pt x="416" y="105"/>
                    <a:pt x="415" y="106"/>
                  </a:cubicBezTo>
                  <a:cubicBezTo>
                    <a:pt x="414" y="107"/>
                    <a:pt x="421" y="110"/>
                    <a:pt x="421" y="111"/>
                  </a:cubicBezTo>
                  <a:cubicBezTo>
                    <a:pt x="421" y="112"/>
                    <a:pt x="417" y="116"/>
                    <a:pt x="416" y="117"/>
                  </a:cubicBezTo>
                  <a:cubicBezTo>
                    <a:pt x="415" y="117"/>
                    <a:pt x="407" y="118"/>
                    <a:pt x="405" y="117"/>
                  </a:cubicBezTo>
                  <a:cubicBezTo>
                    <a:pt x="403" y="116"/>
                    <a:pt x="397" y="113"/>
                    <a:pt x="394" y="113"/>
                  </a:cubicBezTo>
                  <a:cubicBezTo>
                    <a:pt x="392" y="113"/>
                    <a:pt x="390" y="113"/>
                    <a:pt x="390" y="114"/>
                  </a:cubicBezTo>
                  <a:cubicBezTo>
                    <a:pt x="389" y="115"/>
                    <a:pt x="392" y="118"/>
                    <a:pt x="394" y="119"/>
                  </a:cubicBezTo>
                  <a:cubicBezTo>
                    <a:pt x="397" y="121"/>
                    <a:pt x="401" y="122"/>
                    <a:pt x="404" y="122"/>
                  </a:cubicBezTo>
                  <a:cubicBezTo>
                    <a:pt x="406" y="122"/>
                    <a:pt x="411" y="122"/>
                    <a:pt x="413" y="123"/>
                  </a:cubicBezTo>
                  <a:cubicBezTo>
                    <a:pt x="413" y="124"/>
                    <a:pt x="414" y="124"/>
                    <a:pt x="413" y="125"/>
                  </a:cubicBezTo>
                  <a:cubicBezTo>
                    <a:pt x="413" y="127"/>
                    <a:pt x="410" y="129"/>
                    <a:pt x="409" y="131"/>
                  </a:cubicBezTo>
                  <a:cubicBezTo>
                    <a:pt x="408" y="133"/>
                    <a:pt x="403" y="137"/>
                    <a:pt x="400" y="138"/>
                  </a:cubicBezTo>
                  <a:cubicBezTo>
                    <a:pt x="398" y="139"/>
                    <a:pt x="393" y="135"/>
                    <a:pt x="392" y="136"/>
                  </a:cubicBezTo>
                  <a:cubicBezTo>
                    <a:pt x="391" y="137"/>
                    <a:pt x="390" y="140"/>
                    <a:pt x="387" y="141"/>
                  </a:cubicBezTo>
                  <a:cubicBezTo>
                    <a:pt x="384" y="142"/>
                    <a:pt x="381" y="142"/>
                    <a:pt x="381" y="143"/>
                  </a:cubicBezTo>
                  <a:cubicBezTo>
                    <a:pt x="381" y="144"/>
                    <a:pt x="385" y="148"/>
                    <a:pt x="385" y="150"/>
                  </a:cubicBezTo>
                  <a:cubicBezTo>
                    <a:pt x="385" y="152"/>
                    <a:pt x="377" y="155"/>
                    <a:pt x="375" y="156"/>
                  </a:cubicBezTo>
                  <a:cubicBezTo>
                    <a:pt x="373" y="157"/>
                    <a:pt x="370" y="158"/>
                    <a:pt x="367" y="160"/>
                  </a:cubicBezTo>
                  <a:cubicBezTo>
                    <a:pt x="365" y="161"/>
                    <a:pt x="367" y="165"/>
                    <a:pt x="366" y="166"/>
                  </a:cubicBezTo>
                  <a:cubicBezTo>
                    <a:pt x="364" y="166"/>
                    <a:pt x="359" y="174"/>
                    <a:pt x="356" y="177"/>
                  </a:cubicBezTo>
                  <a:cubicBezTo>
                    <a:pt x="354" y="181"/>
                    <a:pt x="352" y="194"/>
                    <a:pt x="353" y="194"/>
                  </a:cubicBezTo>
                  <a:cubicBezTo>
                    <a:pt x="353" y="195"/>
                    <a:pt x="354" y="199"/>
                    <a:pt x="355" y="199"/>
                  </a:cubicBezTo>
                  <a:cubicBezTo>
                    <a:pt x="357" y="200"/>
                    <a:pt x="364" y="197"/>
                    <a:pt x="366" y="199"/>
                  </a:cubicBezTo>
                  <a:cubicBezTo>
                    <a:pt x="368" y="202"/>
                    <a:pt x="368" y="208"/>
                    <a:pt x="370" y="210"/>
                  </a:cubicBezTo>
                  <a:cubicBezTo>
                    <a:pt x="372" y="213"/>
                    <a:pt x="369" y="218"/>
                    <a:pt x="370" y="219"/>
                  </a:cubicBezTo>
                  <a:cubicBezTo>
                    <a:pt x="371" y="220"/>
                    <a:pt x="374" y="217"/>
                    <a:pt x="377" y="217"/>
                  </a:cubicBezTo>
                  <a:cubicBezTo>
                    <a:pt x="380" y="217"/>
                    <a:pt x="385" y="216"/>
                    <a:pt x="388" y="217"/>
                  </a:cubicBezTo>
                  <a:cubicBezTo>
                    <a:pt x="391" y="219"/>
                    <a:pt x="398" y="219"/>
                    <a:pt x="401" y="221"/>
                  </a:cubicBezTo>
                  <a:cubicBezTo>
                    <a:pt x="405" y="223"/>
                    <a:pt x="406" y="224"/>
                    <a:pt x="408" y="227"/>
                  </a:cubicBezTo>
                  <a:cubicBezTo>
                    <a:pt x="410" y="231"/>
                    <a:pt x="417" y="230"/>
                    <a:pt x="423" y="234"/>
                  </a:cubicBezTo>
                  <a:cubicBezTo>
                    <a:pt x="430" y="238"/>
                    <a:pt x="434" y="236"/>
                    <a:pt x="439" y="237"/>
                  </a:cubicBezTo>
                  <a:cubicBezTo>
                    <a:pt x="444" y="237"/>
                    <a:pt x="449" y="237"/>
                    <a:pt x="450" y="240"/>
                  </a:cubicBezTo>
                  <a:cubicBezTo>
                    <a:pt x="451" y="242"/>
                    <a:pt x="450" y="255"/>
                    <a:pt x="450" y="259"/>
                  </a:cubicBezTo>
                  <a:cubicBezTo>
                    <a:pt x="450" y="263"/>
                    <a:pt x="451" y="263"/>
                    <a:pt x="453" y="266"/>
                  </a:cubicBezTo>
                  <a:cubicBezTo>
                    <a:pt x="455" y="268"/>
                    <a:pt x="460" y="271"/>
                    <a:pt x="462" y="273"/>
                  </a:cubicBezTo>
                  <a:cubicBezTo>
                    <a:pt x="464" y="275"/>
                    <a:pt x="465" y="280"/>
                    <a:pt x="468" y="279"/>
                  </a:cubicBezTo>
                  <a:cubicBezTo>
                    <a:pt x="471" y="279"/>
                    <a:pt x="476" y="272"/>
                    <a:pt x="477" y="268"/>
                  </a:cubicBezTo>
                  <a:cubicBezTo>
                    <a:pt x="479" y="265"/>
                    <a:pt x="473" y="254"/>
                    <a:pt x="472" y="251"/>
                  </a:cubicBezTo>
                  <a:cubicBezTo>
                    <a:pt x="472" y="247"/>
                    <a:pt x="468" y="243"/>
                    <a:pt x="469" y="242"/>
                  </a:cubicBezTo>
                  <a:cubicBezTo>
                    <a:pt x="470" y="241"/>
                    <a:pt x="475" y="240"/>
                    <a:pt x="477" y="240"/>
                  </a:cubicBezTo>
                  <a:cubicBezTo>
                    <a:pt x="479" y="239"/>
                    <a:pt x="488" y="232"/>
                    <a:pt x="491" y="229"/>
                  </a:cubicBezTo>
                  <a:cubicBezTo>
                    <a:pt x="493" y="226"/>
                    <a:pt x="492" y="218"/>
                    <a:pt x="491" y="214"/>
                  </a:cubicBezTo>
                  <a:cubicBezTo>
                    <a:pt x="491" y="211"/>
                    <a:pt x="485" y="205"/>
                    <a:pt x="483" y="205"/>
                  </a:cubicBezTo>
                  <a:cubicBezTo>
                    <a:pt x="480" y="204"/>
                    <a:pt x="476" y="201"/>
                    <a:pt x="476" y="199"/>
                  </a:cubicBezTo>
                  <a:cubicBezTo>
                    <a:pt x="476" y="196"/>
                    <a:pt x="482" y="192"/>
                    <a:pt x="484" y="190"/>
                  </a:cubicBezTo>
                  <a:cubicBezTo>
                    <a:pt x="485" y="188"/>
                    <a:pt x="484" y="183"/>
                    <a:pt x="484" y="181"/>
                  </a:cubicBezTo>
                  <a:cubicBezTo>
                    <a:pt x="484" y="179"/>
                    <a:pt x="478" y="177"/>
                    <a:pt x="478" y="176"/>
                  </a:cubicBezTo>
                  <a:cubicBezTo>
                    <a:pt x="478" y="175"/>
                    <a:pt x="479" y="174"/>
                    <a:pt x="481" y="173"/>
                  </a:cubicBezTo>
                  <a:cubicBezTo>
                    <a:pt x="484" y="172"/>
                    <a:pt x="483" y="170"/>
                    <a:pt x="481" y="165"/>
                  </a:cubicBezTo>
                  <a:cubicBezTo>
                    <a:pt x="480" y="163"/>
                    <a:pt x="480" y="161"/>
                    <a:pt x="480" y="160"/>
                  </a:cubicBezTo>
                  <a:cubicBezTo>
                    <a:pt x="480" y="157"/>
                    <a:pt x="481" y="155"/>
                    <a:pt x="484" y="155"/>
                  </a:cubicBezTo>
                  <a:cubicBezTo>
                    <a:pt x="489" y="154"/>
                    <a:pt x="503" y="158"/>
                    <a:pt x="508" y="159"/>
                  </a:cubicBezTo>
                  <a:cubicBezTo>
                    <a:pt x="511" y="159"/>
                    <a:pt x="514" y="155"/>
                    <a:pt x="515" y="156"/>
                  </a:cubicBezTo>
                  <a:cubicBezTo>
                    <a:pt x="516" y="157"/>
                    <a:pt x="523" y="159"/>
                    <a:pt x="525" y="161"/>
                  </a:cubicBezTo>
                  <a:cubicBezTo>
                    <a:pt x="527" y="163"/>
                    <a:pt x="529" y="165"/>
                    <a:pt x="531" y="168"/>
                  </a:cubicBezTo>
                  <a:cubicBezTo>
                    <a:pt x="532" y="171"/>
                    <a:pt x="538" y="172"/>
                    <a:pt x="540" y="173"/>
                  </a:cubicBezTo>
                  <a:cubicBezTo>
                    <a:pt x="547" y="174"/>
                    <a:pt x="543" y="167"/>
                    <a:pt x="546" y="169"/>
                  </a:cubicBezTo>
                  <a:cubicBezTo>
                    <a:pt x="547" y="170"/>
                    <a:pt x="548" y="171"/>
                    <a:pt x="549" y="172"/>
                  </a:cubicBezTo>
                  <a:cubicBezTo>
                    <a:pt x="550" y="174"/>
                    <a:pt x="546" y="179"/>
                    <a:pt x="546" y="179"/>
                  </a:cubicBezTo>
                  <a:cubicBezTo>
                    <a:pt x="546" y="179"/>
                    <a:pt x="546" y="181"/>
                    <a:pt x="547" y="183"/>
                  </a:cubicBezTo>
                  <a:cubicBezTo>
                    <a:pt x="547" y="185"/>
                    <a:pt x="547" y="187"/>
                    <a:pt x="547" y="189"/>
                  </a:cubicBezTo>
                  <a:cubicBezTo>
                    <a:pt x="547" y="191"/>
                    <a:pt x="548" y="193"/>
                    <a:pt x="549" y="195"/>
                  </a:cubicBezTo>
                  <a:cubicBezTo>
                    <a:pt x="550" y="197"/>
                    <a:pt x="555" y="196"/>
                    <a:pt x="556" y="197"/>
                  </a:cubicBezTo>
                  <a:cubicBezTo>
                    <a:pt x="557" y="198"/>
                    <a:pt x="559" y="203"/>
                    <a:pt x="561" y="203"/>
                  </a:cubicBezTo>
                  <a:cubicBezTo>
                    <a:pt x="562" y="204"/>
                    <a:pt x="566" y="203"/>
                    <a:pt x="568" y="202"/>
                  </a:cubicBezTo>
                  <a:cubicBezTo>
                    <a:pt x="569" y="202"/>
                    <a:pt x="569" y="198"/>
                    <a:pt x="570" y="198"/>
                  </a:cubicBezTo>
                  <a:cubicBezTo>
                    <a:pt x="571" y="197"/>
                    <a:pt x="574" y="198"/>
                    <a:pt x="575" y="196"/>
                  </a:cubicBezTo>
                  <a:cubicBezTo>
                    <a:pt x="576" y="195"/>
                    <a:pt x="579" y="193"/>
                    <a:pt x="579" y="192"/>
                  </a:cubicBezTo>
                  <a:cubicBezTo>
                    <a:pt x="579" y="190"/>
                    <a:pt x="575" y="187"/>
                    <a:pt x="577" y="186"/>
                  </a:cubicBezTo>
                  <a:cubicBezTo>
                    <a:pt x="578" y="184"/>
                    <a:pt x="579" y="186"/>
                    <a:pt x="580" y="183"/>
                  </a:cubicBezTo>
                  <a:cubicBezTo>
                    <a:pt x="581" y="181"/>
                    <a:pt x="581" y="177"/>
                    <a:pt x="582" y="177"/>
                  </a:cubicBezTo>
                  <a:cubicBezTo>
                    <a:pt x="583" y="177"/>
                    <a:pt x="584" y="176"/>
                    <a:pt x="585" y="176"/>
                  </a:cubicBezTo>
                  <a:cubicBezTo>
                    <a:pt x="585" y="177"/>
                    <a:pt x="586" y="179"/>
                    <a:pt x="586" y="181"/>
                  </a:cubicBezTo>
                  <a:cubicBezTo>
                    <a:pt x="587" y="182"/>
                    <a:pt x="592" y="191"/>
                    <a:pt x="594" y="195"/>
                  </a:cubicBezTo>
                  <a:cubicBezTo>
                    <a:pt x="596" y="198"/>
                    <a:pt x="600" y="203"/>
                    <a:pt x="603" y="205"/>
                  </a:cubicBezTo>
                  <a:cubicBezTo>
                    <a:pt x="605" y="207"/>
                    <a:pt x="602" y="210"/>
                    <a:pt x="605" y="212"/>
                  </a:cubicBezTo>
                  <a:cubicBezTo>
                    <a:pt x="607" y="214"/>
                    <a:pt x="610" y="215"/>
                    <a:pt x="611" y="218"/>
                  </a:cubicBezTo>
                  <a:cubicBezTo>
                    <a:pt x="612" y="222"/>
                    <a:pt x="608" y="224"/>
                    <a:pt x="609" y="226"/>
                  </a:cubicBezTo>
                  <a:cubicBezTo>
                    <a:pt x="609" y="229"/>
                    <a:pt x="615" y="231"/>
                    <a:pt x="617" y="233"/>
                  </a:cubicBezTo>
                  <a:cubicBezTo>
                    <a:pt x="619" y="235"/>
                    <a:pt x="624" y="236"/>
                    <a:pt x="626" y="237"/>
                  </a:cubicBezTo>
                  <a:cubicBezTo>
                    <a:pt x="629" y="239"/>
                    <a:pt x="638" y="241"/>
                    <a:pt x="640" y="241"/>
                  </a:cubicBezTo>
                  <a:cubicBezTo>
                    <a:pt x="642" y="242"/>
                    <a:pt x="641" y="245"/>
                    <a:pt x="640" y="245"/>
                  </a:cubicBezTo>
                  <a:cubicBezTo>
                    <a:pt x="639" y="245"/>
                    <a:pt x="636" y="244"/>
                    <a:pt x="633" y="245"/>
                  </a:cubicBezTo>
                  <a:cubicBezTo>
                    <a:pt x="631" y="246"/>
                    <a:pt x="627" y="248"/>
                    <a:pt x="625" y="248"/>
                  </a:cubicBezTo>
                  <a:cubicBezTo>
                    <a:pt x="624" y="249"/>
                    <a:pt x="621" y="250"/>
                    <a:pt x="620" y="251"/>
                  </a:cubicBezTo>
                  <a:cubicBezTo>
                    <a:pt x="618" y="251"/>
                    <a:pt x="617" y="254"/>
                    <a:pt x="616" y="255"/>
                  </a:cubicBezTo>
                  <a:cubicBezTo>
                    <a:pt x="616" y="256"/>
                    <a:pt x="612" y="259"/>
                    <a:pt x="614" y="259"/>
                  </a:cubicBezTo>
                  <a:cubicBezTo>
                    <a:pt x="618" y="259"/>
                    <a:pt x="618" y="259"/>
                    <a:pt x="618" y="259"/>
                  </a:cubicBezTo>
                  <a:cubicBezTo>
                    <a:pt x="621" y="259"/>
                    <a:pt x="626" y="255"/>
                    <a:pt x="627" y="254"/>
                  </a:cubicBezTo>
                  <a:cubicBezTo>
                    <a:pt x="628" y="253"/>
                    <a:pt x="633" y="250"/>
                    <a:pt x="634" y="250"/>
                  </a:cubicBezTo>
                  <a:cubicBezTo>
                    <a:pt x="636" y="249"/>
                    <a:pt x="639" y="249"/>
                    <a:pt x="640" y="250"/>
                  </a:cubicBezTo>
                  <a:cubicBezTo>
                    <a:pt x="641" y="250"/>
                    <a:pt x="642" y="252"/>
                    <a:pt x="643" y="252"/>
                  </a:cubicBezTo>
                  <a:cubicBezTo>
                    <a:pt x="644" y="253"/>
                    <a:pt x="650" y="254"/>
                    <a:pt x="652" y="256"/>
                  </a:cubicBezTo>
                  <a:cubicBezTo>
                    <a:pt x="654" y="257"/>
                    <a:pt x="652" y="261"/>
                    <a:pt x="652" y="263"/>
                  </a:cubicBezTo>
                  <a:cubicBezTo>
                    <a:pt x="652" y="266"/>
                    <a:pt x="653" y="268"/>
                    <a:pt x="652" y="270"/>
                  </a:cubicBezTo>
                  <a:cubicBezTo>
                    <a:pt x="651" y="271"/>
                    <a:pt x="642" y="276"/>
                    <a:pt x="641" y="276"/>
                  </a:cubicBezTo>
                  <a:cubicBezTo>
                    <a:pt x="639" y="277"/>
                    <a:pt x="632" y="278"/>
                    <a:pt x="631" y="279"/>
                  </a:cubicBezTo>
                  <a:cubicBezTo>
                    <a:pt x="629" y="281"/>
                    <a:pt x="622" y="288"/>
                    <a:pt x="619" y="289"/>
                  </a:cubicBezTo>
                  <a:cubicBezTo>
                    <a:pt x="617" y="289"/>
                    <a:pt x="610" y="290"/>
                    <a:pt x="607" y="290"/>
                  </a:cubicBezTo>
                  <a:cubicBezTo>
                    <a:pt x="605" y="290"/>
                    <a:pt x="600" y="288"/>
                    <a:pt x="598" y="288"/>
                  </a:cubicBezTo>
                  <a:cubicBezTo>
                    <a:pt x="585" y="288"/>
                    <a:pt x="585" y="288"/>
                    <a:pt x="585" y="288"/>
                  </a:cubicBezTo>
                  <a:cubicBezTo>
                    <a:pt x="584" y="288"/>
                    <a:pt x="581" y="290"/>
                    <a:pt x="580" y="291"/>
                  </a:cubicBezTo>
                  <a:cubicBezTo>
                    <a:pt x="579" y="292"/>
                    <a:pt x="581" y="296"/>
                    <a:pt x="584" y="297"/>
                  </a:cubicBezTo>
                  <a:cubicBezTo>
                    <a:pt x="586" y="299"/>
                    <a:pt x="589" y="304"/>
                    <a:pt x="587" y="305"/>
                  </a:cubicBezTo>
                  <a:cubicBezTo>
                    <a:pt x="586" y="306"/>
                    <a:pt x="584" y="306"/>
                    <a:pt x="582" y="308"/>
                  </a:cubicBezTo>
                  <a:cubicBezTo>
                    <a:pt x="580" y="309"/>
                    <a:pt x="578" y="308"/>
                    <a:pt x="577" y="308"/>
                  </a:cubicBezTo>
                  <a:cubicBezTo>
                    <a:pt x="575" y="308"/>
                    <a:pt x="569" y="308"/>
                    <a:pt x="569" y="309"/>
                  </a:cubicBezTo>
                  <a:cubicBezTo>
                    <a:pt x="569" y="310"/>
                    <a:pt x="571" y="311"/>
                    <a:pt x="572" y="311"/>
                  </a:cubicBezTo>
                  <a:cubicBezTo>
                    <a:pt x="574" y="312"/>
                    <a:pt x="575" y="314"/>
                    <a:pt x="577" y="315"/>
                  </a:cubicBezTo>
                  <a:cubicBezTo>
                    <a:pt x="578" y="316"/>
                    <a:pt x="584" y="311"/>
                    <a:pt x="584" y="312"/>
                  </a:cubicBezTo>
                  <a:cubicBezTo>
                    <a:pt x="584" y="313"/>
                    <a:pt x="583" y="314"/>
                    <a:pt x="582" y="316"/>
                  </a:cubicBezTo>
                  <a:cubicBezTo>
                    <a:pt x="582" y="318"/>
                    <a:pt x="583" y="320"/>
                    <a:pt x="586" y="323"/>
                  </a:cubicBezTo>
                  <a:cubicBezTo>
                    <a:pt x="588" y="325"/>
                    <a:pt x="589" y="324"/>
                    <a:pt x="592" y="327"/>
                  </a:cubicBezTo>
                  <a:cubicBezTo>
                    <a:pt x="594" y="330"/>
                    <a:pt x="598" y="331"/>
                    <a:pt x="600" y="331"/>
                  </a:cubicBezTo>
                  <a:cubicBezTo>
                    <a:pt x="603" y="331"/>
                    <a:pt x="607" y="328"/>
                    <a:pt x="609" y="326"/>
                  </a:cubicBezTo>
                  <a:cubicBezTo>
                    <a:pt x="611" y="324"/>
                    <a:pt x="615" y="319"/>
                    <a:pt x="617" y="320"/>
                  </a:cubicBezTo>
                  <a:cubicBezTo>
                    <a:pt x="619" y="320"/>
                    <a:pt x="616" y="324"/>
                    <a:pt x="617" y="326"/>
                  </a:cubicBezTo>
                  <a:cubicBezTo>
                    <a:pt x="618" y="328"/>
                    <a:pt x="622" y="328"/>
                    <a:pt x="622" y="330"/>
                  </a:cubicBezTo>
                  <a:cubicBezTo>
                    <a:pt x="622" y="332"/>
                    <a:pt x="614" y="336"/>
                    <a:pt x="612" y="337"/>
                  </a:cubicBezTo>
                  <a:cubicBezTo>
                    <a:pt x="611" y="338"/>
                    <a:pt x="607" y="340"/>
                    <a:pt x="604" y="341"/>
                  </a:cubicBezTo>
                  <a:cubicBezTo>
                    <a:pt x="600" y="341"/>
                    <a:pt x="590" y="344"/>
                    <a:pt x="588" y="344"/>
                  </a:cubicBezTo>
                  <a:cubicBezTo>
                    <a:pt x="587" y="345"/>
                    <a:pt x="583" y="350"/>
                    <a:pt x="581" y="351"/>
                  </a:cubicBezTo>
                  <a:cubicBezTo>
                    <a:pt x="580" y="352"/>
                    <a:pt x="579" y="355"/>
                    <a:pt x="577" y="355"/>
                  </a:cubicBezTo>
                  <a:cubicBezTo>
                    <a:pt x="576" y="355"/>
                    <a:pt x="575" y="354"/>
                    <a:pt x="573" y="352"/>
                  </a:cubicBezTo>
                  <a:cubicBezTo>
                    <a:pt x="572" y="350"/>
                    <a:pt x="572" y="346"/>
                    <a:pt x="573" y="344"/>
                  </a:cubicBezTo>
                  <a:cubicBezTo>
                    <a:pt x="574" y="342"/>
                    <a:pt x="581" y="338"/>
                    <a:pt x="584" y="337"/>
                  </a:cubicBezTo>
                  <a:cubicBezTo>
                    <a:pt x="587" y="336"/>
                    <a:pt x="590" y="336"/>
                    <a:pt x="588" y="334"/>
                  </a:cubicBezTo>
                  <a:cubicBezTo>
                    <a:pt x="587" y="333"/>
                    <a:pt x="586" y="329"/>
                    <a:pt x="585" y="330"/>
                  </a:cubicBezTo>
                  <a:cubicBezTo>
                    <a:pt x="585" y="330"/>
                    <a:pt x="583" y="332"/>
                    <a:pt x="582" y="333"/>
                  </a:cubicBezTo>
                  <a:cubicBezTo>
                    <a:pt x="580" y="334"/>
                    <a:pt x="572" y="337"/>
                    <a:pt x="570" y="337"/>
                  </a:cubicBezTo>
                  <a:cubicBezTo>
                    <a:pt x="568" y="338"/>
                    <a:pt x="567" y="340"/>
                    <a:pt x="567" y="340"/>
                  </a:cubicBezTo>
                  <a:cubicBezTo>
                    <a:pt x="561" y="331"/>
                    <a:pt x="561" y="331"/>
                    <a:pt x="561" y="331"/>
                  </a:cubicBezTo>
                  <a:cubicBezTo>
                    <a:pt x="561" y="329"/>
                    <a:pt x="561" y="321"/>
                    <a:pt x="560" y="318"/>
                  </a:cubicBezTo>
                  <a:cubicBezTo>
                    <a:pt x="559" y="315"/>
                    <a:pt x="553" y="318"/>
                    <a:pt x="550" y="316"/>
                  </a:cubicBezTo>
                  <a:cubicBezTo>
                    <a:pt x="548" y="315"/>
                    <a:pt x="541" y="330"/>
                    <a:pt x="540" y="333"/>
                  </a:cubicBezTo>
                  <a:cubicBezTo>
                    <a:pt x="539" y="337"/>
                    <a:pt x="532" y="338"/>
                    <a:pt x="532" y="338"/>
                  </a:cubicBezTo>
                  <a:cubicBezTo>
                    <a:pt x="506" y="339"/>
                    <a:pt x="506" y="339"/>
                    <a:pt x="506" y="339"/>
                  </a:cubicBezTo>
                  <a:cubicBezTo>
                    <a:pt x="495" y="349"/>
                    <a:pt x="495" y="349"/>
                    <a:pt x="495" y="349"/>
                  </a:cubicBezTo>
                  <a:cubicBezTo>
                    <a:pt x="495" y="349"/>
                    <a:pt x="495" y="349"/>
                    <a:pt x="495" y="349"/>
                  </a:cubicBezTo>
                  <a:cubicBezTo>
                    <a:pt x="495" y="348"/>
                    <a:pt x="494" y="348"/>
                    <a:pt x="492" y="348"/>
                  </a:cubicBezTo>
                  <a:cubicBezTo>
                    <a:pt x="488" y="348"/>
                    <a:pt x="480" y="348"/>
                    <a:pt x="480" y="348"/>
                  </a:cubicBezTo>
                  <a:cubicBezTo>
                    <a:pt x="476" y="348"/>
                    <a:pt x="474" y="350"/>
                    <a:pt x="473" y="351"/>
                  </a:cubicBezTo>
                  <a:cubicBezTo>
                    <a:pt x="472" y="352"/>
                    <a:pt x="472" y="354"/>
                    <a:pt x="476" y="354"/>
                  </a:cubicBezTo>
                  <a:cubicBezTo>
                    <a:pt x="472" y="359"/>
                    <a:pt x="472" y="359"/>
                    <a:pt x="472" y="359"/>
                  </a:cubicBezTo>
                  <a:cubicBezTo>
                    <a:pt x="470" y="359"/>
                    <a:pt x="467" y="359"/>
                    <a:pt x="466" y="360"/>
                  </a:cubicBezTo>
                  <a:cubicBezTo>
                    <a:pt x="463" y="360"/>
                    <a:pt x="459" y="360"/>
                    <a:pt x="456" y="361"/>
                  </a:cubicBezTo>
                  <a:cubicBezTo>
                    <a:pt x="453" y="362"/>
                    <a:pt x="448" y="367"/>
                    <a:pt x="446" y="367"/>
                  </a:cubicBezTo>
                  <a:cubicBezTo>
                    <a:pt x="446" y="367"/>
                    <a:pt x="445" y="367"/>
                    <a:pt x="444" y="367"/>
                  </a:cubicBezTo>
                  <a:cubicBezTo>
                    <a:pt x="448" y="358"/>
                    <a:pt x="448" y="358"/>
                    <a:pt x="448" y="358"/>
                  </a:cubicBezTo>
                  <a:cubicBezTo>
                    <a:pt x="450" y="360"/>
                    <a:pt x="451" y="357"/>
                    <a:pt x="453" y="356"/>
                  </a:cubicBezTo>
                  <a:cubicBezTo>
                    <a:pt x="455" y="356"/>
                    <a:pt x="455" y="348"/>
                    <a:pt x="455" y="346"/>
                  </a:cubicBezTo>
                  <a:cubicBezTo>
                    <a:pt x="456" y="344"/>
                    <a:pt x="455" y="339"/>
                    <a:pt x="457" y="339"/>
                  </a:cubicBezTo>
                  <a:cubicBezTo>
                    <a:pt x="459" y="338"/>
                    <a:pt x="462" y="344"/>
                    <a:pt x="465" y="345"/>
                  </a:cubicBezTo>
                  <a:cubicBezTo>
                    <a:pt x="468" y="346"/>
                    <a:pt x="468" y="344"/>
                    <a:pt x="468" y="342"/>
                  </a:cubicBezTo>
                  <a:cubicBezTo>
                    <a:pt x="469" y="341"/>
                    <a:pt x="463" y="331"/>
                    <a:pt x="461" y="331"/>
                  </a:cubicBezTo>
                  <a:cubicBezTo>
                    <a:pt x="460" y="331"/>
                    <a:pt x="455" y="329"/>
                    <a:pt x="454" y="329"/>
                  </a:cubicBezTo>
                  <a:cubicBezTo>
                    <a:pt x="452" y="329"/>
                    <a:pt x="453" y="333"/>
                    <a:pt x="451" y="333"/>
                  </a:cubicBezTo>
                  <a:cubicBezTo>
                    <a:pt x="449" y="333"/>
                    <a:pt x="443" y="332"/>
                    <a:pt x="440" y="332"/>
                  </a:cubicBezTo>
                  <a:cubicBezTo>
                    <a:pt x="432" y="325"/>
                    <a:pt x="432" y="325"/>
                    <a:pt x="432" y="325"/>
                  </a:cubicBezTo>
                  <a:cubicBezTo>
                    <a:pt x="434" y="325"/>
                    <a:pt x="431" y="321"/>
                    <a:pt x="431" y="319"/>
                  </a:cubicBezTo>
                  <a:cubicBezTo>
                    <a:pt x="431" y="317"/>
                    <a:pt x="431" y="312"/>
                    <a:pt x="430" y="312"/>
                  </a:cubicBezTo>
                  <a:cubicBezTo>
                    <a:pt x="429" y="312"/>
                    <a:pt x="422" y="312"/>
                    <a:pt x="421" y="311"/>
                  </a:cubicBezTo>
                  <a:cubicBezTo>
                    <a:pt x="419" y="310"/>
                    <a:pt x="420" y="303"/>
                    <a:pt x="417" y="303"/>
                  </a:cubicBezTo>
                  <a:cubicBezTo>
                    <a:pt x="415" y="303"/>
                    <a:pt x="409" y="302"/>
                    <a:pt x="407" y="301"/>
                  </a:cubicBezTo>
                  <a:cubicBezTo>
                    <a:pt x="404" y="300"/>
                    <a:pt x="402" y="302"/>
                    <a:pt x="401" y="303"/>
                  </a:cubicBezTo>
                  <a:cubicBezTo>
                    <a:pt x="401" y="304"/>
                    <a:pt x="395" y="308"/>
                    <a:pt x="394" y="310"/>
                  </a:cubicBezTo>
                  <a:cubicBezTo>
                    <a:pt x="394" y="310"/>
                    <a:pt x="393" y="311"/>
                    <a:pt x="392" y="311"/>
                  </a:cubicBezTo>
                  <a:cubicBezTo>
                    <a:pt x="392" y="311"/>
                    <a:pt x="392" y="311"/>
                    <a:pt x="392" y="311"/>
                  </a:cubicBezTo>
                  <a:cubicBezTo>
                    <a:pt x="392" y="311"/>
                    <a:pt x="388" y="307"/>
                    <a:pt x="386" y="308"/>
                  </a:cubicBezTo>
                  <a:cubicBezTo>
                    <a:pt x="385" y="308"/>
                    <a:pt x="380" y="309"/>
                    <a:pt x="376" y="308"/>
                  </a:cubicBezTo>
                  <a:cubicBezTo>
                    <a:pt x="373" y="307"/>
                    <a:pt x="362" y="306"/>
                    <a:pt x="361" y="306"/>
                  </a:cubicBezTo>
                  <a:cubicBezTo>
                    <a:pt x="360" y="306"/>
                    <a:pt x="356" y="298"/>
                    <a:pt x="356" y="297"/>
                  </a:cubicBezTo>
                  <a:cubicBezTo>
                    <a:pt x="356" y="296"/>
                    <a:pt x="350" y="295"/>
                    <a:pt x="350" y="295"/>
                  </a:cubicBezTo>
                  <a:cubicBezTo>
                    <a:pt x="350" y="295"/>
                    <a:pt x="350" y="301"/>
                    <a:pt x="348" y="301"/>
                  </a:cubicBezTo>
                  <a:cubicBezTo>
                    <a:pt x="142" y="301"/>
                    <a:pt x="142" y="301"/>
                    <a:pt x="142" y="301"/>
                  </a:cubicBezTo>
                  <a:cubicBezTo>
                    <a:pt x="142" y="301"/>
                    <a:pt x="142" y="301"/>
                    <a:pt x="142" y="301"/>
                  </a:cubicBezTo>
                  <a:cubicBezTo>
                    <a:pt x="142" y="301"/>
                    <a:pt x="142" y="301"/>
                    <a:pt x="142" y="300"/>
                  </a:cubicBezTo>
                  <a:cubicBezTo>
                    <a:pt x="141" y="299"/>
                    <a:pt x="139" y="295"/>
                    <a:pt x="137" y="295"/>
                  </a:cubicBezTo>
                  <a:cubicBezTo>
                    <a:pt x="135" y="295"/>
                    <a:pt x="132" y="295"/>
                    <a:pt x="129" y="294"/>
                  </a:cubicBezTo>
                  <a:cubicBezTo>
                    <a:pt x="126" y="292"/>
                    <a:pt x="123" y="289"/>
                    <a:pt x="122" y="288"/>
                  </a:cubicBezTo>
                  <a:cubicBezTo>
                    <a:pt x="122" y="287"/>
                    <a:pt x="116" y="285"/>
                    <a:pt x="115" y="284"/>
                  </a:cubicBezTo>
                  <a:cubicBezTo>
                    <a:pt x="114" y="284"/>
                    <a:pt x="110" y="282"/>
                    <a:pt x="110" y="282"/>
                  </a:cubicBezTo>
                  <a:cubicBezTo>
                    <a:pt x="109" y="281"/>
                    <a:pt x="106" y="279"/>
                    <a:pt x="104" y="279"/>
                  </a:cubicBezTo>
                  <a:cubicBezTo>
                    <a:pt x="103" y="278"/>
                    <a:pt x="102" y="277"/>
                    <a:pt x="100" y="275"/>
                  </a:cubicBezTo>
                  <a:cubicBezTo>
                    <a:pt x="97" y="273"/>
                    <a:pt x="97" y="270"/>
                    <a:pt x="96" y="268"/>
                  </a:cubicBezTo>
                  <a:cubicBezTo>
                    <a:pt x="96" y="266"/>
                    <a:pt x="92" y="263"/>
                    <a:pt x="91" y="261"/>
                  </a:cubicBezTo>
                  <a:cubicBezTo>
                    <a:pt x="90" y="260"/>
                    <a:pt x="87" y="259"/>
                    <a:pt x="84" y="258"/>
                  </a:cubicBezTo>
                  <a:cubicBezTo>
                    <a:pt x="81" y="257"/>
                    <a:pt x="81" y="253"/>
                    <a:pt x="80" y="252"/>
                  </a:cubicBezTo>
                  <a:cubicBezTo>
                    <a:pt x="78" y="250"/>
                    <a:pt x="80" y="250"/>
                    <a:pt x="81" y="249"/>
                  </a:cubicBezTo>
                  <a:cubicBezTo>
                    <a:pt x="82" y="249"/>
                    <a:pt x="84" y="244"/>
                    <a:pt x="84" y="243"/>
                  </a:cubicBezTo>
                  <a:cubicBezTo>
                    <a:pt x="84" y="242"/>
                    <a:pt x="84" y="241"/>
                    <a:pt x="82" y="240"/>
                  </a:cubicBezTo>
                  <a:cubicBezTo>
                    <a:pt x="81" y="239"/>
                    <a:pt x="79" y="242"/>
                    <a:pt x="78" y="241"/>
                  </a:cubicBezTo>
                  <a:cubicBezTo>
                    <a:pt x="77" y="240"/>
                    <a:pt x="78" y="235"/>
                    <a:pt x="78" y="233"/>
                  </a:cubicBezTo>
                  <a:cubicBezTo>
                    <a:pt x="78" y="231"/>
                    <a:pt x="76" y="229"/>
                    <a:pt x="74" y="229"/>
                  </a:cubicBezTo>
                  <a:cubicBezTo>
                    <a:pt x="72" y="228"/>
                    <a:pt x="72" y="234"/>
                    <a:pt x="70" y="234"/>
                  </a:cubicBezTo>
                  <a:cubicBezTo>
                    <a:pt x="69" y="235"/>
                    <a:pt x="68" y="233"/>
                    <a:pt x="66" y="232"/>
                  </a:cubicBezTo>
                  <a:cubicBezTo>
                    <a:pt x="66" y="231"/>
                    <a:pt x="62" y="225"/>
                    <a:pt x="62" y="223"/>
                  </a:cubicBezTo>
                  <a:cubicBezTo>
                    <a:pt x="61" y="220"/>
                    <a:pt x="62" y="219"/>
                    <a:pt x="60" y="218"/>
                  </a:cubicBezTo>
                  <a:cubicBezTo>
                    <a:pt x="59" y="216"/>
                    <a:pt x="59" y="213"/>
                    <a:pt x="58" y="212"/>
                  </a:cubicBezTo>
                  <a:cubicBezTo>
                    <a:pt x="58" y="211"/>
                    <a:pt x="54" y="205"/>
                    <a:pt x="52" y="204"/>
                  </a:cubicBezTo>
                  <a:cubicBezTo>
                    <a:pt x="51" y="203"/>
                    <a:pt x="48" y="194"/>
                    <a:pt x="47" y="193"/>
                  </a:cubicBezTo>
                  <a:cubicBezTo>
                    <a:pt x="46" y="192"/>
                    <a:pt x="46" y="192"/>
                    <a:pt x="45" y="192"/>
                  </a:cubicBezTo>
                  <a:cubicBezTo>
                    <a:pt x="45" y="192"/>
                    <a:pt x="45" y="185"/>
                    <a:pt x="43" y="185"/>
                  </a:cubicBezTo>
                  <a:cubicBezTo>
                    <a:pt x="41" y="184"/>
                    <a:pt x="38" y="186"/>
                    <a:pt x="37" y="186"/>
                  </a:cubicBezTo>
                  <a:cubicBezTo>
                    <a:pt x="36" y="186"/>
                    <a:pt x="29" y="194"/>
                    <a:pt x="29" y="194"/>
                  </a:cubicBezTo>
                  <a:cubicBezTo>
                    <a:pt x="29" y="193"/>
                    <a:pt x="26" y="190"/>
                    <a:pt x="25" y="190"/>
                  </a:cubicBezTo>
                  <a:cubicBezTo>
                    <a:pt x="24" y="189"/>
                    <a:pt x="17" y="183"/>
                    <a:pt x="17" y="183"/>
                  </a:cubicBezTo>
                  <a:cubicBezTo>
                    <a:pt x="17" y="182"/>
                    <a:pt x="19" y="178"/>
                    <a:pt x="18" y="177"/>
                  </a:cubicBezTo>
                  <a:cubicBezTo>
                    <a:pt x="16" y="176"/>
                    <a:pt x="9" y="178"/>
                    <a:pt x="8" y="177"/>
                  </a:cubicBezTo>
                  <a:cubicBezTo>
                    <a:pt x="7" y="177"/>
                    <a:pt x="1" y="175"/>
                    <a:pt x="1" y="17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194" name="Freeform 377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2557533" y="3083992"/>
              <a:ext cx="1555732" cy="806426"/>
            </a:xfrm>
            <a:custGeom>
              <a:avLst/>
              <a:gdLst>
                <a:gd name="T0" fmla="*/ 2147483647 w 443"/>
                <a:gd name="T1" fmla="*/ 2147483647 h 218"/>
                <a:gd name="T2" fmla="*/ 2147483647 w 443"/>
                <a:gd name="T3" fmla="*/ 2147483647 h 218"/>
                <a:gd name="T4" fmla="*/ 2147483647 w 443"/>
                <a:gd name="T5" fmla="*/ 2147483647 h 218"/>
                <a:gd name="T6" fmla="*/ 2147483647 w 443"/>
                <a:gd name="T7" fmla="*/ 2147483647 h 218"/>
                <a:gd name="T8" fmla="*/ 2147483647 w 443"/>
                <a:gd name="T9" fmla="*/ 2147483647 h 218"/>
                <a:gd name="T10" fmla="*/ 2147483647 w 443"/>
                <a:gd name="T11" fmla="*/ 2147483647 h 218"/>
                <a:gd name="T12" fmla="*/ 2147483647 w 443"/>
                <a:gd name="T13" fmla="*/ 2147483647 h 218"/>
                <a:gd name="T14" fmla="*/ 2147483647 w 443"/>
                <a:gd name="T15" fmla="*/ 2147483647 h 218"/>
                <a:gd name="T16" fmla="*/ 2147483647 w 443"/>
                <a:gd name="T17" fmla="*/ 2147483647 h 218"/>
                <a:gd name="T18" fmla="*/ 2147483647 w 443"/>
                <a:gd name="T19" fmla="*/ 2147483647 h 218"/>
                <a:gd name="T20" fmla="*/ 2147483647 w 443"/>
                <a:gd name="T21" fmla="*/ 2147483647 h 218"/>
                <a:gd name="T22" fmla="*/ 2147483647 w 443"/>
                <a:gd name="T23" fmla="*/ 2147483647 h 218"/>
                <a:gd name="T24" fmla="*/ 2147483647 w 443"/>
                <a:gd name="T25" fmla="*/ 2147483647 h 218"/>
                <a:gd name="T26" fmla="*/ 2147483647 w 443"/>
                <a:gd name="T27" fmla="*/ 2147483647 h 218"/>
                <a:gd name="T28" fmla="*/ 2147483647 w 443"/>
                <a:gd name="T29" fmla="*/ 2147483647 h 218"/>
                <a:gd name="T30" fmla="*/ 2147483647 w 443"/>
                <a:gd name="T31" fmla="*/ 2147483647 h 218"/>
                <a:gd name="T32" fmla="*/ 2147483647 w 443"/>
                <a:gd name="T33" fmla="*/ 2147483647 h 218"/>
                <a:gd name="T34" fmla="*/ 2147483647 w 443"/>
                <a:gd name="T35" fmla="*/ 2147483647 h 218"/>
                <a:gd name="T36" fmla="*/ 2147483647 w 443"/>
                <a:gd name="T37" fmla="*/ 2147483647 h 218"/>
                <a:gd name="T38" fmla="*/ 2147483647 w 443"/>
                <a:gd name="T39" fmla="*/ 2147483647 h 218"/>
                <a:gd name="T40" fmla="*/ 2147483647 w 443"/>
                <a:gd name="T41" fmla="*/ 2147483647 h 218"/>
                <a:gd name="T42" fmla="*/ 2147483647 w 443"/>
                <a:gd name="T43" fmla="*/ 2147483647 h 218"/>
                <a:gd name="T44" fmla="*/ 2147483647 w 443"/>
                <a:gd name="T45" fmla="*/ 2147483647 h 218"/>
                <a:gd name="T46" fmla="*/ 2147483647 w 443"/>
                <a:gd name="T47" fmla="*/ 2147483647 h 218"/>
                <a:gd name="T48" fmla="*/ 2147483647 w 443"/>
                <a:gd name="T49" fmla="*/ 2147483647 h 218"/>
                <a:gd name="T50" fmla="*/ 2147483647 w 443"/>
                <a:gd name="T51" fmla="*/ 2147483647 h 218"/>
                <a:gd name="T52" fmla="*/ 2147483647 w 443"/>
                <a:gd name="T53" fmla="*/ 2147483647 h 218"/>
                <a:gd name="T54" fmla="*/ 2147483647 w 443"/>
                <a:gd name="T55" fmla="*/ 2147483647 h 218"/>
                <a:gd name="T56" fmla="*/ 2147483647 w 443"/>
                <a:gd name="T57" fmla="*/ 2147483647 h 218"/>
                <a:gd name="T58" fmla="*/ 2147483647 w 443"/>
                <a:gd name="T59" fmla="*/ 2147483647 h 218"/>
                <a:gd name="T60" fmla="*/ 2147483647 w 443"/>
                <a:gd name="T61" fmla="*/ 2147483647 h 218"/>
                <a:gd name="T62" fmla="*/ 2147483647 w 443"/>
                <a:gd name="T63" fmla="*/ 2147483647 h 218"/>
                <a:gd name="T64" fmla="*/ 2147483647 w 443"/>
                <a:gd name="T65" fmla="*/ 2147483647 h 218"/>
                <a:gd name="T66" fmla="*/ 2147483647 w 443"/>
                <a:gd name="T67" fmla="*/ 2147483647 h 218"/>
                <a:gd name="T68" fmla="*/ 2147483647 w 443"/>
                <a:gd name="T69" fmla="*/ 2147483647 h 218"/>
                <a:gd name="T70" fmla="*/ 2147483647 w 443"/>
                <a:gd name="T71" fmla="*/ 2147483647 h 218"/>
                <a:gd name="T72" fmla="*/ 2147483647 w 443"/>
                <a:gd name="T73" fmla="*/ 2147483647 h 218"/>
                <a:gd name="T74" fmla="*/ 2147483647 w 443"/>
                <a:gd name="T75" fmla="*/ 2147483647 h 218"/>
                <a:gd name="T76" fmla="*/ 2147483647 w 443"/>
                <a:gd name="T77" fmla="*/ 2147483647 h 218"/>
                <a:gd name="T78" fmla="*/ 2147483647 w 443"/>
                <a:gd name="T79" fmla="*/ 2147483647 h 218"/>
                <a:gd name="T80" fmla="*/ 2147483647 w 443"/>
                <a:gd name="T81" fmla="*/ 2147483647 h 218"/>
                <a:gd name="T82" fmla="*/ 2147483647 w 443"/>
                <a:gd name="T83" fmla="*/ 2147483647 h 218"/>
                <a:gd name="T84" fmla="*/ 2147483647 w 443"/>
                <a:gd name="T85" fmla="*/ 2147483647 h 218"/>
                <a:gd name="T86" fmla="*/ 2147483647 w 443"/>
                <a:gd name="T87" fmla="*/ 2147483647 h 218"/>
                <a:gd name="T88" fmla="*/ 2147483647 w 443"/>
                <a:gd name="T89" fmla="*/ 2147483647 h 218"/>
                <a:gd name="T90" fmla="*/ 2147483647 w 443"/>
                <a:gd name="T91" fmla="*/ 2147483647 h 218"/>
                <a:gd name="T92" fmla="*/ 2147483647 w 443"/>
                <a:gd name="T93" fmla="*/ 2147483647 h 218"/>
                <a:gd name="T94" fmla="*/ 2147483647 w 443"/>
                <a:gd name="T95" fmla="*/ 2147483647 h 218"/>
                <a:gd name="T96" fmla="*/ 2147483647 w 443"/>
                <a:gd name="T97" fmla="*/ 2147483647 h 21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43"/>
                <a:gd name="T148" fmla="*/ 0 h 218"/>
                <a:gd name="T149" fmla="*/ 443 w 443"/>
                <a:gd name="T150" fmla="*/ 218 h 218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43" h="218">
                  <a:moveTo>
                    <a:pt x="7" y="19"/>
                  </a:moveTo>
                  <a:cubicBezTo>
                    <a:pt x="8" y="19"/>
                    <a:pt x="11" y="17"/>
                    <a:pt x="13" y="18"/>
                  </a:cubicBezTo>
                  <a:cubicBezTo>
                    <a:pt x="16" y="19"/>
                    <a:pt x="13" y="24"/>
                    <a:pt x="14" y="25"/>
                  </a:cubicBezTo>
                  <a:cubicBezTo>
                    <a:pt x="16" y="26"/>
                    <a:pt x="18" y="25"/>
                    <a:pt x="20" y="23"/>
                  </a:cubicBezTo>
                  <a:cubicBezTo>
                    <a:pt x="20" y="22"/>
                    <a:pt x="18" y="16"/>
                    <a:pt x="19" y="13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224" y="6"/>
                    <a:pt x="224" y="6"/>
                    <a:pt x="224" y="6"/>
                  </a:cubicBezTo>
                  <a:cubicBezTo>
                    <a:pt x="226" y="6"/>
                    <a:pt x="226" y="0"/>
                    <a:pt x="226" y="0"/>
                  </a:cubicBezTo>
                  <a:cubicBezTo>
                    <a:pt x="226" y="0"/>
                    <a:pt x="232" y="1"/>
                    <a:pt x="232" y="2"/>
                  </a:cubicBezTo>
                  <a:cubicBezTo>
                    <a:pt x="232" y="3"/>
                    <a:pt x="236" y="11"/>
                    <a:pt x="237" y="11"/>
                  </a:cubicBezTo>
                  <a:cubicBezTo>
                    <a:pt x="238" y="11"/>
                    <a:pt x="249" y="12"/>
                    <a:pt x="252" y="13"/>
                  </a:cubicBezTo>
                  <a:cubicBezTo>
                    <a:pt x="256" y="14"/>
                    <a:pt x="261" y="13"/>
                    <a:pt x="262" y="13"/>
                  </a:cubicBezTo>
                  <a:cubicBezTo>
                    <a:pt x="264" y="12"/>
                    <a:pt x="268" y="16"/>
                    <a:pt x="268" y="16"/>
                  </a:cubicBezTo>
                  <a:cubicBezTo>
                    <a:pt x="268" y="16"/>
                    <a:pt x="268" y="16"/>
                    <a:pt x="268" y="16"/>
                  </a:cubicBezTo>
                  <a:cubicBezTo>
                    <a:pt x="265" y="18"/>
                    <a:pt x="259" y="19"/>
                    <a:pt x="258" y="20"/>
                  </a:cubicBezTo>
                  <a:cubicBezTo>
                    <a:pt x="257" y="22"/>
                    <a:pt x="249" y="26"/>
                    <a:pt x="250" y="28"/>
                  </a:cubicBezTo>
                  <a:cubicBezTo>
                    <a:pt x="250" y="30"/>
                    <a:pt x="254" y="30"/>
                    <a:pt x="255" y="28"/>
                  </a:cubicBezTo>
                  <a:cubicBezTo>
                    <a:pt x="257" y="27"/>
                    <a:pt x="260" y="28"/>
                    <a:pt x="262" y="30"/>
                  </a:cubicBezTo>
                  <a:cubicBezTo>
                    <a:pt x="263" y="32"/>
                    <a:pt x="269" y="28"/>
                    <a:pt x="273" y="26"/>
                  </a:cubicBezTo>
                  <a:cubicBezTo>
                    <a:pt x="273" y="26"/>
                    <a:pt x="282" y="19"/>
                    <a:pt x="283" y="22"/>
                  </a:cubicBezTo>
                  <a:cubicBezTo>
                    <a:pt x="284" y="24"/>
                    <a:pt x="282" y="26"/>
                    <a:pt x="283" y="28"/>
                  </a:cubicBezTo>
                  <a:cubicBezTo>
                    <a:pt x="285" y="30"/>
                    <a:pt x="288" y="31"/>
                    <a:pt x="291" y="32"/>
                  </a:cubicBezTo>
                  <a:cubicBezTo>
                    <a:pt x="294" y="32"/>
                    <a:pt x="298" y="29"/>
                    <a:pt x="301" y="29"/>
                  </a:cubicBezTo>
                  <a:cubicBezTo>
                    <a:pt x="303" y="28"/>
                    <a:pt x="305" y="30"/>
                    <a:pt x="308" y="30"/>
                  </a:cubicBezTo>
                  <a:cubicBezTo>
                    <a:pt x="316" y="37"/>
                    <a:pt x="316" y="37"/>
                    <a:pt x="316" y="37"/>
                  </a:cubicBezTo>
                  <a:cubicBezTo>
                    <a:pt x="313" y="37"/>
                    <a:pt x="306" y="37"/>
                    <a:pt x="304" y="35"/>
                  </a:cubicBezTo>
                  <a:cubicBezTo>
                    <a:pt x="303" y="34"/>
                    <a:pt x="299" y="35"/>
                    <a:pt x="295" y="36"/>
                  </a:cubicBezTo>
                  <a:cubicBezTo>
                    <a:pt x="292" y="36"/>
                    <a:pt x="289" y="38"/>
                    <a:pt x="287" y="39"/>
                  </a:cubicBezTo>
                  <a:cubicBezTo>
                    <a:pt x="285" y="41"/>
                    <a:pt x="284" y="44"/>
                    <a:pt x="286" y="45"/>
                  </a:cubicBezTo>
                  <a:cubicBezTo>
                    <a:pt x="287" y="46"/>
                    <a:pt x="286" y="49"/>
                    <a:pt x="285" y="51"/>
                  </a:cubicBezTo>
                  <a:cubicBezTo>
                    <a:pt x="284" y="54"/>
                    <a:pt x="283" y="64"/>
                    <a:pt x="283" y="68"/>
                  </a:cubicBezTo>
                  <a:cubicBezTo>
                    <a:pt x="283" y="72"/>
                    <a:pt x="285" y="76"/>
                    <a:pt x="287" y="76"/>
                  </a:cubicBezTo>
                  <a:cubicBezTo>
                    <a:pt x="289" y="77"/>
                    <a:pt x="290" y="76"/>
                    <a:pt x="291" y="75"/>
                  </a:cubicBezTo>
                  <a:cubicBezTo>
                    <a:pt x="293" y="74"/>
                    <a:pt x="294" y="70"/>
                    <a:pt x="295" y="68"/>
                  </a:cubicBezTo>
                  <a:cubicBezTo>
                    <a:pt x="297" y="66"/>
                    <a:pt x="293" y="58"/>
                    <a:pt x="293" y="55"/>
                  </a:cubicBezTo>
                  <a:cubicBezTo>
                    <a:pt x="293" y="52"/>
                    <a:pt x="294" y="48"/>
                    <a:pt x="297" y="47"/>
                  </a:cubicBezTo>
                  <a:cubicBezTo>
                    <a:pt x="301" y="45"/>
                    <a:pt x="303" y="46"/>
                    <a:pt x="303" y="45"/>
                  </a:cubicBezTo>
                  <a:cubicBezTo>
                    <a:pt x="303" y="43"/>
                    <a:pt x="305" y="41"/>
                    <a:pt x="307" y="41"/>
                  </a:cubicBezTo>
                  <a:cubicBezTo>
                    <a:pt x="309" y="41"/>
                    <a:pt x="313" y="42"/>
                    <a:pt x="315" y="43"/>
                  </a:cubicBezTo>
                  <a:cubicBezTo>
                    <a:pt x="317" y="44"/>
                    <a:pt x="316" y="46"/>
                    <a:pt x="316" y="49"/>
                  </a:cubicBezTo>
                  <a:cubicBezTo>
                    <a:pt x="316" y="52"/>
                    <a:pt x="311" y="55"/>
                    <a:pt x="313" y="57"/>
                  </a:cubicBezTo>
                  <a:cubicBezTo>
                    <a:pt x="315" y="60"/>
                    <a:pt x="320" y="55"/>
                    <a:pt x="322" y="54"/>
                  </a:cubicBezTo>
                  <a:cubicBezTo>
                    <a:pt x="323" y="54"/>
                    <a:pt x="322" y="61"/>
                    <a:pt x="324" y="63"/>
                  </a:cubicBezTo>
                  <a:cubicBezTo>
                    <a:pt x="320" y="72"/>
                    <a:pt x="320" y="72"/>
                    <a:pt x="320" y="72"/>
                  </a:cubicBezTo>
                  <a:cubicBezTo>
                    <a:pt x="319" y="72"/>
                    <a:pt x="318" y="72"/>
                    <a:pt x="318" y="73"/>
                  </a:cubicBezTo>
                  <a:cubicBezTo>
                    <a:pt x="316" y="74"/>
                    <a:pt x="319" y="77"/>
                    <a:pt x="320" y="77"/>
                  </a:cubicBezTo>
                  <a:cubicBezTo>
                    <a:pt x="322" y="78"/>
                    <a:pt x="327" y="78"/>
                    <a:pt x="330" y="77"/>
                  </a:cubicBezTo>
                  <a:cubicBezTo>
                    <a:pt x="333" y="75"/>
                    <a:pt x="346" y="69"/>
                    <a:pt x="348" y="68"/>
                  </a:cubicBezTo>
                  <a:cubicBezTo>
                    <a:pt x="350" y="68"/>
                    <a:pt x="352" y="66"/>
                    <a:pt x="351" y="65"/>
                  </a:cubicBezTo>
                  <a:cubicBezTo>
                    <a:pt x="351" y="64"/>
                    <a:pt x="350" y="64"/>
                    <a:pt x="348" y="64"/>
                  </a:cubicBezTo>
                  <a:cubicBezTo>
                    <a:pt x="352" y="59"/>
                    <a:pt x="352" y="59"/>
                    <a:pt x="352" y="59"/>
                  </a:cubicBezTo>
                  <a:cubicBezTo>
                    <a:pt x="355" y="59"/>
                    <a:pt x="364" y="60"/>
                    <a:pt x="366" y="60"/>
                  </a:cubicBezTo>
                  <a:cubicBezTo>
                    <a:pt x="369" y="60"/>
                    <a:pt x="371" y="59"/>
                    <a:pt x="372" y="57"/>
                  </a:cubicBezTo>
                  <a:cubicBezTo>
                    <a:pt x="372" y="56"/>
                    <a:pt x="372" y="54"/>
                    <a:pt x="371" y="54"/>
                  </a:cubicBezTo>
                  <a:cubicBezTo>
                    <a:pt x="371" y="54"/>
                    <a:pt x="371" y="54"/>
                    <a:pt x="371" y="54"/>
                  </a:cubicBezTo>
                  <a:cubicBezTo>
                    <a:pt x="382" y="44"/>
                    <a:pt x="382" y="44"/>
                    <a:pt x="382" y="44"/>
                  </a:cubicBezTo>
                  <a:cubicBezTo>
                    <a:pt x="408" y="43"/>
                    <a:pt x="408" y="43"/>
                    <a:pt x="408" y="43"/>
                  </a:cubicBezTo>
                  <a:cubicBezTo>
                    <a:pt x="408" y="43"/>
                    <a:pt x="415" y="42"/>
                    <a:pt x="416" y="38"/>
                  </a:cubicBezTo>
                  <a:cubicBezTo>
                    <a:pt x="417" y="35"/>
                    <a:pt x="424" y="20"/>
                    <a:pt x="426" y="21"/>
                  </a:cubicBezTo>
                  <a:cubicBezTo>
                    <a:pt x="429" y="23"/>
                    <a:pt x="435" y="20"/>
                    <a:pt x="436" y="23"/>
                  </a:cubicBezTo>
                  <a:cubicBezTo>
                    <a:pt x="437" y="26"/>
                    <a:pt x="437" y="34"/>
                    <a:pt x="437" y="36"/>
                  </a:cubicBezTo>
                  <a:cubicBezTo>
                    <a:pt x="443" y="45"/>
                    <a:pt x="443" y="45"/>
                    <a:pt x="443" y="45"/>
                  </a:cubicBezTo>
                  <a:cubicBezTo>
                    <a:pt x="443" y="46"/>
                    <a:pt x="437" y="50"/>
                    <a:pt x="433" y="51"/>
                  </a:cubicBezTo>
                  <a:cubicBezTo>
                    <a:pt x="430" y="53"/>
                    <a:pt x="424" y="54"/>
                    <a:pt x="422" y="56"/>
                  </a:cubicBezTo>
                  <a:cubicBezTo>
                    <a:pt x="419" y="57"/>
                    <a:pt x="416" y="60"/>
                    <a:pt x="413" y="64"/>
                  </a:cubicBezTo>
                  <a:cubicBezTo>
                    <a:pt x="410" y="68"/>
                    <a:pt x="413" y="71"/>
                    <a:pt x="414" y="72"/>
                  </a:cubicBezTo>
                  <a:cubicBezTo>
                    <a:pt x="415" y="73"/>
                    <a:pt x="418" y="70"/>
                    <a:pt x="418" y="70"/>
                  </a:cubicBezTo>
                  <a:cubicBezTo>
                    <a:pt x="419" y="70"/>
                    <a:pt x="419" y="71"/>
                    <a:pt x="420" y="73"/>
                  </a:cubicBezTo>
                  <a:cubicBezTo>
                    <a:pt x="420" y="74"/>
                    <a:pt x="420" y="77"/>
                    <a:pt x="419" y="77"/>
                  </a:cubicBezTo>
                  <a:cubicBezTo>
                    <a:pt x="418" y="77"/>
                    <a:pt x="416" y="77"/>
                    <a:pt x="413" y="77"/>
                  </a:cubicBezTo>
                  <a:cubicBezTo>
                    <a:pt x="411" y="77"/>
                    <a:pt x="406" y="80"/>
                    <a:pt x="401" y="80"/>
                  </a:cubicBezTo>
                  <a:cubicBezTo>
                    <a:pt x="396" y="80"/>
                    <a:pt x="392" y="84"/>
                    <a:pt x="391" y="85"/>
                  </a:cubicBezTo>
                  <a:cubicBezTo>
                    <a:pt x="390" y="87"/>
                    <a:pt x="389" y="90"/>
                    <a:pt x="389" y="92"/>
                  </a:cubicBezTo>
                  <a:cubicBezTo>
                    <a:pt x="389" y="94"/>
                    <a:pt x="385" y="96"/>
                    <a:pt x="384" y="98"/>
                  </a:cubicBezTo>
                  <a:cubicBezTo>
                    <a:pt x="382" y="99"/>
                    <a:pt x="382" y="102"/>
                    <a:pt x="382" y="105"/>
                  </a:cubicBezTo>
                  <a:cubicBezTo>
                    <a:pt x="382" y="107"/>
                    <a:pt x="379" y="112"/>
                    <a:pt x="379" y="113"/>
                  </a:cubicBezTo>
                  <a:cubicBezTo>
                    <a:pt x="378" y="114"/>
                    <a:pt x="378" y="115"/>
                    <a:pt x="377" y="115"/>
                  </a:cubicBezTo>
                  <a:cubicBezTo>
                    <a:pt x="376" y="115"/>
                    <a:pt x="375" y="113"/>
                    <a:pt x="375" y="111"/>
                  </a:cubicBezTo>
                  <a:cubicBezTo>
                    <a:pt x="375" y="110"/>
                    <a:pt x="374" y="107"/>
                    <a:pt x="374" y="105"/>
                  </a:cubicBezTo>
                  <a:cubicBezTo>
                    <a:pt x="374" y="103"/>
                    <a:pt x="374" y="103"/>
                    <a:pt x="374" y="101"/>
                  </a:cubicBezTo>
                  <a:cubicBezTo>
                    <a:pt x="373" y="98"/>
                    <a:pt x="374" y="96"/>
                    <a:pt x="374" y="95"/>
                  </a:cubicBezTo>
                  <a:cubicBezTo>
                    <a:pt x="374" y="94"/>
                    <a:pt x="372" y="95"/>
                    <a:pt x="370" y="96"/>
                  </a:cubicBezTo>
                  <a:cubicBezTo>
                    <a:pt x="368" y="97"/>
                    <a:pt x="368" y="102"/>
                    <a:pt x="369" y="105"/>
                  </a:cubicBezTo>
                  <a:cubicBezTo>
                    <a:pt x="370" y="108"/>
                    <a:pt x="369" y="111"/>
                    <a:pt x="369" y="114"/>
                  </a:cubicBezTo>
                  <a:cubicBezTo>
                    <a:pt x="369" y="116"/>
                    <a:pt x="373" y="118"/>
                    <a:pt x="373" y="119"/>
                  </a:cubicBezTo>
                  <a:cubicBezTo>
                    <a:pt x="373" y="120"/>
                    <a:pt x="378" y="131"/>
                    <a:pt x="378" y="132"/>
                  </a:cubicBezTo>
                  <a:cubicBezTo>
                    <a:pt x="377" y="134"/>
                    <a:pt x="371" y="136"/>
                    <a:pt x="369" y="136"/>
                  </a:cubicBezTo>
                  <a:cubicBezTo>
                    <a:pt x="367" y="136"/>
                    <a:pt x="363" y="138"/>
                    <a:pt x="361" y="139"/>
                  </a:cubicBezTo>
                  <a:cubicBezTo>
                    <a:pt x="360" y="140"/>
                    <a:pt x="360" y="144"/>
                    <a:pt x="358" y="145"/>
                  </a:cubicBezTo>
                  <a:cubicBezTo>
                    <a:pt x="357" y="146"/>
                    <a:pt x="354" y="143"/>
                    <a:pt x="351" y="145"/>
                  </a:cubicBezTo>
                  <a:cubicBezTo>
                    <a:pt x="348" y="146"/>
                    <a:pt x="349" y="151"/>
                    <a:pt x="349" y="151"/>
                  </a:cubicBezTo>
                  <a:cubicBezTo>
                    <a:pt x="348" y="152"/>
                    <a:pt x="347" y="153"/>
                    <a:pt x="345" y="154"/>
                  </a:cubicBezTo>
                  <a:cubicBezTo>
                    <a:pt x="343" y="156"/>
                    <a:pt x="338" y="157"/>
                    <a:pt x="334" y="164"/>
                  </a:cubicBezTo>
                  <a:cubicBezTo>
                    <a:pt x="330" y="170"/>
                    <a:pt x="334" y="179"/>
                    <a:pt x="335" y="183"/>
                  </a:cubicBezTo>
                  <a:cubicBezTo>
                    <a:pt x="335" y="186"/>
                    <a:pt x="339" y="187"/>
                    <a:pt x="340" y="188"/>
                  </a:cubicBezTo>
                  <a:cubicBezTo>
                    <a:pt x="340" y="190"/>
                    <a:pt x="338" y="192"/>
                    <a:pt x="338" y="193"/>
                  </a:cubicBezTo>
                  <a:cubicBezTo>
                    <a:pt x="338" y="195"/>
                    <a:pt x="339" y="195"/>
                    <a:pt x="342" y="199"/>
                  </a:cubicBezTo>
                  <a:cubicBezTo>
                    <a:pt x="344" y="204"/>
                    <a:pt x="343" y="210"/>
                    <a:pt x="343" y="213"/>
                  </a:cubicBezTo>
                  <a:cubicBezTo>
                    <a:pt x="342" y="216"/>
                    <a:pt x="340" y="218"/>
                    <a:pt x="337" y="218"/>
                  </a:cubicBezTo>
                  <a:cubicBezTo>
                    <a:pt x="336" y="218"/>
                    <a:pt x="336" y="217"/>
                    <a:pt x="336" y="217"/>
                  </a:cubicBezTo>
                  <a:cubicBezTo>
                    <a:pt x="333" y="217"/>
                    <a:pt x="333" y="216"/>
                    <a:pt x="332" y="213"/>
                  </a:cubicBezTo>
                  <a:cubicBezTo>
                    <a:pt x="330" y="211"/>
                    <a:pt x="329" y="210"/>
                    <a:pt x="327" y="207"/>
                  </a:cubicBezTo>
                  <a:cubicBezTo>
                    <a:pt x="325" y="205"/>
                    <a:pt x="321" y="197"/>
                    <a:pt x="321" y="193"/>
                  </a:cubicBezTo>
                  <a:cubicBezTo>
                    <a:pt x="321" y="190"/>
                    <a:pt x="321" y="186"/>
                    <a:pt x="319" y="184"/>
                  </a:cubicBezTo>
                  <a:cubicBezTo>
                    <a:pt x="318" y="182"/>
                    <a:pt x="315" y="178"/>
                    <a:pt x="312" y="177"/>
                  </a:cubicBezTo>
                  <a:cubicBezTo>
                    <a:pt x="309" y="176"/>
                    <a:pt x="308" y="180"/>
                    <a:pt x="306" y="181"/>
                  </a:cubicBezTo>
                  <a:cubicBezTo>
                    <a:pt x="304" y="182"/>
                    <a:pt x="302" y="181"/>
                    <a:pt x="301" y="179"/>
                  </a:cubicBezTo>
                  <a:cubicBezTo>
                    <a:pt x="300" y="177"/>
                    <a:pt x="296" y="174"/>
                    <a:pt x="293" y="174"/>
                  </a:cubicBezTo>
                  <a:cubicBezTo>
                    <a:pt x="291" y="174"/>
                    <a:pt x="285" y="176"/>
                    <a:pt x="279" y="176"/>
                  </a:cubicBezTo>
                  <a:cubicBezTo>
                    <a:pt x="273" y="176"/>
                    <a:pt x="274" y="177"/>
                    <a:pt x="272" y="178"/>
                  </a:cubicBezTo>
                  <a:cubicBezTo>
                    <a:pt x="271" y="179"/>
                    <a:pt x="273" y="183"/>
                    <a:pt x="272" y="184"/>
                  </a:cubicBezTo>
                  <a:cubicBezTo>
                    <a:pt x="270" y="185"/>
                    <a:pt x="267" y="186"/>
                    <a:pt x="264" y="186"/>
                  </a:cubicBezTo>
                  <a:cubicBezTo>
                    <a:pt x="261" y="186"/>
                    <a:pt x="258" y="182"/>
                    <a:pt x="255" y="181"/>
                  </a:cubicBezTo>
                  <a:cubicBezTo>
                    <a:pt x="253" y="180"/>
                    <a:pt x="249" y="182"/>
                    <a:pt x="248" y="182"/>
                  </a:cubicBezTo>
                  <a:cubicBezTo>
                    <a:pt x="247" y="181"/>
                    <a:pt x="246" y="181"/>
                    <a:pt x="242" y="180"/>
                  </a:cubicBezTo>
                  <a:cubicBezTo>
                    <a:pt x="239" y="178"/>
                    <a:pt x="234" y="181"/>
                    <a:pt x="232" y="182"/>
                  </a:cubicBezTo>
                  <a:cubicBezTo>
                    <a:pt x="229" y="183"/>
                    <a:pt x="223" y="188"/>
                    <a:pt x="220" y="189"/>
                  </a:cubicBezTo>
                  <a:cubicBezTo>
                    <a:pt x="218" y="190"/>
                    <a:pt x="209" y="198"/>
                    <a:pt x="209" y="200"/>
                  </a:cubicBezTo>
                  <a:cubicBezTo>
                    <a:pt x="209" y="202"/>
                    <a:pt x="212" y="207"/>
                    <a:pt x="213" y="210"/>
                  </a:cubicBezTo>
                  <a:cubicBezTo>
                    <a:pt x="212" y="210"/>
                    <a:pt x="212" y="210"/>
                    <a:pt x="212" y="210"/>
                  </a:cubicBezTo>
                  <a:cubicBezTo>
                    <a:pt x="207" y="212"/>
                    <a:pt x="207" y="212"/>
                    <a:pt x="207" y="212"/>
                  </a:cubicBezTo>
                  <a:cubicBezTo>
                    <a:pt x="207" y="212"/>
                    <a:pt x="198" y="208"/>
                    <a:pt x="197" y="207"/>
                  </a:cubicBezTo>
                  <a:cubicBezTo>
                    <a:pt x="196" y="206"/>
                    <a:pt x="185" y="182"/>
                    <a:pt x="181" y="180"/>
                  </a:cubicBezTo>
                  <a:cubicBezTo>
                    <a:pt x="176" y="178"/>
                    <a:pt x="173" y="178"/>
                    <a:pt x="171" y="178"/>
                  </a:cubicBezTo>
                  <a:cubicBezTo>
                    <a:pt x="169" y="179"/>
                    <a:pt x="169" y="186"/>
                    <a:pt x="165" y="185"/>
                  </a:cubicBezTo>
                  <a:cubicBezTo>
                    <a:pt x="161" y="183"/>
                    <a:pt x="155" y="181"/>
                    <a:pt x="154" y="177"/>
                  </a:cubicBezTo>
                  <a:cubicBezTo>
                    <a:pt x="153" y="173"/>
                    <a:pt x="152" y="171"/>
                    <a:pt x="149" y="170"/>
                  </a:cubicBezTo>
                  <a:cubicBezTo>
                    <a:pt x="147" y="168"/>
                    <a:pt x="141" y="162"/>
                    <a:pt x="141" y="162"/>
                  </a:cubicBezTo>
                  <a:cubicBezTo>
                    <a:pt x="127" y="162"/>
                    <a:pt x="127" y="162"/>
                    <a:pt x="127" y="162"/>
                  </a:cubicBezTo>
                  <a:cubicBezTo>
                    <a:pt x="127" y="167"/>
                    <a:pt x="127" y="167"/>
                    <a:pt x="127" y="167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77" y="155"/>
                    <a:pt x="77" y="155"/>
                    <a:pt x="77" y="155"/>
                  </a:cubicBezTo>
                  <a:cubicBezTo>
                    <a:pt x="77" y="152"/>
                    <a:pt x="77" y="152"/>
                    <a:pt x="77" y="152"/>
                  </a:cubicBezTo>
                  <a:cubicBezTo>
                    <a:pt x="66" y="154"/>
                    <a:pt x="66" y="154"/>
                    <a:pt x="66" y="154"/>
                  </a:cubicBezTo>
                  <a:cubicBezTo>
                    <a:pt x="59" y="155"/>
                    <a:pt x="59" y="155"/>
                    <a:pt x="59" y="155"/>
                  </a:cubicBezTo>
                  <a:cubicBezTo>
                    <a:pt x="58" y="154"/>
                    <a:pt x="58" y="152"/>
                    <a:pt x="58" y="151"/>
                  </a:cubicBezTo>
                  <a:cubicBezTo>
                    <a:pt x="57" y="148"/>
                    <a:pt x="43" y="141"/>
                    <a:pt x="40" y="140"/>
                  </a:cubicBezTo>
                  <a:cubicBezTo>
                    <a:pt x="38" y="138"/>
                    <a:pt x="34" y="142"/>
                    <a:pt x="33" y="140"/>
                  </a:cubicBezTo>
                  <a:cubicBezTo>
                    <a:pt x="32" y="138"/>
                    <a:pt x="30" y="131"/>
                    <a:pt x="30" y="130"/>
                  </a:cubicBezTo>
                  <a:cubicBezTo>
                    <a:pt x="29" y="129"/>
                    <a:pt x="25" y="125"/>
                    <a:pt x="22" y="122"/>
                  </a:cubicBezTo>
                  <a:cubicBezTo>
                    <a:pt x="20" y="119"/>
                    <a:pt x="17" y="108"/>
                    <a:pt x="15" y="105"/>
                  </a:cubicBezTo>
                  <a:cubicBezTo>
                    <a:pt x="12" y="102"/>
                    <a:pt x="9" y="97"/>
                    <a:pt x="9" y="95"/>
                  </a:cubicBezTo>
                  <a:cubicBezTo>
                    <a:pt x="9" y="93"/>
                    <a:pt x="3" y="89"/>
                    <a:pt x="3" y="87"/>
                  </a:cubicBezTo>
                  <a:cubicBezTo>
                    <a:pt x="3" y="85"/>
                    <a:pt x="6" y="79"/>
                    <a:pt x="6" y="77"/>
                  </a:cubicBezTo>
                  <a:cubicBezTo>
                    <a:pt x="6" y="74"/>
                    <a:pt x="2" y="67"/>
                    <a:pt x="2" y="65"/>
                  </a:cubicBezTo>
                  <a:cubicBezTo>
                    <a:pt x="2" y="62"/>
                    <a:pt x="7" y="43"/>
                    <a:pt x="7" y="38"/>
                  </a:cubicBezTo>
                  <a:cubicBezTo>
                    <a:pt x="7" y="34"/>
                    <a:pt x="5" y="26"/>
                    <a:pt x="4" y="23"/>
                  </a:cubicBezTo>
                  <a:cubicBezTo>
                    <a:pt x="3" y="21"/>
                    <a:pt x="0" y="17"/>
                    <a:pt x="1" y="17"/>
                  </a:cubicBezTo>
                  <a:cubicBezTo>
                    <a:pt x="2" y="18"/>
                    <a:pt x="6" y="19"/>
                    <a:pt x="7" y="19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5524" name="Freeform 378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2343464" y="2854439"/>
              <a:ext cx="45278" cy="38345"/>
            </a:xfrm>
            <a:custGeom>
              <a:avLst/>
              <a:gdLst>
                <a:gd name="T0" fmla="*/ 2147483647 w 13"/>
                <a:gd name="T1" fmla="*/ 2147483647 h 11"/>
                <a:gd name="T2" fmla="*/ 2147483647 w 13"/>
                <a:gd name="T3" fmla="*/ 2147483647 h 11"/>
                <a:gd name="T4" fmla="*/ 2147483647 w 13"/>
                <a:gd name="T5" fmla="*/ 2147483647 h 11"/>
                <a:gd name="T6" fmla="*/ 2147483647 w 13"/>
                <a:gd name="T7" fmla="*/ 2147483647 h 11"/>
                <a:gd name="T8" fmla="*/ 0 w 13"/>
                <a:gd name="T9" fmla="*/ 2147483647 h 11"/>
                <a:gd name="T10" fmla="*/ 2147483647 w 13"/>
                <a:gd name="T11" fmla="*/ 0 h 11"/>
                <a:gd name="T12" fmla="*/ 2147483647 w 13"/>
                <a:gd name="T13" fmla="*/ 2147483647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11"/>
                <a:gd name="T23" fmla="*/ 13 w 13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11">
                  <a:moveTo>
                    <a:pt x="8" y="3"/>
                  </a:moveTo>
                  <a:cubicBezTo>
                    <a:pt x="9" y="4"/>
                    <a:pt x="13" y="8"/>
                    <a:pt x="12" y="9"/>
                  </a:cubicBezTo>
                  <a:cubicBezTo>
                    <a:pt x="12" y="10"/>
                    <a:pt x="7" y="7"/>
                    <a:pt x="6" y="7"/>
                  </a:cubicBezTo>
                  <a:cubicBezTo>
                    <a:pt x="6" y="7"/>
                    <a:pt x="6" y="11"/>
                    <a:pt x="5" y="11"/>
                  </a:cubicBezTo>
                  <a:cubicBezTo>
                    <a:pt x="3" y="10"/>
                    <a:pt x="0" y="2"/>
                    <a:pt x="0" y="2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5" y="1"/>
                    <a:pt x="7" y="2"/>
                    <a:pt x="8" y="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25" name="Freeform 379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2316709" y="2806508"/>
              <a:ext cx="22639" cy="40741"/>
            </a:xfrm>
            <a:custGeom>
              <a:avLst/>
              <a:gdLst>
                <a:gd name="T0" fmla="*/ 2147483647 w 6"/>
                <a:gd name="T1" fmla="*/ 2147483647 h 11"/>
                <a:gd name="T2" fmla="*/ 2147483647 w 6"/>
                <a:gd name="T3" fmla="*/ 0 h 11"/>
                <a:gd name="T4" fmla="*/ 2147483647 w 6"/>
                <a:gd name="T5" fmla="*/ 2147483647 h 11"/>
                <a:gd name="T6" fmla="*/ 2147483647 w 6"/>
                <a:gd name="T7" fmla="*/ 2147483647 h 11"/>
                <a:gd name="T8" fmla="*/ 2147483647 w 6"/>
                <a:gd name="T9" fmla="*/ 2147483647 h 11"/>
                <a:gd name="T10" fmla="*/ 2147483647 w 6"/>
                <a:gd name="T11" fmla="*/ 2147483647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11"/>
                <a:gd name="T20" fmla="*/ 6 w 6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11">
                  <a:moveTo>
                    <a:pt x="1" y="6"/>
                  </a:moveTo>
                  <a:cubicBezTo>
                    <a:pt x="1" y="4"/>
                    <a:pt x="2" y="0"/>
                    <a:pt x="2" y="0"/>
                  </a:cubicBezTo>
                  <a:cubicBezTo>
                    <a:pt x="3" y="0"/>
                    <a:pt x="5" y="0"/>
                    <a:pt x="5" y="1"/>
                  </a:cubicBezTo>
                  <a:cubicBezTo>
                    <a:pt x="6" y="2"/>
                    <a:pt x="5" y="8"/>
                    <a:pt x="5" y="9"/>
                  </a:cubicBezTo>
                  <a:cubicBezTo>
                    <a:pt x="5" y="10"/>
                    <a:pt x="3" y="11"/>
                    <a:pt x="1" y="11"/>
                  </a:cubicBezTo>
                  <a:cubicBezTo>
                    <a:pt x="0" y="11"/>
                    <a:pt x="1" y="7"/>
                    <a:pt x="1" y="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26" name="Freeform 380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2304360" y="2746594"/>
              <a:ext cx="28814" cy="43138"/>
            </a:xfrm>
            <a:custGeom>
              <a:avLst/>
              <a:gdLst>
                <a:gd name="T0" fmla="*/ 2147483647 w 8"/>
                <a:gd name="T1" fmla="*/ 2147483647 h 12"/>
                <a:gd name="T2" fmla="*/ 2147483647 w 8"/>
                <a:gd name="T3" fmla="*/ 2147483647 h 12"/>
                <a:gd name="T4" fmla="*/ 2147483647 w 8"/>
                <a:gd name="T5" fmla="*/ 2147483647 h 12"/>
                <a:gd name="T6" fmla="*/ 2147483647 w 8"/>
                <a:gd name="T7" fmla="*/ 2147483647 h 12"/>
                <a:gd name="T8" fmla="*/ 2147483647 w 8"/>
                <a:gd name="T9" fmla="*/ 0 h 12"/>
                <a:gd name="T10" fmla="*/ 2147483647 w 8"/>
                <a:gd name="T11" fmla="*/ 2147483647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2"/>
                <a:gd name="T20" fmla="*/ 8 w 8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2">
                  <a:moveTo>
                    <a:pt x="6" y="5"/>
                  </a:moveTo>
                  <a:cubicBezTo>
                    <a:pt x="6" y="5"/>
                    <a:pt x="8" y="9"/>
                    <a:pt x="7" y="9"/>
                  </a:cubicBezTo>
                  <a:cubicBezTo>
                    <a:pt x="7" y="10"/>
                    <a:pt x="3" y="12"/>
                    <a:pt x="2" y="12"/>
                  </a:cubicBezTo>
                  <a:cubicBezTo>
                    <a:pt x="2" y="11"/>
                    <a:pt x="2" y="8"/>
                    <a:pt x="2" y="7"/>
                  </a:cubicBezTo>
                  <a:cubicBezTo>
                    <a:pt x="2" y="6"/>
                    <a:pt x="0" y="0"/>
                    <a:pt x="1" y="0"/>
                  </a:cubicBezTo>
                  <a:cubicBezTo>
                    <a:pt x="2" y="0"/>
                    <a:pt x="6" y="5"/>
                    <a:pt x="6" y="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27" name="Freeform 381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2254965" y="2760973"/>
              <a:ext cx="45278" cy="74293"/>
            </a:xfrm>
            <a:custGeom>
              <a:avLst/>
              <a:gdLst>
                <a:gd name="T0" fmla="*/ 2147483647 w 13"/>
                <a:gd name="T1" fmla="*/ 2147483647 h 20"/>
                <a:gd name="T2" fmla="*/ 2147483647 w 13"/>
                <a:gd name="T3" fmla="*/ 2147483647 h 20"/>
                <a:gd name="T4" fmla="*/ 0 w 13"/>
                <a:gd name="T5" fmla="*/ 2147483647 h 20"/>
                <a:gd name="T6" fmla="*/ 2147483647 w 13"/>
                <a:gd name="T7" fmla="*/ 0 h 20"/>
                <a:gd name="T8" fmla="*/ 2147483647 w 13"/>
                <a:gd name="T9" fmla="*/ 0 h 20"/>
                <a:gd name="T10" fmla="*/ 2147483647 w 13"/>
                <a:gd name="T11" fmla="*/ 2147483647 h 20"/>
                <a:gd name="T12" fmla="*/ 2147483647 w 13"/>
                <a:gd name="T13" fmla="*/ 2147483647 h 20"/>
                <a:gd name="T14" fmla="*/ 2147483647 w 13"/>
                <a:gd name="T15" fmla="*/ 2147483647 h 20"/>
                <a:gd name="T16" fmla="*/ 2147483647 w 13"/>
                <a:gd name="T17" fmla="*/ 2147483647 h 20"/>
                <a:gd name="T18" fmla="*/ 2147483647 w 13"/>
                <a:gd name="T19" fmla="*/ 2147483647 h 2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20"/>
                <a:gd name="T32" fmla="*/ 13 w 13"/>
                <a:gd name="T33" fmla="*/ 20 h 2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20">
                  <a:moveTo>
                    <a:pt x="8" y="9"/>
                  </a:moveTo>
                  <a:cubicBezTo>
                    <a:pt x="7" y="9"/>
                    <a:pt x="3" y="9"/>
                    <a:pt x="3" y="8"/>
                  </a:cubicBezTo>
                  <a:cubicBezTo>
                    <a:pt x="3" y="6"/>
                    <a:pt x="0" y="2"/>
                    <a:pt x="0" y="2"/>
                  </a:cubicBezTo>
                  <a:cubicBezTo>
                    <a:pt x="0" y="1"/>
                    <a:pt x="5" y="0"/>
                    <a:pt x="6" y="0"/>
                  </a:cubicBezTo>
                  <a:cubicBezTo>
                    <a:pt x="7" y="0"/>
                    <a:pt x="9" y="0"/>
                    <a:pt x="9" y="0"/>
                  </a:cubicBezTo>
                  <a:cubicBezTo>
                    <a:pt x="9" y="1"/>
                    <a:pt x="11" y="8"/>
                    <a:pt x="11" y="9"/>
                  </a:cubicBezTo>
                  <a:cubicBezTo>
                    <a:pt x="11" y="10"/>
                    <a:pt x="13" y="18"/>
                    <a:pt x="13" y="18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8" y="14"/>
                    <a:pt x="8" y="13"/>
                  </a:cubicBezTo>
                  <a:cubicBezTo>
                    <a:pt x="7" y="12"/>
                    <a:pt x="9" y="10"/>
                    <a:pt x="8" y="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28" name="Freeform 382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1775426" y="2727422"/>
              <a:ext cx="82324" cy="86276"/>
            </a:xfrm>
            <a:custGeom>
              <a:avLst/>
              <a:gdLst>
                <a:gd name="T0" fmla="*/ 2147483647 w 24"/>
                <a:gd name="T1" fmla="*/ 2147483647 h 23"/>
                <a:gd name="T2" fmla="*/ 2147483647 w 24"/>
                <a:gd name="T3" fmla="*/ 2147483647 h 23"/>
                <a:gd name="T4" fmla="*/ 2147483647 w 24"/>
                <a:gd name="T5" fmla="*/ 2147483647 h 23"/>
                <a:gd name="T6" fmla="*/ 2147483647 w 24"/>
                <a:gd name="T7" fmla="*/ 2147483647 h 23"/>
                <a:gd name="T8" fmla="*/ 2147483647 w 24"/>
                <a:gd name="T9" fmla="*/ 0 h 23"/>
                <a:gd name="T10" fmla="*/ 2147483647 w 24"/>
                <a:gd name="T11" fmla="*/ 2147483647 h 23"/>
                <a:gd name="T12" fmla="*/ 2147483647 w 24"/>
                <a:gd name="T13" fmla="*/ 2147483647 h 23"/>
                <a:gd name="T14" fmla="*/ 2147483647 w 24"/>
                <a:gd name="T15" fmla="*/ 2147483647 h 23"/>
                <a:gd name="T16" fmla="*/ 2147483647 w 24"/>
                <a:gd name="T17" fmla="*/ 2147483647 h 23"/>
                <a:gd name="T18" fmla="*/ 2147483647 w 24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4"/>
                <a:gd name="T31" fmla="*/ 0 h 23"/>
                <a:gd name="T32" fmla="*/ 24 w 24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4" h="23">
                  <a:moveTo>
                    <a:pt x="3" y="21"/>
                  </a:moveTo>
                  <a:cubicBezTo>
                    <a:pt x="1" y="20"/>
                    <a:pt x="3" y="17"/>
                    <a:pt x="3" y="17"/>
                  </a:cubicBezTo>
                  <a:cubicBezTo>
                    <a:pt x="3" y="17"/>
                    <a:pt x="0" y="14"/>
                    <a:pt x="1" y="13"/>
                  </a:cubicBezTo>
                  <a:cubicBezTo>
                    <a:pt x="3" y="12"/>
                    <a:pt x="10" y="8"/>
                    <a:pt x="12" y="5"/>
                  </a:cubicBezTo>
                  <a:cubicBezTo>
                    <a:pt x="14" y="3"/>
                    <a:pt x="19" y="0"/>
                    <a:pt x="19" y="0"/>
                  </a:cubicBezTo>
                  <a:cubicBezTo>
                    <a:pt x="19" y="0"/>
                    <a:pt x="23" y="1"/>
                    <a:pt x="23" y="3"/>
                  </a:cubicBezTo>
                  <a:cubicBezTo>
                    <a:pt x="24" y="6"/>
                    <a:pt x="19" y="3"/>
                    <a:pt x="19" y="6"/>
                  </a:cubicBezTo>
                  <a:cubicBezTo>
                    <a:pt x="19" y="9"/>
                    <a:pt x="22" y="11"/>
                    <a:pt x="20" y="12"/>
                  </a:cubicBezTo>
                  <a:cubicBezTo>
                    <a:pt x="18" y="13"/>
                    <a:pt x="13" y="15"/>
                    <a:pt x="10" y="17"/>
                  </a:cubicBezTo>
                  <a:cubicBezTo>
                    <a:pt x="7" y="19"/>
                    <a:pt x="5" y="23"/>
                    <a:pt x="3" y="2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29" name="Freeform 383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1415257" y="2133078"/>
              <a:ext cx="889103" cy="776481"/>
            </a:xfrm>
            <a:custGeom>
              <a:avLst/>
              <a:gdLst>
                <a:gd name="T0" fmla="*/ 2147483647 w 253"/>
                <a:gd name="T1" fmla="*/ 2147483647 h 210"/>
                <a:gd name="T2" fmla="*/ 2147483647 w 253"/>
                <a:gd name="T3" fmla="*/ 2147483647 h 210"/>
                <a:gd name="T4" fmla="*/ 2147483647 w 253"/>
                <a:gd name="T5" fmla="*/ 2147483647 h 210"/>
                <a:gd name="T6" fmla="*/ 2147483647 w 253"/>
                <a:gd name="T7" fmla="*/ 2147483647 h 210"/>
                <a:gd name="T8" fmla="*/ 2147483647 w 253"/>
                <a:gd name="T9" fmla="*/ 2147483647 h 210"/>
                <a:gd name="T10" fmla="*/ 2147483647 w 253"/>
                <a:gd name="T11" fmla="*/ 2147483647 h 210"/>
                <a:gd name="T12" fmla="*/ 2147483647 w 253"/>
                <a:gd name="T13" fmla="*/ 2147483647 h 210"/>
                <a:gd name="T14" fmla="*/ 2147483647 w 253"/>
                <a:gd name="T15" fmla="*/ 2147483647 h 210"/>
                <a:gd name="T16" fmla="*/ 2147483647 w 253"/>
                <a:gd name="T17" fmla="*/ 2147483647 h 210"/>
                <a:gd name="T18" fmla="*/ 2147483647 w 253"/>
                <a:gd name="T19" fmla="*/ 2147483647 h 210"/>
                <a:gd name="T20" fmla="*/ 2147483647 w 253"/>
                <a:gd name="T21" fmla="*/ 2147483647 h 210"/>
                <a:gd name="T22" fmla="*/ 2147483647 w 253"/>
                <a:gd name="T23" fmla="*/ 2147483647 h 210"/>
                <a:gd name="T24" fmla="*/ 2147483647 w 253"/>
                <a:gd name="T25" fmla="*/ 2147483647 h 210"/>
                <a:gd name="T26" fmla="*/ 2147483647 w 253"/>
                <a:gd name="T27" fmla="*/ 2147483647 h 210"/>
                <a:gd name="T28" fmla="*/ 2147483647 w 253"/>
                <a:gd name="T29" fmla="*/ 2147483647 h 210"/>
                <a:gd name="T30" fmla="*/ 2147483647 w 253"/>
                <a:gd name="T31" fmla="*/ 2147483647 h 210"/>
                <a:gd name="T32" fmla="*/ 2147483647 w 253"/>
                <a:gd name="T33" fmla="*/ 2147483647 h 210"/>
                <a:gd name="T34" fmla="*/ 2147483647 w 253"/>
                <a:gd name="T35" fmla="*/ 2147483647 h 210"/>
                <a:gd name="T36" fmla="*/ 2147483647 w 253"/>
                <a:gd name="T37" fmla="*/ 2147483647 h 210"/>
                <a:gd name="T38" fmla="*/ 2147483647 w 253"/>
                <a:gd name="T39" fmla="*/ 2147483647 h 210"/>
                <a:gd name="T40" fmla="*/ 2147483647 w 253"/>
                <a:gd name="T41" fmla="*/ 2147483647 h 210"/>
                <a:gd name="T42" fmla="*/ 2147483647 w 253"/>
                <a:gd name="T43" fmla="*/ 2147483647 h 210"/>
                <a:gd name="T44" fmla="*/ 2147483647 w 253"/>
                <a:gd name="T45" fmla="*/ 2147483647 h 210"/>
                <a:gd name="T46" fmla="*/ 2147483647 w 253"/>
                <a:gd name="T47" fmla="*/ 2147483647 h 210"/>
                <a:gd name="T48" fmla="*/ 2147483647 w 253"/>
                <a:gd name="T49" fmla="*/ 2147483647 h 210"/>
                <a:gd name="T50" fmla="*/ 2147483647 w 253"/>
                <a:gd name="T51" fmla="*/ 2147483647 h 210"/>
                <a:gd name="T52" fmla="*/ 2147483647 w 253"/>
                <a:gd name="T53" fmla="*/ 2147483647 h 210"/>
                <a:gd name="T54" fmla="*/ 2147483647 w 253"/>
                <a:gd name="T55" fmla="*/ 2147483647 h 210"/>
                <a:gd name="T56" fmla="*/ 2147483647 w 253"/>
                <a:gd name="T57" fmla="*/ 2147483647 h 210"/>
                <a:gd name="T58" fmla="*/ 2147483647 w 253"/>
                <a:gd name="T59" fmla="*/ 2147483647 h 210"/>
                <a:gd name="T60" fmla="*/ 2147483647 w 253"/>
                <a:gd name="T61" fmla="*/ 2147483647 h 210"/>
                <a:gd name="T62" fmla="*/ 2147483647 w 253"/>
                <a:gd name="T63" fmla="*/ 2147483647 h 210"/>
                <a:gd name="T64" fmla="*/ 2147483647 w 253"/>
                <a:gd name="T65" fmla="*/ 2147483647 h 210"/>
                <a:gd name="T66" fmla="*/ 2147483647 w 253"/>
                <a:gd name="T67" fmla="*/ 2147483647 h 210"/>
                <a:gd name="T68" fmla="*/ 2147483647 w 253"/>
                <a:gd name="T69" fmla="*/ 2147483647 h 210"/>
                <a:gd name="T70" fmla="*/ 2147483647 w 253"/>
                <a:gd name="T71" fmla="*/ 2147483647 h 210"/>
                <a:gd name="T72" fmla="*/ 2147483647 w 253"/>
                <a:gd name="T73" fmla="*/ 2147483647 h 210"/>
                <a:gd name="T74" fmla="*/ 2147483647 w 253"/>
                <a:gd name="T75" fmla="*/ 2147483647 h 210"/>
                <a:gd name="T76" fmla="*/ 2147483647 w 253"/>
                <a:gd name="T77" fmla="*/ 2147483647 h 210"/>
                <a:gd name="T78" fmla="*/ 2147483647 w 253"/>
                <a:gd name="T79" fmla="*/ 2147483647 h 210"/>
                <a:gd name="T80" fmla="*/ 2147483647 w 253"/>
                <a:gd name="T81" fmla="*/ 2147483647 h 210"/>
                <a:gd name="T82" fmla="*/ 2147483647 w 253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53"/>
                <a:gd name="T127" fmla="*/ 0 h 210"/>
                <a:gd name="T128" fmla="*/ 253 w 253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53" h="210">
                  <a:moveTo>
                    <a:pt x="0" y="77"/>
                  </a:moveTo>
                  <a:cubicBezTo>
                    <a:pt x="0" y="75"/>
                    <a:pt x="22" y="67"/>
                    <a:pt x="25" y="66"/>
                  </a:cubicBezTo>
                  <a:cubicBezTo>
                    <a:pt x="27" y="65"/>
                    <a:pt x="36" y="65"/>
                    <a:pt x="35" y="66"/>
                  </a:cubicBezTo>
                  <a:cubicBezTo>
                    <a:pt x="34" y="67"/>
                    <a:pt x="33" y="71"/>
                    <a:pt x="34" y="71"/>
                  </a:cubicBezTo>
                  <a:cubicBezTo>
                    <a:pt x="36" y="72"/>
                    <a:pt x="48" y="72"/>
                    <a:pt x="49" y="71"/>
                  </a:cubicBezTo>
                  <a:cubicBezTo>
                    <a:pt x="50" y="71"/>
                    <a:pt x="50" y="66"/>
                    <a:pt x="49" y="65"/>
                  </a:cubicBezTo>
                  <a:cubicBezTo>
                    <a:pt x="48" y="64"/>
                    <a:pt x="49" y="61"/>
                    <a:pt x="47" y="61"/>
                  </a:cubicBezTo>
                  <a:cubicBezTo>
                    <a:pt x="45" y="61"/>
                    <a:pt x="34" y="60"/>
                    <a:pt x="34" y="59"/>
                  </a:cubicBezTo>
                  <a:cubicBezTo>
                    <a:pt x="34" y="58"/>
                    <a:pt x="32" y="55"/>
                    <a:pt x="32" y="54"/>
                  </a:cubicBezTo>
                  <a:cubicBezTo>
                    <a:pt x="31" y="52"/>
                    <a:pt x="24" y="49"/>
                    <a:pt x="22" y="47"/>
                  </a:cubicBezTo>
                  <a:cubicBezTo>
                    <a:pt x="19" y="45"/>
                    <a:pt x="11" y="44"/>
                    <a:pt x="12" y="42"/>
                  </a:cubicBezTo>
                  <a:cubicBezTo>
                    <a:pt x="13" y="40"/>
                    <a:pt x="14" y="34"/>
                    <a:pt x="16" y="35"/>
                  </a:cubicBezTo>
                  <a:cubicBezTo>
                    <a:pt x="17" y="36"/>
                    <a:pt x="32" y="35"/>
                    <a:pt x="35" y="33"/>
                  </a:cubicBezTo>
                  <a:cubicBezTo>
                    <a:pt x="38" y="31"/>
                    <a:pt x="38" y="25"/>
                    <a:pt x="39" y="23"/>
                  </a:cubicBezTo>
                  <a:cubicBezTo>
                    <a:pt x="39" y="21"/>
                    <a:pt x="43" y="17"/>
                    <a:pt x="45" y="16"/>
                  </a:cubicBezTo>
                  <a:cubicBezTo>
                    <a:pt x="47" y="15"/>
                    <a:pt x="55" y="15"/>
                    <a:pt x="57" y="15"/>
                  </a:cubicBezTo>
                  <a:cubicBezTo>
                    <a:pt x="60" y="14"/>
                    <a:pt x="65" y="8"/>
                    <a:pt x="68" y="8"/>
                  </a:cubicBezTo>
                  <a:cubicBezTo>
                    <a:pt x="71" y="7"/>
                    <a:pt x="68" y="9"/>
                    <a:pt x="75" y="9"/>
                  </a:cubicBezTo>
                  <a:cubicBezTo>
                    <a:pt x="82" y="9"/>
                    <a:pt x="86" y="0"/>
                    <a:pt x="88" y="1"/>
                  </a:cubicBezTo>
                  <a:cubicBezTo>
                    <a:pt x="90" y="1"/>
                    <a:pt x="92" y="2"/>
                    <a:pt x="94" y="3"/>
                  </a:cubicBezTo>
                  <a:cubicBezTo>
                    <a:pt x="97" y="3"/>
                    <a:pt x="105" y="6"/>
                    <a:pt x="109" y="6"/>
                  </a:cubicBezTo>
                  <a:cubicBezTo>
                    <a:pt x="112" y="6"/>
                    <a:pt x="117" y="6"/>
                    <a:pt x="120" y="7"/>
                  </a:cubicBezTo>
                  <a:cubicBezTo>
                    <a:pt x="123" y="7"/>
                    <a:pt x="119" y="10"/>
                    <a:pt x="120" y="12"/>
                  </a:cubicBezTo>
                  <a:cubicBezTo>
                    <a:pt x="122" y="13"/>
                    <a:pt x="122" y="12"/>
                    <a:pt x="127" y="14"/>
                  </a:cubicBezTo>
                  <a:cubicBezTo>
                    <a:pt x="132" y="15"/>
                    <a:pt x="141" y="13"/>
                    <a:pt x="144" y="13"/>
                  </a:cubicBezTo>
                  <a:cubicBezTo>
                    <a:pt x="148" y="13"/>
                    <a:pt x="155" y="16"/>
                    <a:pt x="165" y="17"/>
                  </a:cubicBezTo>
                  <a:cubicBezTo>
                    <a:pt x="175" y="19"/>
                    <a:pt x="186" y="18"/>
                    <a:pt x="190" y="18"/>
                  </a:cubicBezTo>
                  <a:cubicBezTo>
                    <a:pt x="192" y="18"/>
                    <a:pt x="201" y="21"/>
                    <a:pt x="207" y="23"/>
                  </a:cubicBezTo>
                  <a:cubicBezTo>
                    <a:pt x="208" y="135"/>
                    <a:pt x="208" y="135"/>
                    <a:pt x="208" y="135"/>
                  </a:cubicBezTo>
                  <a:cubicBezTo>
                    <a:pt x="208" y="135"/>
                    <a:pt x="214" y="137"/>
                    <a:pt x="215" y="137"/>
                  </a:cubicBezTo>
                  <a:cubicBezTo>
                    <a:pt x="216" y="138"/>
                    <a:pt x="223" y="136"/>
                    <a:pt x="225" y="137"/>
                  </a:cubicBezTo>
                  <a:cubicBezTo>
                    <a:pt x="226" y="138"/>
                    <a:pt x="224" y="142"/>
                    <a:pt x="224" y="143"/>
                  </a:cubicBezTo>
                  <a:cubicBezTo>
                    <a:pt x="224" y="143"/>
                    <a:pt x="231" y="149"/>
                    <a:pt x="232" y="150"/>
                  </a:cubicBezTo>
                  <a:cubicBezTo>
                    <a:pt x="233" y="150"/>
                    <a:pt x="236" y="153"/>
                    <a:pt x="236" y="154"/>
                  </a:cubicBezTo>
                  <a:cubicBezTo>
                    <a:pt x="236" y="154"/>
                    <a:pt x="243" y="146"/>
                    <a:pt x="244" y="146"/>
                  </a:cubicBezTo>
                  <a:cubicBezTo>
                    <a:pt x="245" y="146"/>
                    <a:pt x="248" y="144"/>
                    <a:pt x="250" y="145"/>
                  </a:cubicBezTo>
                  <a:cubicBezTo>
                    <a:pt x="252" y="145"/>
                    <a:pt x="252" y="152"/>
                    <a:pt x="252" y="152"/>
                  </a:cubicBezTo>
                  <a:cubicBezTo>
                    <a:pt x="251" y="151"/>
                    <a:pt x="251" y="151"/>
                    <a:pt x="250" y="152"/>
                  </a:cubicBezTo>
                  <a:cubicBezTo>
                    <a:pt x="249" y="153"/>
                    <a:pt x="253" y="163"/>
                    <a:pt x="251" y="163"/>
                  </a:cubicBezTo>
                  <a:cubicBezTo>
                    <a:pt x="250" y="164"/>
                    <a:pt x="245" y="156"/>
                    <a:pt x="243" y="157"/>
                  </a:cubicBezTo>
                  <a:cubicBezTo>
                    <a:pt x="239" y="158"/>
                    <a:pt x="245" y="163"/>
                    <a:pt x="245" y="164"/>
                  </a:cubicBezTo>
                  <a:cubicBezTo>
                    <a:pt x="245" y="165"/>
                    <a:pt x="241" y="164"/>
                    <a:pt x="239" y="164"/>
                  </a:cubicBezTo>
                  <a:cubicBezTo>
                    <a:pt x="238" y="164"/>
                    <a:pt x="237" y="163"/>
                    <a:pt x="235" y="161"/>
                  </a:cubicBezTo>
                  <a:cubicBezTo>
                    <a:pt x="234" y="160"/>
                    <a:pt x="229" y="157"/>
                    <a:pt x="227" y="155"/>
                  </a:cubicBezTo>
                  <a:cubicBezTo>
                    <a:pt x="225" y="153"/>
                    <a:pt x="221" y="152"/>
                    <a:pt x="219" y="151"/>
                  </a:cubicBezTo>
                  <a:cubicBezTo>
                    <a:pt x="217" y="150"/>
                    <a:pt x="221" y="147"/>
                    <a:pt x="219" y="146"/>
                  </a:cubicBezTo>
                  <a:cubicBezTo>
                    <a:pt x="217" y="144"/>
                    <a:pt x="213" y="148"/>
                    <a:pt x="212" y="148"/>
                  </a:cubicBezTo>
                  <a:cubicBezTo>
                    <a:pt x="211" y="148"/>
                    <a:pt x="207" y="148"/>
                    <a:pt x="202" y="146"/>
                  </a:cubicBezTo>
                  <a:cubicBezTo>
                    <a:pt x="197" y="143"/>
                    <a:pt x="189" y="145"/>
                    <a:pt x="187" y="145"/>
                  </a:cubicBezTo>
                  <a:cubicBezTo>
                    <a:pt x="184" y="145"/>
                    <a:pt x="182" y="144"/>
                    <a:pt x="180" y="143"/>
                  </a:cubicBezTo>
                  <a:cubicBezTo>
                    <a:pt x="179" y="142"/>
                    <a:pt x="174" y="142"/>
                    <a:pt x="172" y="142"/>
                  </a:cubicBezTo>
                  <a:cubicBezTo>
                    <a:pt x="170" y="142"/>
                    <a:pt x="167" y="144"/>
                    <a:pt x="166" y="144"/>
                  </a:cubicBezTo>
                  <a:cubicBezTo>
                    <a:pt x="166" y="144"/>
                    <a:pt x="165" y="144"/>
                    <a:pt x="164" y="142"/>
                  </a:cubicBezTo>
                  <a:cubicBezTo>
                    <a:pt x="163" y="140"/>
                    <a:pt x="168" y="138"/>
                    <a:pt x="167" y="137"/>
                  </a:cubicBezTo>
                  <a:cubicBezTo>
                    <a:pt x="167" y="135"/>
                    <a:pt x="163" y="134"/>
                    <a:pt x="162" y="134"/>
                  </a:cubicBezTo>
                  <a:cubicBezTo>
                    <a:pt x="161" y="133"/>
                    <a:pt x="155" y="134"/>
                    <a:pt x="153" y="135"/>
                  </a:cubicBezTo>
                  <a:cubicBezTo>
                    <a:pt x="152" y="136"/>
                    <a:pt x="155" y="140"/>
                    <a:pt x="155" y="142"/>
                  </a:cubicBezTo>
                  <a:cubicBezTo>
                    <a:pt x="155" y="145"/>
                    <a:pt x="151" y="146"/>
                    <a:pt x="148" y="146"/>
                  </a:cubicBezTo>
                  <a:cubicBezTo>
                    <a:pt x="146" y="146"/>
                    <a:pt x="141" y="148"/>
                    <a:pt x="139" y="149"/>
                  </a:cubicBezTo>
                  <a:cubicBezTo>
                    <a:pt x="137" y="149"/>
                    <a:pt x="131" y="154"/>
                    <a:pt x="129" y="155"/>
                  </a:cubicBezTo>
                  <a:cubicBezTo>
                    <a:pt x="126" y="155"/>
                    <a:pt x="125" y="156"/>
                    <a:pt x="124" y="155"/>
                  </a:cubicBezTo>
                  <a:cubicBezTo>
                    <a:pt x="122" y="155"/>
                    <a:pt x="127" y="151"/>
                    <a:pt x="127" y="150"/>
                  </a:cubicBezTo>
                  <a:cubicBezTo>
                    <a:pt x="127" y="150"/>
                    <a:pt x="126" y="149"/>
                    <a:pt x="126" y="148"/>
                  </a:cubicBezTo>
                  <a:cubicBezTo>
                    <a:pt x="125" y="147"/>
                    <a:pt x="128" y="139"/>
                    <a:pt x="130" y="138"/>
                  </a:cubicBezTo>
                  <a:cubicBezTo>
                    <a:pt x="131" y="138"/>
                    <a:pt x="132" y="137"/>
                    <a:pt x="134" y="136"/>
                  </a:cubicBezTo>
                  <a:cubicBezTo>
                    <a:pt x="135" y="135"/>
                    <a:pt x="138" y="135"/>
                    <a:pt x="139" y="135"/>
                  </a:cubicBezTo>
                  <a:cubicBezTo>
                    <a:pt x="140" y="135"/>
                    <a:pt x="142" y="134"/>
                    <a:pt x="141" y="133"/>
                  </a:cubicBezTo>
                  <a:cubicBezTo>
                    <a:pt x="140" y="132"/>
                    <a:pt x="139" y="129"/>
                    <a:pt x="137" y="129"/>
                  </a:cubicBezTo>
                  <a:cubicBezTo>
                    <a:pt x="135" y="129"/>
                    <a:pt x="132" y="130"/>
                    <a:pt x="130" y="131"/>
                  </a:cubicBezTo>
                  <a:cubicBezTo>
                    <a:pt x="128" y="132"/>
                    <a:pt x="124" y="136"/>
                    <a:pt x="123" y="137"/>
                  </a:cubicBezTo>
                  <a:cubicBezTo>
                    <a:pt x="122" y="138"/>
                    <a:pt x="119" y="145"/>
                    <a:pt x="117" y="146"/>
                  </a:cubicBezTo>
                  <a:cubicBezTo>
                    <a:pt x="116" y="147"/>
                    <a:pt x="113" y="148"/>
                    <a:pt x="111" y="149"/>
                  </a:cubicBezTo>
                  <a:cubicBezTo>
                    <a:pt x="108" y="150"/>
                    <a:pt x="107" y="154"/>
                    <a:pt x="106" y="155"/>
                  </a:cubicBezTo>
                  <a:cubicBezTo>
                    <a:pt x="106" y="156"/>
                    <a:pt x="115" y="154"/>
                    <a:pt x="114" y="159"/>
                  </a:cubicBezTo>
                  <a:cubicBezTo>
                    <a:pt x="113" y="160"/>
                    <a:pt x="101" y="170"/>
                    <a:pt x="99" y="170"/>
                  </a:cubicBezTo>
                  <a:cubicBezTo>
                    <a:pt x="97" y="171"/>
                    <a:pt x="94" y="172"/>
                    <a:pt x="92" y="172"/>
                  </a:cubicBezTo>
                  <a:cubicBezTo>
                    <a:pt x="90" y="173"/>
                    <a:pt x="92" y="175"/>
                    <a:pt x="91" y="176"/>
                  </a:cubicBezTo>
                  <a:cubicBezTo>
                    <a:pt x="90" y="177"/>
                    <a:pt x="87" y="180"/>
                    <a:pt x="85" y="180"/>
                  </a:cubicBezTo>
                  <a:cubicBezTo>
                    <a:pt x="84" y="181"/>
                    <a:pt x="78" y="183"/>
                    <a:pt x="77" y="183"/>
                  </a:cubicBezTo>
                  <a:cubicBezTo>
                    <a:pt x="75" y="184"/>
                    <a:pt x="78" y="187"/>
                    <a:pt x="77" y="188"/>
                  </a:cubicBezTo>
                  <a:cubicBezTo>
                    <a:pt x="76" y="189"/>
                    <a:pt x="72" y="191"/>
                    <a:pt x="71" y="191"/>
                  </a:cubicBezTo>
                  <a:cubicBezTo>
                    <a:pt x="69" y="191"/>
                    <a:pt x="63" y="194"/>
                    <a:pt x="62" y="195"/>
                  </a:cubicBezTo>
                  <a:cubicBezTo>
                    <a:pt x="60" y="196"/>
                    <a:pt x="54" y="197"/>
                    <a:pt x="52" y="197"/>
                  </a:cubicBezTo>
                  <a:cubicBezTo>
                    <a:pt x="50" y="197"/>
                    <a:pt x="45" y="200"/>
                    <a:pt x="44" y="200"/>
                  </a:cubicBezTo>
                  <a:cubicBezTo>
                    <a:pt x="43" y="200"/>
                    <a:pt x="40" y="203"/>
                    <a:pt x="39" y="204"/>
                  </a:cubicBezTo>
                  <a:cubicBezTo>
                    <a:pt x="37" y="205"/>
                    <a:pt x="33" y="205"/>
                    <a:pt x="32" y="205"/>
                  </a:cubicBezTo>
                  <a:cubicBezTo>
                    <a:pt x="31" y="205"/>
                    <a:pt x="31" y="208"/>
                    <a:pt x="30" y="209"/>
                  </a:cubicBezTo>
                  <a:cubicBezTo>
                    <a:pt x="28" y="210"/>
                    <a:pt x="25" y="208"/>
                    <a:pt x="23" y="208"/>
                  </a:cubicBezTo>
                  <a:cubicBezTo>
                    <a:pt x="22" y="207"/>
                    <a:pt x="23" y="204"/>
                    <a:pt x="25" y="203"/>
                  </a:cubicBezTo>
                  <a:cubicBezTo>
                    <a:pt x="26" y="203"/>
                    <a:pt x="29" y="200"/>
                    <a:pt x="31" y="200"/>
                  </a:cubicBezTo>
                  <a:cubicBezTo>
                    <a:pt x="32" y="200"/>
                    <a:pt x="35" y="199"/>
                    <a:pt x="36" y="199"/>
                  </a:cubicBezTo>
                  <a:cubicBezTo>
                    <a:pt x="37" y="199"/>
                    <a:pt x="39" y="197"/>
                    <a:pt x="41" y="196"/>
                  </a:cubicBezTo>
                  <a:cubicBezTo>
                    <a:pt x="43" y="195"/>
                    <a:pt x="45" y="192"/>
                    <a:pt x="49" y="190"/>
                  </a:cubicBezTo>
                  <a:cubicBezTo>
                    <a:pt x="52" y="188"/>
                    <a:pt x="56" y="190"/>
                    <a:pt x="58" y="190"/>
                  </a:cubicBezTo>
                  <a:cubicBezTo>
                    <a:pt x="60" y="190"/>
                    <a:pt x="60" y="186"/>
                    <a:pt x="61" y="185"/>
                  </a:cubicBezTo>
                  <a:cubicBezTo>
                    <a:pt x="61" y="184"/>
                    <a:pt x="70" y="180"/>
                    <a:pt x="72" y="179"/>
                  </a:cubicBezTo>
                  <a:cubicBezTo>
                    <a:pt x="73" y="179"/>
                    <a:pt x="78" y="174"/>
                    <a:pt x="79" y="172"/>
                  </a:cubicBezTo>
                  <a:cubicBezTo>
                    <a:pt x="81" y="170"/>
                    <a:pt x="81" y="167"/>
                    <a:pt x="82" y="165"/>
                  </a:cubicBezTo>
                  <a:cubicBezTo>
                    <a:pt x="82" y="163"/>
                    <a:pt x="86" y="158"/>
                    <a:pt x="84" y="157"/>
                  </a:cubicBezTo>
                  <a:cubicBezTo>
                    <a:pt x="83" y="157"/>
                    <a:pt x="79" y="160"/>
                    <a:pt x="78" y="160"/>
                  </a:cubicBezTo>
                  <a:cubicBezTo>
                    <a:pt x="77" y="161"/>
                    <a:pt x="76" y="159"/>
                    <a:pt x="76" y="158"/>
                  </a:cubicBezTo>
                  <a:cubicBezTo>
                    <a:pt x="76" y="157"/>
                    <a:pt x="74" y="157"/>
                    <a:pt x="73" y="157"/>
                  </a:cubicBezTo>
                  <a:cubicBezTo>
                    <a:pt x="71" y="158"/>
                    <a:pt x="72" y="163"/>
                    <a:pt x="71" y="164"/>
                  </a:cubicBezTo>
                  <a:cubicBezTo>
                    <a:pt x="69" y="164"/>
                    <a:pt x="66" y="159"/>
                    <a:pt x="65" y="158"/>
                  </a:cubicBezTo>
                  <a:cubicBezTo>
                    <a:pt x="64" y="157"/>
                    <a:pt x="60" y="156"/>
                    <a:pt x="59" y="157"/>
                  </a:cubicBezTo>
                  <a:cubicBezTo>
                    <a:pt x="57" y="157"/>
                    <a:pt x="49" y="162"/>
                    <a:pt x="48" y="160"/>
                  </a:cubicBezTo>
                  <a:cubicBezTo>
                    <a:pt x="48" y="158"/>
                    <a:pt x="47" y="156"/>
                    <a:pt x="47" y="155"/>
                  </a:cubicBezTo>
                  <a:cubicBezTo>
                    <a:pt x="46" y="154"/>
                    <a:pt x="50" y="151"/>
                    <a:pt x="49" y="150"/>
                  </a:cubicBezTo>
                  <a:cubicBezTo>
                    <a:pt x="48" y="149"/>
                    <a:pt x="46" y="145"/>
                    <a:pt x="44" y="145"/>
                  </a:cubicBezTo>
                  <a:cubicBezTo>
                    <a:pt x="43" y="145"/>
                    <a:pt x="35" y="148"/>
                    <a:pt x="33" y="148"/>
                  </a:cubicBezTo>
                  <a:cubicBezTo>
                    <a:pt x="30" y="148"/>
                    <a:pt x="28" y="145"/>
                    <a:pt x="26" y="142"/>
                  </a:cubicBezTo>
                  <a:cubicBezTo>
                    <a:pt x="23" y="140"/>
                    <a:pt x="23" y="138"/>
                    <a:pt x="23" y="136"/>
                  </a:cubicBezTo>
                  <a:cubicBezTo>
                    <a:pt x="23" y="133"/>
                    <a:pt x="16" y="128"/>
                    <a:pt x="16" y="125"/>
                  </a:cubicBezTo>
                  <a:cubicBezTo>
                    <a:pt x="16" y="121"/>
                    <a:pt x="23" y="115"/>
                    <a:pt x="24" y="114"/>
                  </a:cubicBezTo>
                  <a:cubicBezTo>
                    <a:pt x="26" y="113"/>
                    <a:pt x="23" y="109"/>
                    <a:pt x="28" y="107"/>
                  </a:cubicBezTo>
                  <a:cubicBezTo>
                    <a:pt x="34" y="105"/>
                    <a:pt x="35" y="110"/>
                    <a:pt x="37" y="110"/>
                  </a:cubicBezTo>
                  <a:cubicBezTo>
                    <a:pt x="40" y="111"/>
                    <a:pt x="42" y="103"/>
                    <a:pt x="43" y="103"/>
                  </a:cubicBezTo>
                  <a:cubicBezTo>
                    <a:pt x="44" y="103"/>
                    <a:pt x="46" y="103"/>
                    <a:pt x="49" y="104"/>
                  </a:cubicBezTo>
                  <a:cubicBezTo>
                    <a:pt x="51" y="105"/>
                    <a:pt x="56" y="101"/>
                    <a:pt x="57" y="99"/>
                  </a:cubicBezTo>
                  <a:cubicBezTo>
                    <a:pt x="58" y="97"/>
                    <a:pt x="50" y="94"/>
                    <a:pt x="52" y="94"/>
                  </a:cubicBezTo>
                  <a:cubicBezTo>
                    <a:pt x="54" y="93"/>
                    <a:pt x="56" y="88"/>
                    <a:pt x="55" y="87"/>
                  </a:cubicBezTo>
                  <a:cubicBezTo>
                    <a:pt x="55" y="86"/>
                    <a:pt x="49" y="87"/>
                    <a:pt x="47" y="88"/>
                  </a:cubicBezTo>
                  <a:cubicBezTo>
                    <a:pt x="46" y="88"/>
                    <a:pt x="43" y="93"/>
                    <a:pt x="41" y="93"/>
                  </a:cubicBezTo>
                  <a:cubicBezTo>
                    <a:pt x="39" y="93"/>
                    <a:pt x="39" y="92"/>
                    <a:pt x="38" y="91"/>
                  </a:cubicBezTo>
                  <a:cubicBezTo>
                    <a:pt x="36" y="89"/>
                    <a:pt x="30" y="92"/>
                    <a:pt x="27" y="92"/>
                  </a:cubicBezTo>
                  <a:cubicBezTo>
                    <a:pt x="23" y="93"/>
                    <a:pt x="17" y="91"/>
                    <a:pt x="14" y="90"/>
                  </a:cubicBezTo>
                  <a:cubicBezTo>
                    <a:pt x="12" y="89"/>
                    <a:pt x="12" y="84"/>
                    <a:pt x="10" y="82"/>
                  </a:cubicBezTo>
                  <a:cubicBezTo>
                    <a:pt x="8" y="81"/>
                    <a:pt x="0" y="79"/>
                    <a:pt x="0" y="7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30" name="Freeform 384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1423489" y="2902369"/>
              <a:ext cx="55569" cy="35948"/>
            </a:xfrm>
            <a:custGeom>
              <a:avLst/>
              <a:gdLst>
                <a:gd name="T0" fmla="*/ 2147483647 w 16"/>
                <a:gd name="T1" fmla="*/ 0 h 10"/>
                <a:gd name="T2" fmla="*/ 2147483647 w 16"/>
                <a:gd name="T3" fmla="*/ 2147483647 h 10"/>
                <a:gd name="T4" fmla="*/ 2147483647 w 16"/>
                <a:gd name="T5" fmla="*/ 2147483647 h 10"/>
                <a:gd name="T6" fmla="*/ 2147483647 w 16"/>
                <a:gd name="T7" fmla="*/ 2147483647 h 10"/>
                <a:gd name="T8" fmla="*/ 2147483647 w 16"/>
                <a:gd name="T9" fmla="*/ 2147483647 h 10"/>
                <a:gd name="T10" fmla="*/ 2147483647 w 16"/>
                <a:gd name="T11" fmla="*/ 2147483647 h 10"/>
                <a:gd name="T12" fmla="*/ 2147483647 w 16"/>
                <a:gd name="T13" fmla="*/ 2147483647 h 10"/>
                <a:gd name="T14" fmla="*/ 2147483647 w 16"/>
                <a:gd name="T15" fmla="*/ 2147483647 h 10"/>
                <a:gd name="T16" fmla="*/ 2147483647 w 16"/>
                <a:gd name="T17" fmla="*/ 0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"/>
                <a:gd name="T28" fmla="*/ 0 h 10"/>
                <a:gd name="T29" fmla="*/ 16 w 16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" h="10">
                  <a:moveTo>
                    <a:pt x="7" y="0"/>
                  </a:moveTo>
                  <a:cubicBezTo>
                    <a:pt x="8" y="0"/>
                    <a:pt x="9" y="1"/>
                    <a:pt x="10" y="1"/>
                  </a:cubicBezTo>
                  <a:cubicBezTo>
                    <a:pt x="11" y="1"/>
                    <a:pt x="14" y="1"/>
                    <a:pt x="14" y="1"/>
                  </a:cubicBezTo>
                  <a:cubicBezTo>
                    <a:pt x="16" y="2"/>
                    <a:pt x="16" y="4"/>
                    <a:pt x="16" y="4"/>
                  </a:cubicBezTo>
                  <a:cubicBezTo>
                    <a:pt x="16" y="4"/>
                    <a:pt x="12" y="7"/>
                    <a:pt x="11" y="7"/>
                  </a:cubicBezTo>
                  <a:cubicBezTo>
                    <a:pt x="9" y="8"/>
                    <a:pt x="5" y="10"/>
                    <a:pt x="4" y="10"/>
                  </a:cubicBezTo>
                  <a:cubicBezTo>
                    <a:pt x="3" y="10"/>
                    <a:pt x="0" y="9"/>
                    <a:pt x="1" y="8"/>
                  </a:cubicBezTo>
                  <a:cubicBezTo>
                    <a:pt x="2" y="7"/>
                    <a:pt x="5" y="6"/>
                    <a:pt x="5" y="5"/>
                  </a:cubicBezTo>
                  <a:cubicBezTo>
                    <a:pt x="5" y="4"/>
                    <a:pt x="5" y="0"/>
                    <a:pt x="7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31" name="Freeform 385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1384385" y="2933525"/>
              <a:ext cx="30872" cy="28759"/>
            </a:xfrm>
            <a:custGeom>
              <a:avLst/>
              <a:gdLst>
                <a:gd name="T0" fmla="*/ 2147483647 w 9"/>
                <a:gd name="T1" fmla="*/ 2147483647 h 7"/>
                <a:gd name="T2" fmla="*/ 2147483647 w 9"/>
                <a:gd name="T3" fmla="*/ 2147483647 h 7"/>
                <a:gd name="T4" fmla="*/ 0 w 9"/>
                <a:gd name="T5" fmla="*/ 2147483647 h 7"/>
                <a:gd name="T6" fmla="*/ 0 w 9"/>
                <a:gd name="T7" fmla="*/ 2147483647 h 7"/>
                <a:gd name="T8" fmla="*/ 2147483647 w 9"/>
                <a:gd name="T9" fmla="*/ 0 h 7"/>
                <a:gd name="T10" fmla="*/ 2147483647 w 9"/>
                <a:gd name="T11" fmla="*/ 214748364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9" y="2"/>
                  </a:moveTo>
                  <a:cubicBezTo>
                    <a:pt x="8" y="4"/>
                    <a:pt x="6" y="6"/>
                    <a:pt x="4" y="6"/>
                  </a:cubicBezTo>
                  <a:cubicBezTo>
                    <a:pt x="2" y="7"/>
                    <a:pt x="2" y="7"/>
                    <a:pt x="0" y="7"/>
                  </a:cubicBezTo>
                  <a:cubicBezTo>
                    <a:pt x="0" y="7"/>
                    <a:pt x="0" y="7"/>
                    <a:pt x="0" y="5"/>
                  </a:cubicBezTo>
                  <a:cubicBezTo>
                    <a:pt x="2" y="2"/>
                    <a:pt x="6" y="0"/>
                    <a:pt x="6" y="0"/>
                  </a:cubicBezTo>
                  <a:cubicBezTo>
                    <a:pt x="7" y="0"/>
                    <a:pt x="9" y="1"/>
                    <a:pt x="9" y="2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32" name="Freeform 386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753751" y="2720232"/>
              <a:ext cx="224334" cy="342706"/>
            </a:xfrm>
            <a:custGeom>
              <a:avLst/>
              <a:gdLst>
                <a:gd name="T0" fmla="*/ 0 w 64"/>
                <a:gd name="T1" fmla="*/ 2147483647 h 93"/>
                <a:gd name="T2" fmla="*/ 2147483647 w 64"/>
                <a:gd name="T3" fmla="*/ 2147483647 h 93"/>
                <a:gd name="T4" fmla="*/ 2147483647 w 64"/>
                <a:gd name="T5" fmla="*/ 2147483647 h 93"/>
                <a:gd name="T6" fmla="*/ 2147483647 w 64"/>
                <a:gd name="T7" fmla="*/ 2147483647 h 93"/>
                <a:gd name="T8" fmla="*/ 2147483647 w 64"/>
                <a:gd name="T9" fmla="*/ 0 h 93"/>
                <a:gd name="T10" fmla="*/ 2147483647 w 64"/>
                <a:gd name="T11" fmla="*/ 2147483647 h 93"/>
                <a:gd name="T12" fmla="*/ 2147483647 w 64"/>
                <a:gd name="T13" fmla="*/ 2147483647 h 93"/>
                <a:gd name="T14" fmla="*/ 2147483647 w 64"/>
                <a:gd name="T15" fmla="*/ 2147483647 h 93"/>
                <a:gd name="T16" fmla="*/ 2147483647 w 64"/>
                <a:gd name="T17" fmla="*/ 2147483647 h 93"/>
                <a:gd name="T18" fmla="*/ 2147483647 w 64"/>
                <a:gd name="T19" fmla="*/ 2147483647 h 93"/>
                <a:gd name="T20" fmla="*/ 2147483647 w 64"/>
                <a:gd name="T21" fmla="*/ 2147483647 h 93"/>
                <a:gd name="T22" fmla="*/ 2147483647 w 64"/>
                <a:gd name="T23" fmla="*/ 2147483647 h 93"/>
                <a:gd name="T24" fmla="*/ 2147483647 w 64"/>
                <a:gd name="T25" fmla="*/ 2147483647 h 93"/>
                <a:gd name="T26" fmla="*/ 2147483647 w 64"/>
                <a:gd name="T27" fmla="*/ 2147483647 h 93"/>
                <a:gd name="T28" fmla="*/ 2147483647 w 64"/>
                <a:gd name="T29" fmla="*/ 2147483647 h 93"/>
                <a:gd name="T30" fmla="*/ 2147483647 w 64"/>
                <a:gd name="T31" fmla="*/ 2147483647 h 93"/>
                <a:gd name="T32" fmla="*/ 2147483647 w 64"/>
                <a:gd name="T33" fmla="*/ 2147483647 h 93"/>
                <a:gd name="T34" fmla="*/ 2147483647 w 64"/>
                <a:gd name="T35" fmla="*/ 2147483647 h 93"/>
                <a:gd name="T36" fmla="*/ 2147483647 w 64"/>
                <a:gd name="T37" fmla="*/ 2147483647 h 93"/>
                <a:gd name="T38" fmla="*/ 2147483647 w 64"/>
                <a:gd name="T39" fmla="*/ 2147483647 h 93"/>
                <a:gd name="T40" fmla="*/ 2147483647 w 64"/>
                <a:gd name="T41" fmla="*/ 2147483647 h 93"/>
                <a:gd name="T42" fmla="*/ 2147483647 w 64"/>
                <a:gd name="T43" fmla="*/ 2147483647 h 93"/>
                <a:gd name="T44" fmla="*/ 2147483647 w 64"/>
                <a:gd name="T45" fmla="*/ 2147483647 h 93"/>
                <a:gd name="T46" fmla="*/ 2147483647 w 64"/>
                <a:gd name="T47" fmla="*/ 2147483647 h 93"/>
                <a:gd name="T48" fmla="*/ 2147483647 w 64"/>
                <a:gd name="T49" fmla="*/ 2147483647 h 93"/>
                <a:gd name="T50" fmla="*/ 2147483647 w 64"/>
                <a:gd name="T51" fmla="*/ 2147483647 h 93"/>
                <a:gd name="T52" fmla="*/ 2147483647 w 64"/>
                <a:gd name="T53" fmla="*/ 2147483647 h 93"/>
                <a:gd name="T54" fmla="*/ 2147483647 w 64"/>
                <a:gd name="T55" fmla="*/ 2147483647 h 93"/>
                <a:gd name="T56" fmla="*/ 2147483647 w 64"/>
                <a:gd name="T57" fmla="*/ 2147483647 h 93"/>
                <a:gd name="T58" fmla="*/ 2147483647 w 64"/>
                <a:gd name="T59" fmla="*/ 2147483647 h 93"/>
                <a:gd name="T60" fmla="*/ 2147483647 w 64"/>
                <a:gd name="T61" fmla="*/ 2147483647 h 93"/>
                <a:gd name="T62" fmla="*/ 2147483647 w 64"/>
                <a:gd name="T63" fmla="*/ 2147483647 h 93"/>
                <a:gd name="T64" fmla="*/ 2147483647 w 64"/>
                <a:gd name="T65" fmla="*/ 2147483647 h 93"/>
                <a:gd name="T66" fmla="*/ 2147483647 w 64"/>
                <a:gd name="T67" fmla="*/ 2147483647 h 93"/>
                <a:gd name="T68" fmla="*/ 2147483647 w 64"/>
                <a:gd name="T69" fmla="*/ 2147483647 h 93"/>
                <a:gd name="T70" fmla="*/ 2147483647 w 64"/>
                <a:gd name="T71" fmla="*/ 2147483647 h 93"/>
                <a:gd name="T72" fmla="*/ 2147483647 w 64"/>
                <a:gd name="T73" fmla="*/ 2147483647 h 93"/>
                <a:gd name="T74" fmla="*/ 2147483647 w 64"/>
                <a:gd name="T75" fmla="*/ 2147483647 h 93"/>
                <a:gd name="T76" fmla="*/ 2147483647 w 64"/>
                <a:gd name="T77" fmla="*/ 2147483647 h 93"/>
                <a:gd name="T78" fmla="*/ 2147483647 w 64"/>
                <a:gd name="T79" fmla="*/ 2147483647 h 93"/>
                <a:gd name="T80" fmla="*/ 2147483647 w 64"/>
                <a:gd name="T81" fmla="*/ 2147483647 h 93"/>
                <a:gd name="T82" fmla="*/ 2147483647 w 64"/>
                <a:gd name="T83" fmla="*/ 2147483647 h 93"/>
                <a:gd name="T84" fmla="*/ 2147483647 w 64"/>
                <a:gd name="T85" fmla="*/ 2147483647 h 93"/>
                <a:gd name="T86" fmla="*/ 2147483647 w 64"/>
                <a:gd name="T87" fmla="*/ 2147483647 h 93"/>
                <a:gd name="T88" fmla="*/ 2147483647 w 64"/>
                <a:gd name="T89" fmla="*/ 2147483647 h 93"/>
                <a:gd name="T90" fmla="*/ 2147483647 w 64"/>
                <a:gd name="T91" fmla="*/ 2147483647 h 93"/>
                <a:gd name="T92" fmla="*/ 2147483647 w 64"/>
                <a:gd name="T93" fmla="*/ 2147483647 h 93"/>
                <a:gd name="T94" fmla="*/ 2147483647 w 64"/>
                <a:gd name="T95" fmla="*/ 2147483647 h 93"/>
                <a:gd name="T96" fmla="*/ 2147483647 w 64"/>
                <a:gd name="T97" fmla="*/ 2147483647 h 93"/>
                <a:gd name="T98" fmla="*/ 2147483647 w 64"/>
                <a:gd name="T99" fmla="*/ 2147483647 h 93"/>
                <a:gd name="T100" fmla="*/ 2147483647 w 64"/>
                <a:gd name="T101" fmla="*/ 2147483647 h 93"/>
                <a:gd name="T102" fmla="*/ 2147483647 w 64"/>
                <a:gd name="T103" fmla="*/ 2147483647 h 93"/>
                <a:gd name="T104" fmla="*/ 2147483647 w 64"/>
                <a:gd name="T105" fmla="*/ 2147483647 h 93"/>
                <a:gd name="T106" fmla="*/ 2147483647 w 64"/>
                <a:gd name="T107" fmla="*/ 2147483647 h 93"/>
                <a:gd name="T108" fmla="*/ 2147483647 w 64"/>
                <a:gd name="T109" fmla="*/ 2147483647 h 93"/>
                <a:gd name="T110" fmla="*/ 0 w 64"/>
                <a:gd name="T111" fmla="*/ 2147483647 h 9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4"/>
                <a:gd name="T169" fmla="*/ 0 h 93"/>
                <a:gd name="T170" fmla="*/ 64 w 64"/>
                <a:gd name="T171" fmla="*/ 93 h 9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4" h="93">
                  <a:moveTo>
                    <a:pt x="0" y="15"/>
                  </a:moveTo>
                  <a:cubicBezTo>
                    <a:pt x="1" y="14"/>
                    <a:pt x="2" y="12"/>
                    <a:pt x="2" y="12"/>
                  </a:cubicBezTo>
                  <a:cubicBezTo>
                    <a:pt x="3" y="12"/>
                    <a:pt x="6" y="15"/>
                    <a:pt x="7" y="14"/>
                  </a:cubicBezTo>
                  <a:cubicBezTo>
                    <a:pt x="8" y="13"/>
                    <a:pt x="11" y="3"/>
                    <a:pt x="12" y="2"/>
                  </a:cubicBezTo>
                  <a:cubicBezTo>
                    <a:pt x="13" y="1"/>
                    <a:pt x="25" y="1"/>
                    <a:pt x="26" y="0"/>
                  </a:cubicBezTo>
                  <a:cubicBezTo>
                    <a:pt x="26" y="0"/>
                    <a:pt x="27" y="2"/>
                    <a:pt x="27" y="3"/>
                  </a:cubicBezTo>
                  <a:cubicBezTo>
                    <a:pt x="27" y="5"/>
                    <a:pt x="20" y="8"/>
                    <a:pt x="19" y="9"/>
                  </a:cubicBezTo>
                  <a:cubicBezTo>
                    <a:pt x="18" y="9"/>
                    <a:pt x="17" y="13"/>
                    <a:pt x="18" y="13"/>
                  </a:cubicBezTo>
                  <a:cubicBezTo>
                    <a:pt x="19" y="14"/>
                    <a:pt x="34" y="11"/>
                    <a:pt x="35" y="12"/>
                  </a:cubicBezTo>
                  <a:cubicBezTo>
                    <a:pt x="36" y="13"/>
                    <a:pt x="31" y="23"/>
                    <a:pt x="30" y="24"/>
                  </a:cubicBezTo>
                  <a:cubicBezTo>
                    <a:pt x="29" y="25"/>
                    <a:pt x="23" y="27"/>
                    <a:pt x="23" y="28"/>
                  </a:cubicBezTo>
                  <a:cubicBezTo>
                    <a:pt x="21" y="29"/>
                    <a:pt x="28" y="31"/>
                    <a:pt x="29" y="31"/>
                  </a:cubicBezTo>
                  <a:cubicBezTo>
                    <a:pt x="31" y="31"/>
                    <a:pt x="34" y="30"/>
                    <a:pt x="36" y="34"/>
                  </a:cubicBezTo>
                  <a:cubicBezTo>
                    <a:pt x="38" y="37"/>
                    <a:pt x="39" y="43"/>
                    <a:pt x="41" y="44"/>
                  </a:cubicBezTo>
                  <a:cubicBezTo>
                    <a:pt x="43" y="45"/>
                    <a:pt x="46" y="44"/>
                    <a:pt x="47" y="47"/>
                  </a:cubicBezTo>
                  <a:cubicBezTo>
                    <a:pt x="48" y="49"/>
                    <a:pt x="52" y="56"/>
                    <a:pt x="52" y="58"/>
                  </a:cubicBezTo>
                  <a:cubicBezTo>
                    <a:pt x="52" y="59"/>
                    <a:pt x="49" y="61"/>
                    <a:pt x="50" y="63"/>
                  </a:cubicBezTo>
                  <a:cubicBezTo>
                    <a:pt x="51" y="64"/>
                    <a:pt x="53" y="65"/>
                    <a:pt x="54" y="64"/>
                  </a:cubicBezTo>
                  <a:cubicBezTo>
                    <a:pt x="55" y="64"/>
                    <a:pt x="57" y="62"/>
                    <a:pt x="57" y="62"/>
                  </a:cubicBezTo>
                  <a:cubicBezTo>
                    <a:pt x="57" y="62"/>
                    <a:pt x="61" y="62"/>
                    <a:pt x="62" y="63"/>
                  </a:cubicBezTo>
                  <a:cubicBezTo>
                    <a:pt x="64" y="65"/>
                    <a:pt x="64" y="70"/>
                    <a:pt x="61" y="72"/>
                  </a:cubicBezTo>
                  <a:cubicBezTo>
                    <a:pt x="58" y="74"/>
                    <a:pt x="53" y="75"/>
                    <a:pt x="53" y="76"/>
                  </a:cubicBezTo>
                  <a:cubicBezTo>
                    <a:pt x="52" y="78"/>
                    <a:pt x="61" y="79"/>
                    <a:pt x="61" y="80"/>
                  </a:cubicBezTo>
                  <a:cubicBezTo>
                    <a:pt x="61" y="81"/>
                    <a:pt x="52" y="85"/>
                    <a:pt x="51" y="85"/>
                  </a:cubicBezTo>
                  <a:cubicBezTo>
                    <a:pt x="49" y="84"/>
                    <a:pt x="40" y="83"/>
                    <a:pt x="37" y="84"/>
                  </a:cubicBezTo>
                  <a:cubicBezTo>
                    <a:pt x="35" y="85"/>
                    <a:pt x="26" y="85"/>
                    <a:pt x="25" y="86"/>
                  </a:cubicBezTo>
                  <a:cubicBezTo>
                    <a:pt x="24" y="88"/>
                    <a:pt x="24" y="91"/>
                    <a:pt x="22" y="91"/>
                  </a:cubicBezTo>
                  <a:cubicBezTo>
                    <a:pt x="20" y="90"/>
                    <a:pt x="19" y="88"/>
                    <a:pt x="17" y="89"/>
                  </a:cubicBezTo>
                  <a:cubicBezTo>
                    <a:pt x="15" y="90"/>
                    <a:pt x="11" y="93"/>
                    <a:pt x="10" y="93"/>
                  </a:cubicBezTo>
                  <a:cubicBezTo>
                    <a:pt x="9" y="93"/>
                    <a:pt x="5" y="93"/>
                    <a:pt x="5" y="92"/>
                  </a:cubicBezTo>
                  <a:cubicBezTo>
                    <a:pt x="5" y="90"/>
                    <a:pt x="11" y="86"/>
                    <a:pt x="13" y="86"/>
                  </a:cubicBezTo>
                  <a:cubicBezTo>
                    <a:pt x="14" y="85"/>
                    <a:pt x="16" y="81"/>
                    <a:pt x="17" y="81"/>
                  </a:cubicBezTo>
                  <a:cubicBezTo>
                    <a:pt x="18" y="80"/>
                    <a:pt x="25" y="80"/>
                    <a:pt x="26" y="80"/>
                  </a:cubicBezTo>
                  <a:cubicBezTo>
                    <a:pt x="27" y="79"/>
                    <a:pt x="30" y="78"/>
                    <a:pt x="29" y="77"/>
                  </a:cubicBezTo>
                  <a:cubicBezTo>
                    <a:pt x="28" y="75"/>
                    <a:pt x="21" y="75"/>
                    <a:pt x="20" y="75"/>
                  </a:cubicBezTo>
                  <a:cubicBezTo>
                    <a:pt x="19" y="74"/>
                    <a:pt x="12" y="76"/>
                    <a:pt x="11" y="74"/>
                  </a:cubicBezTo>
                  <a:cubicBezTo>
                    <a:pt x="10" y="73"/>
                    <a:pt x="12" y="72"/>
                    <a:pt x="13" y="71"/>
                  </a:cubicBezTo>
                  <a:cubicBezTo>
                    <a:pt x="14" y="70"/>
                    <a:pt x="19" y="69"/>
                    <a:pt x="19" y="68"/>
                  </a:cubicBezTo>
                  <a:cubicBezTo>
                    <a:pt x="19" y="68"/>
                    <a:pt x="19" y="63"/>
                    <a:pt x="18" y="63"/>
                  </a:cubicBezTo>
                  <a:cubicBezTo>
                    <a:pt x="17" y="62"/>
                    <a:pt x="14" y="64"/>
                    <a:pt x="14" y="62"/>
                  </a:cubicBezTo>
                  <a:cubicBezTo>
                    <a:pt x="14" y="61"/>
                    <a:pt x="16" y="59"/>
                    <a:pt x="18" y="58"/>
                  </a:cubicBezTo>
                  <a:cubicBezTo>
                    <a:pt x="19" y="58"/>
                    <a:pt x="26" y="59"/>
                    <a:pt x="27" y="58"/>
                  </a:cubicBezTo>
                  <a:cubicBezTo>
                    <a:pt x="28" y="57"/>
                    <a:pt x="28" y="52"/>
                    <a:pt x="27" y="50"/>
                  </a:cubicBezTo>
                  <a:cubicBezTo>
                    <a:pt x="26" y="49"/>
                    <a:pt x="23" y="46"/>
                    <a:pt x="23" y="45"/>
                  </a:cubicBezTo>
                  <a:cubicBezTo>
                    <a:pt x="23" y="44"/>
                    <a:pt x="27" y="42"/>
                    <a:pt x="27" y="41"/>
                  </a:cubicBezTo>
                  <a:cubicBezTo>
                    <a:pt x="26" y="39"/>
                    <a:pt x="21" y="41"/>
                    <a:pt x="20" y="42"/>
                  </a:cubicBezTo>
                  <a:cubicBezTo>
                    <a:pt x="19" y="43"/>
                    <a:pt x="15" y="45"/>
                    <a:pt x="14" y="45"/>
                  </a:cubicBezTo>
                  <a:cubicBezTo>
                    <a:pt x="13" y="44"/>
                    <a:pt x="14" y="43"/>
                    <a:pt x="12" y="42"/>
                  </a:cubicBezTo>
                  <a:cubicBezTo>
                    <a:pt x="10" y="40"/>
                    <a:pt x="13" y="38"/>
                    <a:pt x="13" y="38"/>
                  </a:cubicBezTo>
                  <a:cubicBezTo>
                    <a:pt x="13" y="36"/>
                    <a:pt x="16" y="36"/>
                    <a:pt x="15" y="35"/>
                  </a:cubicBezTo>
                  <a:cubicBezTo>
                    <a:pt x="14" y="34"/>
                    <a:pt x="14" y="32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8"/>
                    <a:pt x="8" y="33"/>
                    <a:pt x="6" y="32"/>
                  </a:cubicBezTo>
                  <a:cubicBezTo>
                    <a:pt x="4" y="31"/>
                    <a:pt x="5" y="27"/>
                    <a:pt x="5" y="26"/>
                  </a:cubicBezTo>
                  <a:cubicBezTo>
                    <a:pt x="5" y="25"/>
                    <a:pt x="7" y="20"/>
                    <a:pt x="5" y="19"/>
                  </a:cubicBezTo>
                  <a:cubicBezTo>
                    <a:pt x="4" y="18"/>
                    <a:pt x="0" y="16"/>
                    <a:pt x="0" y="15"/>
                  </a:cubicBezTo>
                  <a:close/>
                </a:path>
              </a:pathLst>
            </a:custGeom>
            <a:solidFill>
              <a:srgbClr val="006487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33" name="Freeform 387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5722879" y="2720232"/>
              <a:ext cx="45278" cy="76689"/>
            </a:xfrm>
            <a:custGeom>
              <a:avLst/>
              <a:gdLst>
                <a:gd name="T0" fmla="*/ 0 w 13"/>
                <a:gd name="T1" fmla="*/ 2147483647 h 21"/>
                <a:gd name="T2" fmla="*/ 2147483647 w 13"/>
                <a:gd name="T3" fmla="*/ 2147483647 h 21"/>
                <a:gd name="T4" fmla="*/ 2147483647 w 13"/>
                <a:gd name="T5" fmla="*/ 2147483647 h 21"/>
                <a:gd name="T6" fmla="*/ 2147483647 w 13"/>
                <a:gd name="T7" fmla="*/ 2147483647 h 21"/>
                <a:gd name="T8" fmla="*/ 2147483647 w 13"/>
                <a:gd name="T9" fmla="*/ 2147483647 h 21"/>
                <a:gd name="T10" fmla="*/ 2147483647 w 13"/>
                <a:gd name="T11" fmla="*/ 2147483647 h 21"/>
                <a:gd name="T12" fmla="*/ 2147483647 w 13"/>
                <a:gd name="T13" fmla="*/ 2147483647 h 21"/>
                <a:gd name="T14" fmla="*/ 0 w 13"/>
                <a:gd name="T15" fmla="*/ 2147483647 h 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21"/>
                <a:gd name="T26" fmla="*/ 13 w 13"/>
                <a:gd name="T27" fmla="*/ 21 h 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21">
                  <a:moveTo>
                    <a:pt x="0" y="15"/>
                  </a:moveTo>
                  <a:cubicBezTo>
                    <a:pt x="0" y="13"/>
                    <a:pt x="1" y="6"/>
                    <a:pt x="2" y="5"/>
                  </a:cubicBezTo>
                  <a:cubicBezTo>
                    <a:pt x="3" y="4"/>
                    <a:pt x="10" y="0"/>
                    <a:pt x="12" y="1"/>
                  </a:cubicBezTo>
                  <a:cubicBezTo>
                    <a:pt x="13" y="2"/>
                    <a:pt x="11" y="5"/>
                    <a:pt x="11" y="6"/>
                  </a:cubicBezTo>
                  <a:cubicBezTo>
                    <a:pt x="11" y="6"/>
                    <a:pt x="6" y="9"/>
                    <a:pt x="6" y="10"/>
                  </a:cubicBezTo>
                  <a:cubicBezTo>
                    <a:pt x="6" y="10"/>
                    <a:pt x="3" y="17"/>
                    <a:pt x="3" y="18"/>
                  </a:cubicBezTo>
                  <a:cubicBezTo>
                    <a:pt x="3" y="18"/>
                    <a:pt x="2" y="21"/>
                    <a:pt x="1" y="21"/>
                  </a:cubicBezTo>
                  <a:cubicBezTo>
                    <a:pt x="0" y="21"/>
                    <a:pt x="0" y="18"/>
                    <a:pt x="0" y="1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34" name="Freeform 388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5726996" y="2861628"/>
              <a:ext cx="59685" cy="45534"/>
            </a:xfrm>
            <a:custGeom>
              <a:avLst/>
              <a:gdLst>
                <a:gd name="T0" fmla="*/ 2147483647 w 17"/>
                <a:gd name="T1" fmla="*/ 0 h 13"/>
                <a:gd name="T2" fmla="*/ 2147483647 w 17"/>
                <a:gd name="T3" fmla="*/ 2147483647 h 13"/>
                <a:gd name="T4" fmla="*/ 2147483647 w 17"/>
                <a:gd name="T5" fmla="*/ 2147483647 h 13"/>
                <a:gd name="T6" fmla="*/ 2147483647 w 17"/>
                <a:gd name="T7" fmla="*/ 2147483647 h 13"/>
                <a:gd name="T8" fmla="*/ 2147483647 w 17"/>
                <a:gd name="T9" fmla="*/ 2147483647 h 13"/>
                <a:gd name="T10" fmla="*/ 2147483647 w 17"/>
                <a:gd name="T11" fmla="*/ 2147483647 h 13"/>
                <a:gd name="T12" fmla="*/ 2147483647 w 17"/>
                <a:gd name="T13" fmla="*/ 0 h 13"/>
                <a:gd name="T14" fmla="*/ 2147483647 w 17"/>
                <a:gd name="T15" fmla="*/ 0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13"/>
                <a:gd name="T26" fmla="*/ 17 w 17"/>
                <a:gd name="T27" fmla="*/ 13 h 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13">
                  <a:moveTo>
                    <a:pt x="11" y="0"/>
                  </a:moveTo>
                  <a:cubicBezTo>
                    <a:pt x="12" y="1"/>
                    <a:pt x="17" y="8"/>
                    <a:pt x="16" y="8"/>
                  </a:cubicBezTo>
                  <a:cubicBezTo>
                    <a:pt x="15" y="9"/>
                    <a:pt x="9" y="12"/>
                    <a:pt x="9" y="13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0"/>
                    <a:pt x="0" y="11"/>
                    <a:pt x="1" y="10"/>
                  </a:cubicBezTo>
                  <a:cubicBezTo>
                    <a:pt x="1" y="9"/>
                    <a:pt x="4" y="3"/>
                    <a:pt x="4" y="3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1" y="0"/>
                    <a:pt x="11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35" name="Freeform 389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5648788" y="2856835"/>
              <a:ext cx="119370" cy="150982"/>
            </a:xfrm>
            <a:custGeom>
              <a:avLst/>
              <a:gdLst>
                <a:gd name="T0" fmla="*/ 2147483647 w 34"/>
                <a:gd name="T1" fmla="*/ 2147483647 h 41"/>
                <a:gd name="T2" fmla="*/ 2147483647 w 34"/>
                <a:gd name="T3" fmla="*/ 2147483647 h 41"/>
                <a:gd name="T4" fmla="*/ 2147483647 w 34"/>
                <a:gd name="T5" fmla="*/ 2147483647 h 41"/>
                <a:gd name="T6" fmla="*/ 2147483647 w 34"/>
                <a:gd name="T7" fmla="*/ 2147483647 h 41"/>
                <a:gd name="T8" fmla="*/ 2147483647 w 34"/>
                <a:gd name="T9" fmla="*/ 2147483647 h 41"/>
                <a:gd name="T10" fmla="*/ 2147483647 w 34"/>
                <a:gd name="T11" fmla="*/ 2147483647 h 41"/>
                <a:gd name="T12" fmla="*/ 2147483647 w 34"/>
                <a:gd name="T13" fmla="*/ 2147483647 h 41"/>
                <a:gd name="T14" fmla="*/ 2147483647 w 34"/>
                <a:gd name="T15" fmla="*/ 2147483647 h 41"/>
                <a:gd name="T16" fmla="*/ 2147483647 w 34"/>
                <a:gd name="T17" fmla="*/ 2147483647 h 41"/>
                <a:gd name="T18" fmla="*/ 2147483647 w 34"/>
                <a:gd name="T19" fmla="*/ 2147483647 h 41"/>
                <a:gd name="T20" fmla="*/ 2147483647 w 34"/>
                <a:gd name="T21" fmla="*/ 2147483647 h 41"/>
                <a:gd name="T22" fmla="*/ 2147483647 w 34"/>
                <a:gd name="T23" fmla="*/ 2147483647 h 41"/>
                <a:gd name="T24" fmla="*/ 2147483647 w 34"/>
                <a:gd name="T25" fmla="*/ 2147483647 h 41"/>
                <a:gd name="T26" fmla="*/ 2147483647 w 34"/>
                <a:gd name="T27" fmla="*/ 2147483647 h 41"/>
                <a:gd name="T28" fmla="*/ 2147483647 w 34"/>
                <a:gd name="T29" fmla="*/ 2147483647 h 41"/>
                <a:gd name="T30" fmla="*/ 2147483647 w 34"/>
                <a:gd name="T31" fmla="*/ 2147483647 h 41"/>
                <a:gd name="T32" fmla="*/ 2147483647 w 34"/>
                <a:gd name="T33" fmla="*/ 2147483647 h 41"/>
                <a:gd name="T34" fmla="*/ 2147483647 w 34"/>
                <a:gd name="T35" fmla="*/ 0 h 41"/>
                <a:gd name="T36" fmla="*/ 2147483647 w 34"/>
                <a:gd name="T37" fmla="*/ 2147483647 h 41"/>
                <a:gd name="T38" fmla="*/ 2147483647 w 34"/>
                <a:gd name="T39" fmla="*/ 2147483647 h 41"/>
                <a:gd name="T40" fmla="*/ 2147483647 w 34"/>
                <a:gd name="T41" fmla="*/ 2147483647 h 41"/>
                <a:gd name="T42" fmla="*/ 2147483647 w 34"/>
                <a:gd name="T43" fmla="*/ 2147483647 h 41"/>
                <a:gd name="T44" fmla="*/ 2147483647 w 34"/>
                <a:gd name="T45" fmla="*/ 2147483647 h 41"/>
                <a:gd name="T46" fmla="*/ 2147483647 w 34"/>
                <a:gd name="T47" fmla="*/ 2147483647 h 4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4"/>
                <a:gd name="T73" fmla="*/ 0 h 41"/>
                <a:gd name="T74" fmla="*/ 34 w 34"/>
                <a:gd name="T75" fmla="*/ 41 h 4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4" h="41">
                  <a:moveTo>
                    <a:pt x="31" y="14"/>
                  </a:moveTo>
                  <a:cubicBezTo>
                    <a:pt x="31" y="15"/>
                    <a:pt x="34" y="24"/>
                    <a:pt x="34" y="25"/>
                  </a:cubicBezTo>
                  <a:cubicBezTo>
                    <a:pt x="34" y="27"/>
                    <a:pt x="33" y="32"/>
                    <a:pt x="32" y="33"/>
                  </a:cubicBezTo>
                  <a:cubicBezTo>
                    <a:pt x="31" y="34"/>
                    <a:pt x="25" y="33"/>
                    <a:pt x="21" y="34"/>
                  </a:cubicBezTo>
                  <a:cubicBezTo>
                    <a:pt x="18" y="35"/>
                    <a:pt x="13" y="39"/>
                    <a:pt x="12" y="40"/>
                  </a:cubicBezTo>
                  <a:cubicBezTo>
                    <a:pt x="11" y="41"/>
                    <a:pt x="6" y="40"/>
                    <a:pt x="5" y="39"/>
                  </a:cubicBezTo>
                  <a:cubicBezTo>
                    <a:pt x="4" y="39"/>
                    <a:pt x="1" y="37"/>
                    <a:pt x="1" y="36"/>
                  </a:cubicBezTo>
                  <a:cubicBezTo>
                    <a:pt x="0" y="36"/>
                    <a:pt x="0" y="32"/>
                    <a:pt x="2" y="32"/>
                  </a:cubicBezTo>
                  <a:cubicBezTo>
                    <a:pt x="3" y="32"/>
                    <a:pt x="7" y="30"/>
                    <a:pt x="8" y="28"/>
                  </a:cubicBezTo>
                  <a:cubicBezTo>
                    <a:pt x="9" y="27"/>
                    <a:pt x="12" y="25"/>
                    <a:pt x="12" y="24"/>
                  </a:cubicBezTo>
                  <a:cubicBezTo>
                    <a:pt x="13" y="21"/>
                    <a:pt x="11" y="21"/>
                    <a:pt x="9" y="21"/>
                  </a:cubicBezTo>
                  <a:cubicBezTo>
                    <a:pt x="7" y="21"/>
                    <a:pt x="3" y="22"/>
                    <a:pt x="3" y="20"/>
                  </a:cubicBezTo>
                  <a:cubicBezTo>
                    <a:pt x="2" y="19"/>
                    <a:pt x="4" y="17"/>
                    <a:pt x="5" y="16"/>
                  </a:cubicBezTo>
                  <a:cubicBezTo>
                    <a:pt x="5" y="15"/>
                    <a:pt x="2" y="11"/>
                    <a:pt x="3" y="11"/>
                  </a:cubicBezTo>
                  <a:cubicBezTo>
                    <a:pt x="4" y="11"/>
                    <a:pt x="16" y="11"/>
                    <a:pt x="17" y="10"/>
                  </a:cubicBezTo>
                  <a:cubicBezTo>
                    <a:pt x="18" y="9"/>
                    <a:pt x="18" y="8"/>
                    <a:pt x="18" y="7"/>
                  </a:cubicBezTo>
                  <a:cubicBezTo>
                    <a:pt x="18" y="7"/>
                    <a:pt x="13" y="5"/>
                    <a:pt x="13" y="5"/>
                  </a:cubicBezTo>
                  <a:cubicBezTo>
                    <a:pt x="14" y="4"/>
                    <a:pt x="19" y="0"/>
                    <a:pt x="21" y="0"/>
                  </a:cubicBezTo>
                  <a:cubicBezTo>
                    <a:pt x="22" y="0"/>
                    <a:pt x="26" y="1"/>
                    <a:pt x="27" y="1"/>
                  </a:cubicBezTo>
                  <a:cubicBezTo>
                    <a:pt x="27" y="1"/>
                    <a:pt x="28" y="1"/>
                    <a:pt x="29" y="1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3" y="10"/>
                    <a:pt x="23" y="11"/>
                  </a:cubicBezTo>
                  <a:cubicBezTo>
                    <a:pt x="22" y="12"/>
                    <a:pt x="28" y="11"/>
                    <a:pt x="28" y="12"/>
                  </a:cubicBezTo>
                  <a:lnTo>
                    <a:pt x="31" y="14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36" name="Freeform 390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10658226" y="5071244"/>
              <a:ext cx="41162" cy="47931"/>
            </a:xfrm>
            <a:custGeom>
              <a:avLst/>
              <a:gdLst>
                <a:gd name="T0" fmla="*/ 2147483647 w 12"/>
                <a:gd name="T1" fmla="*/ 2147483647 h 14"/>
                <a:gd name="T2" fmla="*/ 2147483647 w 12"/>
                <a:gd name="T3" fmla="*/ 2147483647 h 14"/>
                <a:gd name="T4" fmla="*/ 2147483647 w 12"/>
                <a:gd name="T5" fmla="*/ 2147483647 h 14"/>
                <a:gd name="T6" fmla="*/ 0 w 12"/>
                <a:gd name="T7" fmla="*/ 2147483647 h 14"/>
                <a:gd name="T8" fmla="*/ 2147483647 w 12"/>
                <a:gd name="T9" fmla="*/ 2147483647 h 14"/>
                <a:gd name="T10" fmla="*/ 2147483647 w 12"/>
                <a:gd name="T11" fmla="*/ 2147483647 h 1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14"/>
                <a:gd name="T20" fmla="*/ 12 w 12"/>
                <a:gd name="T21" fmla="*/ 14 h 1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14">
                  <a:moveTo>
                    <a:pt x="10" y="3"/>
                  </a:moveTo>
                  <a:cubicBezTo>
                    <a:pt x="12" y="6"/>
                    <a:pt x="10" y="9"/>
                    <a:pt x="10" y="11"/>
                  </a:cubicBezTo>
                  <a:cubicBezTo>
                    <a:pt x="10" y="13"/>
                    <a:pt x="7" y="14"/>
                    <a:pt x="4" y="14"/>
                  </a:cubicBezTo>
                  <a:cubicBezTo>
                    <a:pt x="1" y="14"/>
                    <a:pt x="0" y="11"/>
                    <a:pt x="0" y="9"/>
                  </a:cubicBezTo>
                  <a:cubicBezTo>
                    <a:pt x="0" y="8"/>
                    <a:pt x="2" y="6"/>
                    <a:pt x="4" y="5"/>
                  </a:cubicBezTo>
                  <a:cubicBezTo>
                    <a:pt x="4" y="5"/>
                    <a:pt x="10" y="0"/>
                    <a:pt x="10" y="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37" name="Freeform 391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10528565" y="5617656"/>
              <a:ext cx="160533" cy="230068"/>
            </a:xfrm>
            <a:custGeom>
              <a:avLst/>
              <a:gdLst>
                <a:gd name="T0" fmla="*/ 2147483647 w 46"/>
                <a:gd name="T1" fmla="*/ 2147483647 h 62"/>
                <a:gd name="T2" fmla="*/ 2147483647 w 46"/>
                <a:gd name="T3" fmla="*/ 2147483647 h 62"/>
                <a:gd name="T4" fmla="*/ 2147483647 w 46"/>
                <a:gd name="T5" fmla="*/ 2147483647 h 62"/>
                <a:gd name="T6" fmla="*/ 2147483647 w 46"/>
                <a:gd name="T7" fmla="*/ 2147483647 h 62"/>
                <a:gd name="T8" fmla="*/ 2147483647 w 46"/>
                <a:gd name="T9" fmla="*/ 0 h 62"/>
                <a:gd name="T10" fmla="*/ 2147483647 w 46"/>
                <a:gd name="T11" fmla="*/ 2147483647 h 62"/>
                <a:gd name="T12" fmla="*/ 2147483647 w 46"/>
                <a:gd name="T13" fmla="*/ 2147483647 h 62"/>
                <a:gd name="T14" fmla="*/ 2147483647 w 46"/>
                <a:gd name="T15" fmla="*/ 2147483647 h 62"/>
                <a:gd name="T16" fmla="*/ 2147483647 w 46"/>
                <a:gd name="T17" fmla="*/ 2147483647 h 62"/>
                <a:gd name="T18" fmla="*/ 2147483647 w 46"/>
                <a:gd name="T19" fmla="*/ 2147483647 h 62"/>
                <a:gd name="T20" fmla="*/ 2147483647 w 46"/>
                <a:gd name="T21" fmla="*/ 2147483647 h 62"/>
                <a:gd name="T22" fmla="*/ 2147483647 w 46"/>
                <a:gd name="T23" fmla="*/ 2147483647 h 62"/>
                <a:gd name="T24" fmla="*/ 2147483647 w 46"/>
                <a:gd name="T25" fmla="*/ 2147483647 h 62"/>
                <a:gd name="T26" fmla="*/ 2147483647 w 46"/>
                <a:gd name="T27" fmla="*/ 2147483647 h 62"/>
                <a:gd name="T28" fmla="*/ 2147483647 w 46"/>
                <a:gd name="T29" fmla="*/ 2147483647 h 62"/>
                <a:gd name="T30" fmla="*/ 2147483647 w 46"/>
                <a:gd name="T31" fmla="*/ 2147483647 h 62"/>
                <a:gd name="T32" fmla="*/ 2147483647 w 46"/>
                <a:gd name="T33" fmla="*/ 2147483647 h 62"/>
                <a:gd name="T34" fmla="*/ 2147483647 w 46"/>
                <a:gd name="T35" fmla="*/ 2147483647 h 62"/>
                <a:gd name="T36" fmla="*/ 2147483647 w 46"/>
                <a:gd name="T37" fmla="*/ 2147483647 h 62"/>
                <a:gd name="T38" fmla="*/ 2147483647 w 46"/>
                <a:gd name="T39" fmla="*/ 2147483647 h 6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6"/>
                <a:gd name="T61" fmla="*/ 0 h 62"/>
                <a:gd name="T62" fmla="*/ 46 w 46"/>
                <a:gd name="T63" fmla="*/ 62 h 6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6" h="62">
                  <a:moveTo>
                    <a:pt x="9" y="42"/>
                  </a:moveTo>
                  <a:cubicBezTo>
                    <a:pt x="9" y="39"/>
                    <a:pt x="16" y="39"/>
                    <a:pt x="16" y="38"/>
                  </a:cubicBezTo>
                  <a:cubicBezTo>
                    <a:pt x="16" y="37"/>
                    <a:pt x="18" y="30"/>
                    <a:pt x="17" y="29"/>
                  </a:cubicBezTo>
                  <a:cubicBezTo>
                    <a:pt x="17" y="28"/>
                    <a:pt x="4" y="7"/>
                    <a:pt x="3" y="6"/>
                  </a:cubicBezTo>
                  <a:cubicBezTo>
                    <a:pt x="2" y="4"/>
                    <a:pt x="0" y="0"/>
                    <a:pt x="2" y="0"/>
                  </a:cubicBezTo>
                  <a:cubicBezTo>
                    <a:pt x="5" y="0"/>
                    <a:pt x="11" y="4"/>
                    <a:pt x="13" y="5"/>
                  </a:cubicBezTo>
                  <a:cubicBezTo>
                    <a:pt x="14" y="7"/>
                    <a:pt x="19" y="18"/>
                    <a:pt x="20" y="18"/>
                  </a:cubicBezTo>
                  <a:cubicBezTo>
                    <a:pt x="20" y="18"/>
                    <a:pt x="24" y="15"/>
                    <a:pt x="25" y="17"/>
                  </a:cubicBezTo>
                  <a:cubicBezTo>
                    <a:pt x="27" y="19"/>
                    <a:pt x="26" y="26"/>
                    <a:pt x="28" y="27"/>
                  </a:cubicBezTo>
                  <a:cubicBezTo>
                    <a:pt x="30" y="27"/>
                    <a:pt x="35" y="30"/>
                    <a:pt x="36" y="28"/>
                  </a:cubicBezTo>
                  <a:cubicBezTo>
                    <a:pt x="37" y="27"/>
                    <a:pt x="42" y="24"/>
                    <a:pt x="44" y="25"/>
                  </a:cubicBezTo>
                  <a:cubicBezTo>
                    <a:pt x="46" y="26"/>
                    <a:pt x="45" y="32"/>
                    <a:pt x="44" y="34"/>
                  </a:cubicBezTo>
                  <a:cubicBezTo>
                    <a:pt x="43" y="35"/>
                    <a:pt x="43" y="41"/>
                    <a:pt x="40" y="40"/>
                  </a:cubicBezTo>
                  <a:cubicBezTo>
                    <a:pt x="38" y="39"/>
                    <a:pt x="35" y="38"/>
                    <a:pt x="32" y="40"/>
                  </a:cubicBezTo>
                  <a:cubicBezTo>
                    <a:pt x="30" y="43"/>
                    <a:pt x="35" y="45"/>
                    <a:pt x="34" y="47"/>
                  </a:cubicBezTo>
                  <a:cubicBezTo>
                    <a:pt x="33" y="48"/>
                    <a:pt x="28" y="58"/>
                    <a:pt x="25" y="60"/>
                  </a:cubicBezTo>
                  <a:cubicBezTo>
                    <a:pt x="23" y="62"/>
                    <a:pt x="23" y="61"/>
                    <a:pt x="20" y="58"/>
                  </a:cubicBezTo>
                  <a:cubicBezTo>
                    <a:pt x="19" y="57"/>
                    <a:pt x="17" y="58"/>
                    <a:pt x="17" y="57"/>
                  </a:cubicBezTo>
                  <a:cubicBezTo>
                    <a:pt x="17" y="56"/>
                    <a:pt x="22" y="54"/>
                    <a:pt x="20" y="50"/>
                  </a:cubicBezTo>
                  <a:cubicBezTo>
                    <a:pt x="18" y="46"/>
                    <a:pt x="10" y="45"/>
                    <a:pt x="9" y="42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38" name="Freeform 392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10357742" y="5809380"/>
              <a:ext cx="218160" cy="215689"/>
            </a:xfrm>
            <a:custGeom>
              <a:avLst/>
              <a:gdLst>
                <a:gd name="T0" fmla="*/ 2147483647 w 62"/>
                <a:gd name="T1" fmla="*/ 2147483647 h 58"/>
                <a:gd name="T2" fmla="*/ 2147483647 w 62"/>
                <a:gd name="T3" fmla="*/ 2147483647 h 58"/>
                <a:gd name="T4" fmla="*/ 2147483647 w 62"/>
                <a:gd name="T5" fmla="*/ 2147483647 h 58"/>
                <a:gd name="T6" fmla="*/ 2147483647 w 62"/>
                <a:gd name="T7" fmla="*/ 2147483647 h 58"/>
                <a:gd name="T8" fmla="*/ 2147483647 w 62"/>
                <a:gd name="T9" fmla="*/ 2147483647 h 58"/>
                <a:gd name="T10" fmla="*/ 2147483647 w 62"/>
                <a:gd name="T11" fmla="*/ 2147483647 h 58"/>
                <a:gd name="T12" fmla="*/ 2147483647 w 62"/>
                <a:gd name="T13" fmla="*/ 2147483647 h 58"/>
                <a:gd name="T14" fmla="*/ 2147483647 w 62"/>
                <a:gd name="T15" fmla="*/ 2147483647 h 58"/>
                <a:gd name="T16" fmla="*/ 2147483647 w 62"/>
                <a:gd name="T17" fmla="*/ 2147483647 h 58"/>
                <a:gd name="T18" fmla="*/ 2147483647 w 62"/>
                <a:gd name="T19" fmla="*/ 2147483647 h 58"/>
                <a:gd name="T20" fmla="*/ 2147483647 w 62"/>
                <a:gd name="T21" fmla="*/ 2147483647 h 58"/>
                <a:gd name="T22" fmla="*/ 2147483647 w 62"/>
                <a:gd name="T23" fmla="*/ 2147483647 h 58"/>
                <a:gd name="T24" fmla="*/ 2147483647 w 62"/>
                <a:gd name="T25" fmla="*/ 2147483647 h 58"/>
                <a:gd name="T26" fmla="*/ 2147483647 w 62"/>
                <a:gd name="T27" fmla="*/ 2147483647 h 58"/>
                <a:gd name="T28" fmla="*/ 2147483647 w 62"/>
                <a:gd name="T29" fmla="*/ 2147483647 h 58"/>
                <a:gd name="T30" fmla="*/ 2147483647 w 62"/>
                <a:gd name="T31" fmla="*/ 2147483647 h 58"/>
                <a:gd name="T32" fmla="*/ 2147483647 w 62"/>
                <a:gd name="T33" fmla="*/ 2147483647 h 58"/>
                <a:gd name="T34" fmla="*/ 2147483647 w 62"/>
                <a:gd name="T35" fmla="*/ 2147483647 h 5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2"/>
                <a:gd name="T55" fmla="*/ 0 h 58"/>
                <a:gd name="T56" fmla="*/ 62 w 62"/>
                <a:gd name="T57" fmla="*/ 58 h 5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2" h="58">
                  <a:moveTo>
                    <a:pt x="11" y="54"/>
                  </a:moveTo>
                  <a:cubicBezTo>
                    <a:pt x="9" y="54"/>
                    <a:pt x="2" y="55"/>
                    <a:pt x="2" y="52"/>
                  </a:cubicBezTo>
                  <a:cubicBezTo>
                    <a:pt x="0" y="47"/>
                    <a:pt x="13" y="34"/>
                    <a:pt x="15" y="33"/>
                  </a:cubicBezTo>
                  <a:cubicBezTo>
                    <a:pt x="16" y="32"/>
                    <a:pt x="18" y="33"/>
                    <a:pt x="20" y="32"/>
                  </a:cubicBezTo>
                  <a:cubicBezTo>
                    <a:pt x="21" y="32"/>
                    <a:pt x="35" y="23"/>
                    <a:pt x="36" y="21"/>
                  </a:cubicBezTo>
                  <a:cubicBezTo>
                    <a:pt x="37" y="19"/>
                    <a:pt x="38" y="13"/>
                    <a:pt x="38" y="12"/>
                  </a:cubicBezTo>
                  <a:cubicBezTo>
                    <a:pt x="39" y="11"/>
                    <a:pt x="43" y="11"/>
                    <a:pt x="44" y="9"/>
                  </a:cubicBezTo>
                  <a:cubicBezTo>
                    <a:pt x="44" y="8"/>
                    <a:pt x="44" y="2"/>
                    <a:pt x="45" y="1"/>
                  </a:cubicBezTo>
                  <a:cubicBezTo>
                    <a:pt x="46" y="1"/>
                    <a:pt x="49" y="1"/>
                    <a:pt x="51" y="1"/>
                  </a:cubicBezTo>
                  <a:cubicBezTo>
                    <a:pt x="53" y="0"/>
                    <a:pt x="50" y="8"/>
                    <a:pt x="53" y="8"/>
                  </a:cubicBezTo>
                  <a:cubicBezTo>
                    <a:pt x="55" y="8"/>
                    <a:pt x="58" y="4"/>
                    <a:pt x="59" y="4"/>
                  </a:cubicBezTo>
                  <a:cubicBezTo>
                    <a:pt x="60" y="4"/>
                    <a:pt x="61" y="11"/>
                    <a:pt x="61" y="13"/>
                  </a:cubicBezTo>
                  <a:cubicBezTo>
                    <a:pt x="62" y="14"/>
                    <a:pt x="50" y="23"/>
                    <a:pt x="50" y="25"/>
                  </a:cubicBezTo>
                  <a:cubicBezTo>
                    <a:pt x="49" y="26"/>
                    <a:pt x="54" y="31"/>
                    <a:pt x="53" y="32"/>
                  </a:cubicBezTo>
                  <a:cubicBezTo>
                    <a:pt x="51" y="34"/>
                    <a:pt x="43" y="32"/>
                    <a:pt x="40" y="34"/>
                  </a:cubicBezTo>
                  <a:cubicBezTo>
                    <a:pt x="38" y="37"/>
                    <a:pt x="35" y="49"/>
                    <a:pt x="32" y="51"/>
                  </a:cubicBezTo>
                  <a:cubicBezTo>
                    <a:pt x="30" y="54"/>
                    <a:pt x="25" y="58"/>
                    <a:pt x="21" y="58"/>
                  </a:cubicBezTo>
                  <a:cubicBezTo>
                    <a:pt x="17" y="57"/>
                    <a:pt x="12" y="54"/>
                    <a:pt x="11" y="5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39" name="Freeform 393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10275417" y="5167105"/>
              <a:ext cx="117312" cy="91069"/>
            </a:xfrm>
            <a:custGeom>
              <a:avLst/>
              <a:gdLst>
                <a:gd name="T0" fmla="*/ 2147483647 w 33"/>
                <a:gd name="T1" fmla="*/ 2147483647 h 24"/>
                <a:gd name="T2" fmla="*/ 2147483647 w 33"/>
                <a:gd name="T3" fmla="*/ 2147483647 h 24"/>
                <a:gd name="T4" fmla="*/ 2147483647 w 33"/>
                <a:gd name="T5" fmla="*/ 2147483647 h 24"/>
                <a:gd name="T6" fmla="*/ 2147483647 w 33"/>
                <a:gd name="T7" fmla="*/ 2147483647 h 24"/>
                <a:gd name="T8" fmla="*/ 2147483647 w 33"/>
                <a:gd name="T9" fmla="*/ 0 h 24"/>
                <a:gd name="T10" fmla="*/ 2147483647 w 33"/>
                <a:gd name="T11" fmla="*/ 2147483647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24"/>
                <a:gd name="T20" fmla="*/ 33 w 33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24">
                  <a:moveTo>
                    <a:pt x="18" y="7"/>
                  </a:moveTo>
                  <a:cubicBezTo>
                    <a:pt x="18" y="7"/>
                    <a:pt x="30" y="17"/>
                    <a:pt x="32" y="19"/>
                  </a:cubicBezTo>
                  <a:cubicBezTo>
                    <a:pt x="33" y="21"/>
                    <a:pt x="31" y="24"/>
                    <a:pt x="28" y="24"/>
                  </a:cubicBezTo>
                  <a:cubicBezTo>
                    <a:pt x="26" y="24"/>
                    <a:pt x="14" y="16"/>
                    <a:pt x="10" y="13"/>
                  </a:cubicBezTo>
                  <a:cubicBezTo>
                    <a:pt x="6" y="10"/>
                    <a:pt x="0" y="0"/>
                    <a:pt x="4" y="0"/>
                  </a:cubicBezTo>
                  <a:cubicBezTo>
                    <a:pt x="8" y="0"/>
                    <a:pt x="14" y="5"/>
                    <a:pt x="18" y="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40" name="Freeform 394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10046967" y="4742917"/>
              <a:ext cx="57627" cy="67103"/>
            </a:xfrm>
            <a:custGeom>
              <a:avLst/>
              <a:gdLst>
                <a:gd name="T0" fmla="*/ 2147483647 w 16"/>
                <a:gd name="T1" fmla="*/ 2147483647 h 18"/>
                <a:gd name="T2" fmla="*/ 2147483647 w 16"/>
                <a:gd name="T3" fmla="*/ 2147483647 h 18"/>
                <a:gd name="T4" fmla="*/ 2147483647 w 16"/>
                <a:gd name="T5" fmla="*/ 2147483647 h 18"/>
                <a:gd name="T6" fmla="*/ 2147483647 w 16"/>
                <a:gd name="T7" fmla="*/ 2147483647 h 18"/>
                <a:gd name="T8" fmla="*/ 2147483647 w 16"/>
                <a:gd name="T9" fmla="*/ 2147483647 h 18"/>
                <a:gd name="T10" fmla="*/ 2147483647 w 16"/>
                <a:gd name="T11" fmla="*/ 2147483647 h 18"/>
                <a:gd name="T12" fmla="*/ 2147483647 w 16"/>
                <a:gd name="T13" fmla="*/ 2147483647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18"/>
                <a:gd name="T23" fmla="*/ 16 w 16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18">
                  <a:moveTo>
                    <a:pt x="4" y="1"/>
                  </a:moveTo>
                  <a:cubicBezTo>
                    <a:pt x="6" y="2"/>
                    <a:pt x="8" y="5"/>
                    <a:pt x="12" y="9"/>
                  </a:cubicBezTo>
                  <a:cubicBezTo>
                    <a:pt x="14" y="12"/>
                    <a:pt x="16" y="10"/>
                    <a:pt x="16" y="14"/>
                  </a:cubicBezTo>
                  <a:cubicBezTo>
                    <a:pt x="16" y="17"/>
                    <a:pt x="14" y="18"/>
                    <a:pt x="12" y="18"/>
                  </a:cubicBezTo>
                  <a:cubicBezTo>
                    <a:pt x="10" y="18"/>
                    <a:pt x="5" y="14"/>
                    <a:pt x="4" y="12"/>
                  </a:cubicBezTo>
                  <a:cubicBezTo>
                    <a:pt x="4" y="9"/>
                    <a:pt x="0" y="4"/>
                    <a:pt x="2" y="3"/>
                  </a:cubicBezTo>
                  <a:cubicBezTo>
                    <a:pt x="2" y="3"/>
                    <a:pt x="2" y="0"/>
                    <a:pt x="4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41" name="Freeform 395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9878202" y="4694986"/>
              <a:ext cx="107022" cy="88672"/>
            </a:xfrm>
            <a:custGeom>
              <a:avLst/>
              <a:gdLst>
                <a:gd name="T0" fmla="*/ 2147483647 w 30"/>
                <a:gd name="T1" fmla="*/ 2147483647 h 24"/>
                <a:gd name="T2" fmla="*/ 0 w 30"/>
                <a:gd name="T3" fmla="*/ 2147483647 h 24"/>
                <a:gd name="T4" fmla="*/ 2147483647 w 30"/>
                <a:gd name="T5" fmla="*/ 2147483647 h 24"/>
                <a:gd name="T6" fmla="*/ 2147483647 w 30"/>
                <a:gd name="T7" fmla="*/ 2147483647 h 24"/>
                <a:gd name="T8" fmla="*/ 2147483647 w 30"/>
                <a:gd name="T9" fmla="*/ 2147483647 h 24"/>
                <a:gd name="T10" fmla="*/ 2147483647 w 30"/>
                <a:gd name="T11" fmla="*/ 0 h 24"/>
                <a:gd name="T12" fmla="*/ 2147483647 w 30"/>
                <a:gd name="T13" fmla="*/ 2147483647 h 24"/>
                <a:gd name="T14" fmla="*/ 2147483647 w 30"/>
                <a:gd name="T15" fmla="*/ 2147483647 h 24"/>
                <a:gd name="T16" fmla="*/ 2147483647 w 30"/>
                <a:gd name="T17" fmla="*/ 2147483647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"/>
                <a:gd name="T28" fmla="*/ 0 h 24"/>
                <a:gd name="T29" fmla="*/ 30 w 30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" h="24">
                  <a:moveTo>
                    <a:pt x="11" y="23"/>
                  </a:moveTo>
                  <a:cubicBezTo>
                    <a:pt x="5" y="22"/>
                    <a:pt x="0" y="18"/>
                    <a:pt x="0" y="16"/>
                  </a:cubicBezTo>
                  <a:cubicBezTo>
                    <a:pt x="2" y="14"/>
                    <a:pt x="8" y="15"/>
                    <a:pt x="8" y="15"/>
                  </a:cubicBezTo>
                  <a:cubicBezTo>
                    <a:pt x="11" y="15"/>
                    <a:pt x="20" y="12"/>
                    <a:pt x="20" y="12"/>
                  </a:cubicBezTo>
                  <a:cubicBezTo>
                    <a:pt x="20" y="12"/>
                    <a:pt x="26" y="7"/>
                    <a:pt x="24" y="3"/>
                  </a:cubicBezTo>
                  <a:cubicBezTo>
                    <a:pt x="22" y="0"/>
                    <a:pt x="25" y="0"/>
                    <a:pt x="26" y="0"/>
                  </a:cubicBezTo>
                  <a:cubicBezTo>
                    <a:pt x="28" y="0"/>
                    <a:pt x="30" y="2"/>
                    <a:pt x="30" y="4"/>
                  </a:cubicBezTo>
                  <a:cubicBezTo>
                    <a:pt x="30" y="7"/>
                    <a:pt x="30" y="17"/>
                    <a:pt x="26" y="18"/>
                  </a:cubicBezTo>
                  <a:cubicBezTo>
                    <a:pt x="22" y="19"/>
                    <a:pt x="17" y="24"/>
                    <a:pt x="11" y="2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42" name="Freeform 396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9682682" y="4673417"/>
              <a:ext cx="271670" cy="237258"/>
            </a:xfrm>
            <a:custGeom>
              <a:avLst/>
              <a:gdLst>
                <a:gd name="T0" fmla="*/ 0 w 77"/>
                <a:gd name="T1" fmla="*/ 2147483647 h 64"/>
                <a:gd name="T2" fmla="*/ 0 w 77"/>
                <a:gd name="T3" fmla="*/ 0 h 64"/>
                <a:gd name="T4" fmla="*/ 2147483647 w 77"/>
                <a:gd name="T5" fmla="*/ 2147483647 h 64"/>
                <a:gd name="T6" fmla="*/ 2147483647 w 77"/>
                <a:gd name="T7" fmla="*/ 2147483647 h 64"/>
                <a:gd name="T8" fmla="*/ 2147483647 w 77"/>
                <a:gd name="T9" fmla="*/ 2147483647 h 64"/>
                <a:gd name="T10" fmla="*/ 2147483647 w 77"/>
                <a:gd name="T11" fmla="*/ 2147483647 h 64"/>
                <a:gd name="T12" fmla="*/ 2147483647 w 77"/>
                <a:gd name="T13" fmla="*/ 2147483647 h 64"/>
                <a:gd name="T14" fmla="*/ 2147483647 w 77"/>
                <a:gd name="T15" fmla="*/ 2147483647 h 64"/>
                <a:gd name="T16" fmla="*/ 2147483647 w 77"/>
                <a:gd name="T17" fmla="*/ 2147483647 h 64"/>
                <a:gd name="T18" fmla="*/ 2147483647 w 77"/>
                <a:gd name="T19" fmla="*/ 2147483647 h 64"/>
                <a:gd name="T20" fmla="*/ 2147483647 w 77"/>
                <a:gd name="T21" fmla="*/ 2147483647 h 64"/>
                <a:gd name="T22" fmla="*/ 2147483647 w 77"/>
                <a:gd name="T23" fmla="*/ 2147483647 h 64"/>
                <a:gd name="T24" fmla="*/ 2147483647 w 77"/>
                <a:gd name="T25" fmla="*/ 2147483647 h 64"/>
                <a:gd name="T26" fmla="*/ 2147483647 w 77"/>
                <a:gd name="T27" fmla="*/ 2147483647 h 64"/>
                <a:gd name="T28" fmla="*/ 2147483647 w 77"/>
                <a:gd name="T29" fmla="*/ 2147483647 h 64"/>
                <a:gd name="T30" fmla="*/ 2147483647 w 77"/>
                <a:gd name="T31" fmla="*/ 2147483647 h 64"/>
                <a:gd name="T32" fmla="*/ 2147483647 w 77"/>
                <a:gd name="T33" fmla="*/ 2147483647 h 64"/>
                <a:gd name="T34" fmla="*/ 2147483647 w 77"/>
                <a:gd name="T35" fmla="*/ 2147483647 h 64"/>
                <a:gd name="T36" fmla="*/ 2147483647 w 77"/>
                <a:gd name="T37" fmla="*/ 2147483647 h 64"/>
                <a:gd name="T38" fmla="*/ 2147483647 w 77"/>
                <a:gd name="T39" fmla="*/ 2147483647 h 64"/>
                <a:gd name="T40" fmla="*/ 2147483647 w 77"/>
                <a:gd name="T41" fmla="*/ 2147483647 h 64"/>
                <a:gd name="T42" fmla="*/ 2147483647 w 77"/>
                <a:gd name="T43" fmla="*/ 2147483647 h 64"/>
                <a:gd name="T44" fmla="*/ 2147483647 w 77"/>
                <a:gd name="T45" fmla="*/ 2147483647 h 64"/>
                <a:gd name="T46" fmla="*/ 0 w 77"/>
                <a:gd name="T47" fmla="*/ 2147483647 h 6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77"/>
                <a:gd name="T73" fmla="*/ 0 h 64"/>
                <a:gd name="T74" fmla="*/ 77 w 77"/>
                <a:gd name="T75" fmla="*/ 64 h 6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77" h="64">
                  <a:moveTo>
                    <a:pt x="0" y="5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2"/>
                    <a:pt x="12" y="4"/>
                    <a:pt x="14" y="5"/>
                  </a:cubicBezTo>
                  <a:cubicBezTo>
                    <a:pt x="18" y="7"/>
                    <a:pt x="28" y="12"/>
                    <a:pt x="31" y="13"/>
                  </a:cubicBezTo>
                  <a:cubicBezTo>
                    <a:pt x="34" y="13"/>
                    <a:pt x="37" y="17"/>
                    <a:pt x="37" y="19"/>
                  </a:cubicBezTo>
                  <a:cubicBezTo>
                    <a:pt x="37" y="20"/>
                    <a:pt x="34" y="22"/>
                    <a:pt x="38" y="23"/>
                  </a:cubicBezTo>
                  <a:cubicBezTo>
                    <a:pt x="42" y="23"/>
                    <a:pt x="48" y="24"/>
                    <a:pt x="51" y="27"/>
                  </a:cubicBezTo>
                  <a:cubicBezTo>
                    <a:pt x="53" y="30"/>
                    <a:pt x="53" y="32"/>
                    <a:pt x="53" y="33"/>
                  </a:cubicBezTo>
                  <a:cubicBezTo>
                    <a:pt x="53" y="34"/>
                    <a:pt x="46" y="32"/>
                    <a:pt x="46" y="34"/>
                  </a:cubicBezTo>
                  <a:cubicBezTo>
                    <a:pt x="46" y="36"/>
                    <a:pt x="51" y="40"/>
                    <a:pt x="53" y="42"/>
                  </a:cubicBezTo>
                  <a:cubicBezTo>
                    <a:pt x="55" y="44"/>
                    <a:pt x="57" y="50"/>
                    <a:pt x="58" y="50"/>
                  </a:cubicBezTo>
                  <a:cubicBezTo>
                    <a:pt x="60" y="50"/>
                    <a:pt x="63" y="49"/>
                    <a:pt x="64" y="49"/>
                  </a:cubicBezTo>
                  <a:cubicBezTo>
                    <a:pt x="66" y="50"/>
                    <a:pt x="64" y="52"/>
                    <a:pt x="66" y="53"/>
                  </a:cubicBezTo>
                  <a:cubicBezTo>
                    <a:pt x="68" y="54"/>
                    <a:pt x="67" y="57"/>
                    <a:pt x="70" y="57"/>
                  </a:cubicBezTo>
                  <a:cubicBezTo>
                    <a:pt x="74" y="57"/>
                    <a:pt x="76" y="59"/>
                    <a:pt x="77" y="61"/>
                  </a:cubicBezTo>
                  <a:cubicBezTo>
                    <a:pt x="77" y="62"/>
                    <a:pt x="74" y="64"/>
                    <a:pt x="70" y="63"/>
                  </a:cubicBezTo>
                  <a:cubicBezTo>
                    <a:pt x="66" y="63"/>
                    <a:pt x="64" y="60"/>
                    <a:pt x="60" y="60"/>
                  </a:cubicBezTo>
                  <a:cubicBezTo>
                    <a:pt x="56" y="60"/>
                    <a:pt x="53" y="62"/>
                    <a:pt x="50" y="58"/>
                  </a:cubicBezTo>
                  <a:cubicBezTo>
                    <a:pt x="47" y="54"/>
                    <a:pt x="43" y="45"/>
                    <a:pt x="39" y="43"/>
                  </a:cubicBezTo>
                  <a:cubicBezTo>
                    <a:pt x="36" y="41"/>
                    <a:pt x="30" y="39"/>
                    <a:pt x="26" y="39"/>
                  </a:cubicBezTo>
                  <a:cubicBezTo>
                    <a:pt x="23" y="39"/>
                    <a:pt x="19" y="42"/>
                    <a:pt x="18" y="43"/>
                  </a:cubicBezTo>
                  <a:cubicBezTo>
                    <a:pt x="17" y="44"/>
                    <a:pt x="22" y="48"/>
                    <a:pt x="20" y="49"/>
                  </a:cubicBezTo>
                  <a:cubicBezTo>
                    <a:pt x="17" y="50"/>
                    <a:pt x="13" y="52"/>
                    <a:pt x="11" y="52"/>
                  </a:cubicBezTo>
                  <a:cubicBezTo>
                    <a:pt x="8" y="51"/>
                    <a:pt x="3" y="52"/>
                    <a:pt x="0" y="5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43" name="Freeform 397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9279292" y="3460765"/>
              <a:ext cx="96731" cy="141396"/>
            </a:xfrm>
            <a:custGeom>
              <a:avLst/>
              <a:gdLst>
                <a:gd name="T0" fmla="*/ 2147483647 w 28"/>
                <a:gd name="T1" fmla="*/ 2147483647 h 39"/>
                <a:gd name="T2" fmla="*/ 2147483647 w 28"/>
                <a:gd name="T3" fmla="*/ 2147483647 h 39"/>
                <a:gd name="T4" fmla="*/ 2147483647 w 28"/>
                <a:gd name="T5" fmla="*/ 2147483647 h 39"/>
                <a:gd name="T6" fmla="*/ 2147483647 w 28"/>
                <a:gd name="T7" fmla="*/ 0 h 39"/>
                <a:gd name="T8" fmla="*/ 2147483647 w 28"/>
                <a:gd name="T9" fmla="*/ 2147483647 h 39"/>
                <a:gd name="T10" fmla="*/ 2147483647 w 28"/>
                <a:gd name="T11" fmla="*/ 2147483647 h 39"/>
                <a:gd name="T12" fmla="*/ 2147483647 w 28"/>
                <a:gd name="T13" fmla="*/ 2147483647 h 39"/>
                <a:gd name="T14" fmla="*/ 2147483647 w 28"/>
                <a:gd name="T15" fmla="*/ 2147483647 h 39"/>
                <a:gd name="T16" fmla="*/ 2147483647 w 28"/>
                <a:gd name="T17" fmla="*/ 2147483647 h 39"/>
                <a:gd name="T18" fmla="*/ 2147483647 w 28"/>
                <a:gd name="T19" fmla="*/ 2147483647 h 39"/>
                <a:gd name="T20" fmla="*/ 2147483647 w 28"/>
                <a:gd name="T21" fmla="*/ 2147483647 h 39"/>
                <a:gd name="T22" fmla="*/ 2147483647 w 28"/>
                <a:gd name="T23" fmla="*/ 2147483647 h 39"/>
                <a:gd name="T24" fmla="*/ 2147483647 w 28"/>
                <a:gd name="T25" fmla="*/ 2147483647 h 39"/>
                <a:gd name="T26" fmla="*/ 2147483647 w 28"/>
                <a:gd name="T27" fmla="*/ 2147483647 h 3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8"/>
                <a:gd name="T43" fmla="*/ 0 h 39"/>
                <a:gd name="T44" fmla="*/ 28 w 28"/>
                <a:gd name="T45" fmla="*/ 39 h 3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8" h="39">
                  <a:moveTo>
                    <a:pt x="7" y="12"/>
                  </a:moveTo>
                  <a:cubicBezTo>
                    <a:pt x="6" y="11"/>
                    <a:pt x="4" y="6"/>
                    <a:pt x="4" y="6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2"/>
                    <a:pt x="21" y="3"/>
                    <a:pt x="22" y="4"/>
                  </a:cubicBezTo>
                  <a:cubicBezTo>
                    <a:pt x="24" y="6"/>
                    <a:pt x="28" y="12"/>
                    <a:pt x="28" y="15"/>
                  </a:cubicBezTo>
                  <a:cubicBezTo>
                    <a:pt x="28" y="18"/>
                    <a:pt x="27" y="26"/>
                    <a:pt x="26" y="27"/>
                  </a:cubicBezTo>
                  <a:cubicBezTo>
                    <a:pt x="26" y="28"/>
                    <a:pt x="26" y="31"/>
                    <a:pt x="24" y="31"/>
                  </a:cubicBezTo>
                  <a:cubicBezTo>
                    <a:pt x="21" y="31"/>
                    <a:pt x="15" y="33"/>
                    <a:pt x="13" y="34"/>
                  </a:cubicBezTo>
                  <a:cubicBezTo>
                    <a:pt x="10" y="35"/>
                    <a:pt x="7" y="39"/>
                    <a:pt x="5" y="39"/>
                  </a:cubicBezTo>
                  <a:cubicBezTo>
                    <a:pt x="3" y="38"/>
                    <a:pt x="2" y="36"/>
                    <a:pt x="1" y="33"/>
                  </a:cubicBezTo>
                  <a:cubicBezTo>
                    <a:pt x="0" y="31"/>
                    <a:pt x="5" y="26"/>
                    <a:pt x="5" y="24"/>
                  </a:cubicBezTo>
                  <a:cubicBezTo>
                    <a:pt x="5" y="23"/>
                    <a:pt x="1" y="18"/>
                    <a:pt x="2" y="16"/>
                  </a:cubicBezTo>
                  <a:cubicBezTo>
                    <a:pt x="3" y="14"/>
                    <a:pt x="7" y="13"/>
                    <a:pt x="7" y="12"/>
                  </a:cubicBezTo>
                  <a:close/>
                </a:path>
              </a:pathLst>
            </a:custGeom>
            <a:solidFill>
              <a:srgbClr val="AF235F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44" name="Freeform 398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9231956" y="3309782"/>
              <a:ext cx="172881" cy="172551"/>
            </a:xfrm>
            <a:custGeom>
              <a:avLst/>
              <a:gdLst>
                <a:gd name="T0" fmla="*/ 0 w 49"/>
                <a:gd name="T1" fmla="*/ 2147483647 h 47"/>
                <a:gd name="T2" fmla="*/ 2147483647 w 49"/>
                <a:gd name="T3" fmla="*/ 2147483647 h 47"/>
                <a:gd name="T4" fmla="*/ 2147483647 w 49"/>
                <a:gd name="T5" fmla="*/ 2147483647 h 47"/>
                <a:gd name="T6" fmla="*/ 2147483647 w 49"/>
                <a:gd name="T7" fmla="*/ 2147483647 h 47"/>
                <a:gd name="T8" fmla="*/ 2147483647 w 49"/>
                <a:gd name="T9" fmla="*/ 2147483647 h 47"/>
                <a:gd name="T10" fmla="*/ 2147483647 w 49"/>
                <a:gd name="T11" fmla="*/ 2147483647 h 47"/>
                <a:gd name="T12" fmla="*/ 2147483647 w 49"/>
                <a:gd name="T13" fmla="*/ 2147483647 h 47"/>
                <a:gd name="T14" fmla="*/ 2147483647 w 49"/>
                <a:gd name="T15" fmla="*/ 0 h 47"/>
                <a:gd name="T16" fmla="*/ 2147483647 w 49"/>
                <a:gd name="T17" fmla="*/ 0 h 47"/>
                <a:gd name="T18" fmla="*/ 2147483647 w 49"/>
                <a:gd name="T19" fmla="*/ 2147483647 h 47"/>
                <a:gd name="T20" fmla="*/ 2147483647 w 49"/>
                <a:gd name="T21" fmla="*/ 2147483647 h 47"/>
                <a:gd name="T22" fmla="*/ 2147483647 w 49"/>
                <a:gd name="T23" fmla="*/ 2147483647 h 47"/>
                <a:gd name="T24" fmla="*/ 2147483647 w 49"/>
                <a:gd name="T25" fmla="*/ 2147483647 h 47"/>
                <a:gd name="T26" fmla="*/ 2147483647 w 49"/>
                <a:gd name="T27" fmla="*/ 2147483647 h 47"/>
                <a:gd name="T28" fmla="*/ 2147483647 w 49"/>
                <a:gd name="T29" fmla="*/ 2147483647 h 47"/>
                <a:gd name="T30" fmla="*/ 2147483647 w 49"/>
                <a:gd name="T31" fmla="*/ 2147483647 h 47"/>
                <a:gd name="T32" fmla="*/ 2147483647 w 49"/>
                <a:gd name="T33" fmla="*/ 2147483647 h 47"/>
                <a:gd name="T34" fmla="*/ 2147483647 w 49"/>
                <a:gd name="T35" fmla="*/ 2147483647 h 47"/>
                <a:gd name="T36" fmla="*/ 2147483647 w 49"/>
                <a:gd name="T37" fmla="*/ 2147483647 h 47"/>
                <a:gd name="T38" fmla="*/ 2147483647 w 49"/>
                <a:gd name="T39" fmla="*/ 2147483647 h 47"/>
                <a:gd name="T40" fmla="*/ 2147483647 w 49"/>
                <a:gd name="T41" fmla="*/ 2147483647 h 47"/>
                <a:gd name="T42" fmla="*/ 2147483647 w 49"/>
                <a:gd name="T43" fmla="*/ 2147483647 h 47"/>
                <a:gd name="T44" fmla="*/ 0 w 49"/>
                <a:gd name="T45" fmla="*/ 2147483647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9"/>
                <a:gd name="T70" fmla="*/ 0 h 47"/>
                <a:gd name="T71" fmla="*/ 49 w 49"/>
                <a:gd name="T72" fmla="*/ 47 h 47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9" h="47">
                  <a:moveTo>
                    <a:pt x="0" y="29"/>
                  </a:moveTo>
                  <a:cubicBezTo>
                    <a:pt x="2" y="26"/>
                    <a:pt x="2" y="26"/>
                    <a:pt x="2" y="26"/>
                  </a:cubicBezTo>
                  <a:cubicBezTo>
                    <a:pt x="2" y="25"/>
                    <a:pt x="8" y="22"/>
                    <a:pt x="10" y="21"/>
                  </a:cubicBezTo>
                  <a:cubicBezTo>
                    <a:pt x="12" y="20"/>
                    <a:pt x="14" y="15"/>
                    <a:pt x="17" y="13"/>
                  </a:cubicBezTo>
                  <a:cubicBezTo>
                    <a:pt x="20" y="11"/>
                    <a:pt x="25" y="14"/>
                    <a:pt x="27" y="14"/>
                  </a:cubicBezTo>
                  <a:cubicBezTo>
                    <a:pt x="30" y="14"/>
                    <a:pt x="28" y="11"/>
                    <a:pt x="29" y="10"/>
                  </a:cubicBezTo>
                  <a:cubicBezTo>
                    <a:pt x="30" y="9"/>
                    <a:pt x="35" y="7"/>
                    <a:pt x="37" y="7"/>
                  </a:cubicBezTo>
                  <a:cubicBezTo>
                    <a:pt x="38" y="6"/>
                    <a:pt x="40" y="1"/>
                    <a:pt x="43" y="0"/>
                  </a:cubicBezTo>
                  <a:cubicBezTo>
                    <a:pt x="44" y="0"/>
                    <a:pt x="45" y="0"/>
                    <a:pt x="46" y="0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7"/>
                    <a:pt x="48" y="7"/>
                    <a:pt x="47" y="8"/>
                  </a:cubicBezTo>
                  <a:cubicBezTo>
                    <a:pt x="45" y="9"/>
                    <a:pt x="41" y="13"/>
                    <a:pt x="41" y="15"/>
                  </a:cubicBezTo>
                  <a:cubicBezTo>
                    <a:pt x="41" y="17"/>
                    <a:pt x="44" y="18"/>
                    <a:pt x="42" y="20"/>
                  </a:cubicBezTo>
                  <a:cubicBezTo>
                    <a:pt x="39" y="21"/>
                    <a:pt x="35" y="25"/>
                    <a:pt x="34" y="26"/>
                  </a:cubicBezTo>
                  <a:cubicBezTo>
                    <a:pt x="32" y="27"/>
                    <a:pt x="27" y="28"/>
                    <a:pt x="26" y="31"/>
                  </a:cubicBezTo>
                  <a:cubicBezTo>
                    <a:pt x="26" y="33"/>
                    <a:pt x="25" y="35"/>
                    <a:pt x="28" y="36"/>
                  </a:cubicBezTo>
                  <a:cubicBezTo>
                    <a:pt x="29" y="37"/>
                    <a:pt x="30" y="39"/>
                    <a:pt x="32" y="41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7" y="47"/>
                    <a:pt x="8" y="46"/>
                    <a:pt x="5" y="45"/>
                  </a:cubicBezTo>
                  <a:cubicBezTo>
                    <a:pt x="1" y="44"/>
                    <a:pt x="8" y="41"/>
                    <a:pt x="8" y="39"/>
                  </a:cubicBezTo>
                  <a:cubicBezTo>
                    <a:pt x="8" y="38"/>
                    <a:pt x="10" y="33"/>
                    <a:pt x="7" y="32"/>
                  </a:cubicBezTo>
                  <a:cubicBezTo>
                    <a:pt x="6" y="31"/>
                    <a:pt x="3" y="30"/>
                    <a:pt x="0" y="2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45" name="Freeform 399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9120818" y="3880160"/>
              <a:ext cx="51453" cy="100655"/>
            </a:xfrm>
            <a:custGeom>
              <a:avLst/>
              <a:gdLst>
                <a:gd name="T0" fmla="*/ 0 w 15"/>
                <a:gd name="T1" fmla="*/ 2147483647 h 27"/>
                <a:gd name="T2" fmla="*/ 2147483647 w 15"/>
                <a:gd name="T3" fmla="*/ 0 h 27"/>
                <a:gd name="T4" fmla="*/ 2147483647 w 15"/>
                <a:gd name="T5" fmla="*/ 2147483647 h 27"/>
                <a:gd name="T6" fmla="*/ 2147483647 w 15"/>
                <a:gd name="T7" fmla="*/ 2147483647 h 27"/>
                <a:gd name="T8" fmla="*/ 2147483647 w 15"/>
                <a:gd name="T9" fmla="*/ 2147483647 h 27"/>
                <a:gd name="T10" fmla="*/ 0 w 15"/>
                <a:gd name="T11" fmla="*/ 2147483647 h 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7"/>
                <a:gd name="T20" fmla="*/ 15 w 15"/>
                <a:gd name="T21" fmla="*/ 27 h 2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7">
                  <a:moveTo>
                    <a:pt x="0" y="17"/>
                  </a:moveTo>
                  <a:cubicBezTo>
                    <a:pt x="0" y="14"/>
                    <a:pt x="6" y="2"/>
                    <a:pt x="9" y="0"/>
                  </a:cubicBezTo>
                  <a:cubicBezTo>
                    <a:pt x="9" y="0"/>
                    <a:pt x="14" y="0"/>
                    <a:pt x="14" y="2"/>
                  </a:cubicBezTo>
                  <a:cubicBezTo>
                    <a:pt x="15" y="4"/>
                    <a:pt x="12" y="15"/>
                    <a:pt x="9" y="17"/>
                  </a:cubicBezTo>
                  <a:cubicBezTo>
                    <a:pt x="7" y="19"/>
                    <a:pt x="8" y="26"/>
                    <a:pt x="6" y="27"/>
                  </a:cubicBezTo>
                  <a:cubicBezTo>
                    <a:pt x="4" y="27"/>
                    <a:pt x="1" y="19"/>
                    <a:pt x="0" y="1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46" name="Freeform 400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9775297" y="5814173"/>
              <a:ext cx="107022" cy="103051"/>
            </a:xfrm>
            <a:custGeom>
              <a:avLst/>
              <a:gdLst>
                <a:gd name="T0" fmla="*/ 2147483647 w 30"/>
                <a:gd name="T1" fmla="*/ 2147483647 h 28"/>
                <a:gd name="T2" fmla="*/ 2147483647 w 30"/>
                <a:gd name="T3" fmla="*/ 2147483647 h 28"/>
                <a:gd name="T4" fmla="*/ 2147483647 w 30"/>
                <a:gd name="T5" fmla="*/ 2147483647 h 28"/>
                <a:gd name="T6" fmla="*/ 2147483647 w 30"/>
                <a:gd name="T7" fmla="*/ 2147483647 h 28"/>
                <a:gd name="T8" fmla="*/ 2147483647 w 30"/>
                <a:gd name="T9" fmla="*/ 2147483647 h 28"/>
                <a:gd name="T10" fmla="*/ 2147483647 w 30"/>
                <a:gd name="T11" fmla="*/ 2147483647 h 28"/>
                <a:gd name="T12" fmla="*/ 2147483647 w 30"/>
                <a:gd name="T13" fmla="*/ 2147483647 h 28"/>
                <a:gd name="T14" fmla="*/ 2147483647 w 30"/>
                <a:gd name="T15" fmla="*/ 2147483647 h 28"/>
                <a:gd name="T16" fmla="*/ 2147483647 w 30"/>
                <a:gd name="T17" fmla="*/ 2147483647 h 28"/>
                <a:gd name="T18" fmla="*/ 2147483647 w 30"/>
                <a:gd name="T19" fmla="*/ 2147483647 h 28"/>
                <a:gd name="T20" fmla="*/ 2147483647 w 30"/>
                <a:gd name="T21" fmla="*/ 2147483647 h 28"/>
                <a:gd name="T22" fmla="*/ 2147483647 w 30"/>
                <a:gd name="T23" fmla="*/ 2147483647 h 28"/>
                <a:gd name="T24" fmla="*/ 2147483647 w 30"/>
                <a:gd name="T25" fmla="*/ 2147483647 h 28"/>
                <a:gd name="T26" fmla="*/ 2147483647 w 30"/>
                <a:gd name="T27" fmla="*/ 2147483647 h 28"/>
                <a:gd name="T28" fmla="*/ 2147483647 w 30"/>
                <a:gd name="T29" fmla="*/ 2147483647 h 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0"/>
                <a:gd name="T46" fmla="*/ 0 h 28"/>
                <a:gd name="T47" fmla="*/ 30 w 30"/>
                <a:gd name="T48" fmla="*/ 28 h 2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0" h="28">
                  <a:moveTo>
                    <a:pt x="1" y="7"/>
                  </a:moveTo>
                  <a:cubicBezTo>
                    <a:pt x="1" y="5"/>
                    <a:pt x="0" y="2"/>
                    <a:pt x="1" y="1"/>
                  </a:cubicBezTo>
                  <a:cubicBezTo>
                    <a:pt x="2" y="0"/>
                    <a:pt x="5" y="1"/>
                    <a:pt x="6" y="2"/>
                  </a:cubicBezTo>
                  <a:cubicBezTo>
                    <a:pt x="8" y="3"/>
                    <a:pt x="12" y="5"/>
                    <a:pt x="15" y="5"/>
                  </a:cubicBezTo>
                  <a:cubicBezTo>
                    <a:pt x="18" y="5"/>
                    <a:pt x="24" y="1"/>
                    <a:pt x="25" y="1"/>
                  </a:cubicBezTo>
                  <a:cubicBezTo>
                    <a:pt x="26" y="1"/>
                    <a:pt x="28" y="1"/>
                    <a:pt x="29" y="2"/>
                  </a:cubicBezTo>
                  <a:cubicBezTo>
                    <a:pt x="30" y="3"/>
                    <a:pt x="30" y="13"/>
                    <a:pt x="29" y="14"/>
                  </a:cubicBezTo>
                  <a:cubicBezTo>
                    <a:pt x="28" y="15"/>
                    <a:pt x="26" y="17"/>
                    <a:pt x="26" y="18"/>
                  </a:cubicBezTo>
                  <a:cubicBezTo>
                    <a:pt x="26" y="20"/>
                    <a:pt x="26" y="23"/>
                    <a:pt x="25" y="23"/>
                  </a:cubicBezTo>
                  <a:cubicBezTo>
                    <a:pt x="23" y="24"/>
                    <a:pt x="22" y="22"/>
                    <a:pt x="21" y="23"/>
                  </a:cubicBezTo>
                  <a:cubicBezTo>
                    <a:pt x="20" y="24"/>
                    <a:pt x="19" y="28"/>
                    <a:pt x="17" y="28"/>
                  </a:cubicBezTo>
                  <a:cubicBezTo>
                    <a:pt x="15" y="28"/>
                    <a:pt x="12" y="27"/>
                    <a:pt x="11" y="26"/>
                  </a:cubicBezTo>
                  <a:cubicBezTo>
                    <a:pt x="9" y="24"/>
                    <a:pt x="5" y="18"/>
                    <a:pt x="5" y="17"/>
                  </a:cubicBezTo>
                  <a:cubicBezTo>
                    <a:pt x="5" y="15"/>
                    <a:pt x="8" y="14"/>
                    <a:pt x="6" y="12"/>
                  </a:cubicBezTo>
                  <a:cubicBezTo>
                    <a:pt x="5" y="10"/>
                    <a:pt x="2" y="9"/>
                    <a:pt x="1" y="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47" name="Freeform 401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8935588" y="4898692"/>
              <a:ext cx="1086682" cy="862757"/>
            </a:xfrm>
            <a:custGeom>
              <a:avLst/>
              <a:gdLst>
                <a:gd name="T0" fmla="*/ 2147483647 w 310"/>
                <a:gd name="T1" fmla="*/ 2147483647 h 234"/>
                <a:gd name="T2" fmla="*/ 2147483647 w 310"/>
                <a:gd name="T3" fmla="*/ 2147483647 h 234"/>
                <a:gd name="T4" fmla="*/ 2147483647 w 310"/>
                <a:gd name="T5" fmla="*/ 2147483647 h 234"/>
                <a:gd name="T6" fmla="*/ 2147483647 w 310"/>
                <a:gd name="T7" fmla="*/ 2147483647 h 234"/>
                <a:gd name="T8" fmla="*/ 2147483647 w 310"/>
                <a:gd name="T9" fmla="*/ 2147483647 h 234"/>
                <a:gd name="T10" fmla="*/ 2147483647 w 310"/>
                <a:gd name="T11" fmla="*/ 2147483647 h 234"/>
                <a:gd name="T12" fmla="*/ 2147483647 w 310"/>
                <a:gd name="T13" fmla="*/ 2147483647 h 234"/>
                <a:gd name="T14" fmla="*/ 2147483647 w 310"/>
                <a:gd name="T15" fmla="*/ 2147483647 h 234"/>
                <a:gd name="T16" fmla="*/ 2147483647 w 310"/>
                <a:gd name="T17" fmla="*/ 2147483647 h 234"/>
                <a:gd name="T18" fmla="*/ 2147483647 w 310"/>
                <a:gd name="T19" fmla="*/ 2147483647 h 234"/>
                <a:gd name="T20" fmla="*/ 2147483647 w 310"/>
                <a:gd name="T21" fmla="*/ 2147483647 h 234"/>
                <a:gd name="T22" fmla="*/ 2147483647 w 310"/>
                <a:gd name="T23" fmla="*/ 2147483647 h 234"/>
                <a:gd name="T24" fmla="*/ 2147483647 w 310"/>
                <a:gd name="T25" fmla="*/ 2147483647 h 234"/>
                <a:gd name="T26" fmla="*/ 2147483647 w 310"/>
                <a:gd name="T27" fmla="*/ 2147483647 h 234"/>
                <a:gd name="T28" fmla="*/ 2147483647 w 310"/>
                <a:gd name="T29" fmla="*/ 2147483647 h 234"/>
                <a:gd name="T30" fmla="*/ 2147483647 w 310"/>
                <a:gd name="T31" fmla="*/ 2147483647 h 234"/>
                <a:gd name="T32" fmla="*/ 2147483647 w 310"/>
                <a:gd name="T33" fmla="*/ 2147483647 h 234"/>
                <a:gd name="T34" fmla="*/ 2147483647 w 310"/>
                <a:gd name="T35" fmla="*/ 2147483647 h 234"/>
                <a:gd name="T36" fmla="*/ 2147483647 w 310"/>
                <a:gd name="T37" fmla="*/ 2147483647 h 234"/>
                <a:gd name="T38" fmla="*/ 2147483647 w 310"/>
                <a:gd name="T39" fmla="*/ 2147483647 h 234"/>
                <a:gd name="T40" fmla="*/ 2147483647 w 310"/>
                <a:gd name="T41" fmla="*/ 2147483647 h 234"/>
                <a:gd name="T42" fmla="*/ 2147483647 w 310"/>
                <a:gd name="T43" fmla="*/ 2147483647 h 234"/>
                <a:gd name="T44" fmla="*/ 2147483647 w 310"/>
                <a:gd name="T45" fmla="*/ 2147483647 h 234"/>
                <a:gd name="T46" fmla="*/ 2147483647 w 310"/>
                <a:gd name="T47" fmla="*/ 0 h 234"/>
                <a:gd name="T48" fmla="*/ 2147483647 w 310"/>
                <a:gd name="T49" fmla="*/ 2147483647 h 234"/>
                <a:gd name="T50" fmla="*/ 2147483647 w 310"/>
                <a:gd name="T51" fmla="*/ 2147483647 h 234"/>
                <a:gd name="T52" fmla="*/ 2147483647 w 310"/>
                <a:gd name="T53" fmla="*/ 2147483647 h 234"/>
                <a:gd name="T54" fmla="*/ 2147483647 w 310"/>
                <a:gd name="T55" fmla="*/ 2147483647 h 234"/>
                <a:gd name="T56" fmla="*/ 2147483647 w 310"/>
                <a:gd name="T57" fmla="*/ 2147483647 h 234"/>
                <a:gd name="T58" fmla="*/ 2147483647 w 310"/>
                <a:gd name="T59" fmla="*/ 2147483647 h 234"/>
                <a:gd name="T60" fmla="*/ 2147483647 w 310"/>
                <a:gd name="T61" fmla="*/ 2147483647 h 234"/>
                <a:gd name="T62" fmla="*/ 2147483647 w 310"/>
                <a:gd name="T63" fmla="*/ 2147483647 h 234"/>
                <a:gd name="T64" fmla="*/ 2147483647 w 310"/>
                <a:gd name="T65" fmla="*/ 2147483647 h 234"/>
                <a:gd name="T66" fmla="*/ 2147483647 w 310"/>
                <a:gd name="T67" fmla="*/ 2147483647 h 234"/>
                <a:gd name="T68" fmla="*/ 2147483647 w 310"/>
                <a:gd name="T69" fmla="*/ 2147483647 h 234"/>
                <a:gd name="T70" fmla="*/ 2147483647 w 310"/>
                <a:gd name="T71" fmla="*/ 2147483647 h 234"/>
                <a:gd name="T72" fmla="*/ 2147483647 w 310"/>
                <a:gd name="T73" fmla="*/ 2147483647 h 234"/>
                <a:gd name="T74" fmla="*/ 2147483647 w 310"/>
                <a:gd name="T75" fmla="*/ 2147483647 h 234"/>
                <a:gd name="T76" fmla="*/ 2147483647 w 310"/>
                <a:gd name="T77" fmla="*/ 2147483647 h 234"/>
                <a:gd name="T78" fmla="*/ 2147483647 w 310"/>
                <a:gd name="T79" fmla="*/ 2147483647 h 234"/>
                <a:gd name="T80" fmla="*/ 2147483647 w 310"/>
                <a:gd name="T81" fmla="*/ 2147483647 h 234"/>
                <a:gd name="T82" fmla="*/ 2147483647 w 310"/>
                <a:gd name="T83" fmla="*/ 2147483647 h 234"/>
                <a:gd name="T84" fmla="*/ 2147483647 w 310"/>
                <a:gd name="T85" fmla="*/ 2147483647 h 234"/>
                <a:gd name="T86" fmla="*/ 2147483647 w 310"/>
                <a:gd name="T87" fmla="*/ 2147483647 h 234"/>
                <a:gd name="T88" fmla="*/ 2147483647 w 310"/>
                <a:gd name="T89" fmla="*/ 2147483647 h 234"/>
                <a:gd name="T90" fmla="*/ 2147483647 w 310"/>
                <a:gd name="T91" fmla="*/ 2147483647 h 234"/>
                <a:gd name="T92" fmla="*/ 2147483647 w 310"/>
                <a:gd name="T93" fmla="*/ 2147483647 h 234"/>
                <a:gd name="T94" fmla="*/ 2147483647 w 310"/>
                <a:gd name="T95" fmla="*/ 2147483647 h 234"/>
                <a:gd name="T96" fmla="*/ 2147483647 w 310"/>
                <a:gd name="T97" fmla="*/ 2147483647 h 234"/>
                <a:gd name="T98" fmla="*/ 2147483647 w 310"/>
                <a:gd name="T99" fmla="*/ 2147483647 h 234"/>
                <a:gd name="T100" fmla="*/ 2147483647 w 310"/>
                <a:gd name="T101" fmla="*/ 2147483647 h 234"/>
                <a:gd name="T102" fmla="*/ 2147483647 w 310"/>
                <a:gd name="T103" fmla="*/ 2147483647 h 234"/>
                <a:gd name="T104" fmla="*/ 2147483647 w 310"/>
                <a:gd name="T105" fmla="*/ 2147483647 h 234"/>
                <a:gd name="T106" fmla="*/ 2147483647 w 310"/>
                <a:gd name="T107" fmla="*/ 2147483647 h 234"/>
                <a:gd name="T108" fmla="*/ 2147483647 w 310"/>
                <a:gd name="T109" fmla="*/ 2147483647 h 234"/>
                <a:gd name="T110" fmla="*/ 2147483647 w 310"/>
                <a:gd name="T111" fmla="*/ 2147483647 h 234"/>
                <a:gd name="T112" fmla="*/ 2147483647 w 310"/>
                <a:gd name="T113" fmla="*/ 2147483647 h 23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10"/>
                <a:gd name="T172" fmla="*/ 0 h 234"/>
                <a:gd name="T173" fmla="*/ 310 w 310"/>
                <a:gd name="T174" fmla="*/ 234 h 23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10" h="234">
                  <a:moveTo>
                    <a:pt x="22" y="197"/>
                  </a:moveTo>
                  <a:cubicBezTo>
                    <a:pt x="21" y="196"/>
                    <a:pt x="19" y="194"/>
                    <a:pt x="18" y="194"/>
                  </a:cubicBezTo>
                  <a:cubicBezTo>
                    <a:pt x="17" y="194"/>
                    <a:pt x="16" y="194"/>
                    <a:pt x="14" y="193"/>
                  </a:cubicBezTo>
                  <a:cubicBezTo>
                    <a:pt x="13" y="193"/>
                    <a:pt x="14" y="186"/>
                    <a:pt x="14" y="185"/>
                  </a:cubicBezTo>
                  <a:cubicBezTo>
                    <a:pt x="14" y="183"/>
                    <a:pt x="18" y="186"/>
                    <a:pt x="19" y="186"/>
                  </a:cubicBezTo>
                  <a:cubicBezTo>
                    <a:pt x="19" y="185"/>
                    <a:pt x="20" y="181"/>
                    <a:pt x="20" y="179"/>
                  </a:cubicBezTo>
                  <a:cubicBezTo>
                    <a:pt x="20" y="177"/>
                    <a:pt x="20" y="174"/>
                    <a:pt x="20" y="174"/>
                  </a:cubicBezTo>
                  <a:cubicBezTo>
                    <a:pt x="19" y="167"/>
                    <a:pt x="15" y="162"/>
                    <a:pt x="14" y="157"/>
                  </a:cubicBezTo>
                  <a:cubicBezTo>
                    <a:pt x="13" y="152"/>
                    <a:pt x="13" y="146"/>
                    <a:pt x="11" y="142"/>
                  </a:cubicBezTo>
                  <a:cubicBezTo>
                    <a:pt x="8" y="138"/>
                    <a:pt x="3" y="129"/>
                    <a:pt x="2" y="127"/>
                  </a:cubicBezTo>
                  <a:cubicBezTo>
                    <a:pt x="1" y="125"/>
                    <a:pt x="9" y="125"/>
                    <a:pt x="9" y="122"/>
                  </a:cubicBezTo>
                  <a:cubicBezTo>
                    <a:pt x="7" y="118"/>
                    <a:pt x="0" y="110"/>
                    <a:pt x="1" y="108"/>
                  </a:cubicBezTo>
                  <a:cubicBezTo>
                    <a:pt x="2" y="106"/>
                    <a:pt x="7" y="104"/>
                    <a:pt x="6" y="100"/>
                  </a:cubicBezTo>
                  <a:cubicBezTo>
                    <a:pt x="5" y="96"/>
                    <a:pt x="7" y="90"/>
                    <a:pt x="8" y="89"/>
                  </a:cubicBezTo>
                  <a:cubicBezTo>
                    <a:pt x="9" y="88"/>
                    <a:pt x="18" y="86"/>
                    <a:pt x="21" y="83"/>
                  </a:cubicBezTo>
                  <a:cubicBezTo>
                    <a:pt x="23" y="81"/>
                    <a:pt x="27" y="78"/>
                    <a:pt x="29" y="78"/>
                  </a:cubicBezTo>
                  <a:cubicBezTo>
                    <a:pt x="31" y="78"/>
                    <a:pt x="35" y="79"/>
                    <a:pt x="39" y="78"/>
                  </a:cubicBezTo>
                  <a:cubicBezTo>
                    <a:pt x="42" y="78"/>
                    <a:pt x="58" y="74"/>
                    <a:pt x="60" y="72"/>
                  </a:cubicBezTo>
                  <a:cubicBezTo>
                    <a:pt x="61" y="71"/>
                    <a:pt x="69" y="61"/>
                    <a:pt x="69" y="58"/>
                  </a:cubicBezTo>
                  <a:cubicBezTo>
                    <a:pt x="69" y="56"/>
                    <a:pt x="69" y="52"/>
                    <a:pt x="70" y="51"/>
                  </a:cubicBezTo>
                  <a:cubicBezTo>
                    <a:pt x="71" y="50"/>
                    <a:pt x="75" y="46"/>
                    <a:pt x="76" y="45"/>
                  </a:cubicBezTo>
                  <a:cubicBezTo>
                    <a:pt x="77" y="45"/>
                    <a:pt x="81" y="55"/>
                    <a:pt x="82" y="55"/>
                  </a:cubicBezTo>
                  <a:cubicBezTo>
                    <a:pt x="82" y="54"/>
                    <a:pt x="84" y="42"/>
                    <a:pt x="86" y="40"/>
                  </a:cubicBezTo>
                  <a:cubicBezTo>
                    <a:pt x="88" y="37"/>
                    <a:pt x="93" y="31"/>
                    <a:pt x="95" y="30"/>
                  </a:cubicBezTo>
                  <a:cubicBezTo>
                    <a:pt x="97" y="29"/>
                    <a:pt x="105" y="26"/>
                    <a:pt x="107" y="27"/>
                  </a:cubicBezTo>
                  <a:cubicBezTo>
                    <a:pt x="108" y="27"/>
                    <a:pt x="118" y="35"/>
                    <a:pt x="120" y="35"/>
                  </a:cubicBezTo>
                  <a:cubicBezTo>
                    <a:pt x="122" y="36"/>
                    <a:pt x="126" y="36"/>
                    <a:pt x="127" y="35"/>
                  </a:cubicBezTo>
                  <a:cubicBezTo>
                    <a:pt x="128" y="34"/>
                    <a:pt x="125" y="28"/>
                    <a:pt x="125" y="27"/>
                  </a:cubicBezTo>
                  <a:cubicBezTo>
                    <a:pt x="126" y="27"/>
                    <a:pt x="131" y="17"/>
                    <a:pt x="133" y="16"/>
                  </a:cubicBezTo>
                  <a:cubicBezTo>
                    <a:pt x="135" y="15"/>
                    <a:pt x="137" y="13"/>
                    <a:pt x="139" y="13"/>
                  </a:cubicBezTo>
                  <a:cubicBezTo>
                    <a:pt x="140" y="13"/>
                    <a:pt x="146" y="14"/>
                    <a:pt x="147" y="13"/>
                  </a:cubicBezTo>
                  <a:cubicBezTo>
                    <a:pt x="149" y="12"/>
                    <a:pt x="149" y="5"/>
                    <a:pt x="151" y="5"/>
                  </a:cubicBezTo>
                  <a:cubicBezTo>
                    <a:pt x="153" y="5"/>
                    <a:pt x="158" y="9"/>
                    <a:pt x="162" y="11"/>
                  </a:cubicBezTo>
                  <a:cubicBezTo>
                    <a:pt x="167" y="12"/>
                    <a:pt x="175" y="10"/>
                    <a:pt x="177" y="9"/>
                  </a:cubicBezTo>
                  <a:cubicBezTo>
                    <a:pt x="178" y="8"/>
                    <a:pt x="181" y="13"/>
                    <a:pt x="183" y="14"/>
                  </a:cubicBezTo>
                  <a:cubicBezTo>
                    <a:pt x="185" y="15"/>
                    <a:pt x="176" y="23"/>
                    <a:pt x="176" y="24"/>
                  </a:cubicBezTo>
                  <a:cubicBezTo>
                    <a:pt x="175" y="26"/>
                    <a:pt x="171" y="34"/>
                    <a:pt x="170" y="34"/>
                  </a:cubicBezTo>
                  <a:cubicBezTo>
                    <a:pt x="170" y="35"/>
                    <a:pt x="181" y="41"/>
                    <a:pt x="182" y="42"/>
                  </a:cubicBezTo>
                  <a:cubicBezTo>
                    <a:pt x="184" y="44"/>
                    <a:pt x="189" y="46"/>
                    <a:pt x="191" y="47"/>
                  </a:cubicBezTo>
                  <a:cubicBezTo>
                    <a:pt x="192" y="48"/>
                    <a:pt x="198" y="47"/>
                    <a:pt x="199" y="47"/>
                  </a:cubicBezTo>
                  <a:cubicBezTo>
                    <a:pt x="201" y="48"/>
                    <a:pt x="199" y="53"/>
                    <a:pt x="200" y="53"/>
                  </a:cubicBezTo>
                  <a:cubicBezTo>
                    <a:pt x="201" y="54"/>
                    <a:pt x="207" y="58"/>
                    <a:pt x="210" y="56"/>
                  </a:cubicBezTo>
                  <a:cubicBezTo>
                    <a:pt x="213" y="54"/>
                    <a:pt x="216" y="45"/>
                    <a:pt x="216" y="41"/>
                  </a:cubicBezTo>
                  <a:cubicBezTo>
                    <a:pt x="216" y="38"/>
                    <a:pt x="217" y="31"/>
                    <a:pt x="217" y="28"/>
                  </a:cubicBezTo>
                  <a:cubicBezTo>
                    <a:pt x="217" y="26"/>
                    <a:pt x="219" y="20"/>
                    <a:pt x="219" y="19"/>
                  </a:cubicBezTo>
                  <a:cubicBezTo>
                    <a:pt x="220" y="17"/>
                    <a:pt x="217" y="15"/>
                    <a:pt x="218" y="14"/>
                  </a:cubicBezTo>
                  <a:cubicBezTo>
                    <a:pt x="219" y="13"/>
                    <a:pt x="220" y="10"/>
                    <a:pt x="220" y="8"/>
                  </a:cubicBezTo>
                  <a:cubicBezTo>
                    <a:pt x="221" y="6"/>
                    <a:pt x="221" y="1"/>
                    <a:pt x="222" y="0"/>
                  </a:cubicBezTo>
                  <a:cubicBezTo>
                    <a:pt x="222" y="0"/>
                    <a:pt x="226" y="2"/>
                    <a:pt x="226" y="3"/>
                  </a:cubicBezTo>
                  <a:cubicBezTo>
                    <a:pt x="227" y="4"/>
                    <a:pt x="228" y="9"/>
                    <a:pt x="229" y="11"/>
                  </a:cubicBezTo>
                  <a:cubicBezTo>
                    <a:pt x="229" y="13"/>
                    <a:pt x="232" y="20"/>
                    <a:pt x="232" y="22"/>
                  </a:cubicBezTo>
                  <a:cubicBezTo>
                    <a:pt x="233" y="24"/>
                    <a:pt x="232" y="30"/>
                    <a:pt x="234" y="31"/>
                  </a:cubicBezTo>
                  <a:cubicBezTo>
                    <a:pt x="236" y="31"/>
                    <a:pt x="238" y="28"/>
                    <a:pt x="240" y="29"/>
                  </a:cubicBezTo>
                  <a:cubicBezTo>
                    <a:pt x="242" y="30"/>
                    <a:pt x="245" y="34"/>
                    <a:pt x="246" y="35"/>
                  </a:cubicBezTo>
                  <a:cubicBezTo>
                    <a:pt x="247" y="36"/>
                    <a:pt x="246" y="41"/>
                    <a:pt x="246" y="44"/>
                  </a:cubicBezTo>
                  <a:cubicBezTo>
                    <a:pt x="247" y="47"/>
                    <a:pt x="250" y="50"/>
                    <a:pt x="251" y="52"/>
                  </a:cubicBezTo>
                  <a:cubicBezTo>
                    <a:pt x="252" y="54"/>
                    <a:pt x="251" y="59"/>
                    <a:pt x="252" y="61"/>
                  </a:cubicBezTo>
                  <a:cubicBezTo>
                    <a:pt x="252" y="62"/>
                    <a:pt x="253" y="66"/>
                    <a:pt x="256" y="68"/>
                  </a:cubicBezTo>
                  <a:cubicBezTo>
                    <a:pt x="259" y="70"/>
                    <a:pt x="272" y="75"/>
                    <a:pt x="273" y="77"/>
                  </a:cubicBezTo>
                  <a:cubicBezTo>
                    <a:pt x="274" y="78"/>
                    <a:pt x="273" y="81"/>
                    <a:pt x="274" y="82"/>
                  </a:cubicBezTo>
                  <a:cubicBezTo>
                    <a:pt x="275" y="84"/>
                    <a:pt x="278" y="93"/>
                    <a:pt x="279" y="94"/>
                  </a:cubicBezTo>
                  <a:cubicBezTo>
                    <a:pt x="280" y="94"/>
                    <a:pt x="282" y="89"/>
                    <a:pt x="283" y="90"/>
                  </a:cubicBezTo>
                  <a:cubicBezTo>
                    <a:pt x="285" y="91"/>
                    <a:pt x="287" y="93"/>
                    <a:pt x="288" y="95"/>
                  </a:cubicBezTo>
                  <a:cubicBezTo>
                    <a:pt x="288" y="96"/>
                    <a:pt x="287" y="102"/>
                    <a:pt x="288" y="103"/>
                  </a:cubicBezTo>
                  <a:cubicBezTo>
                    <a:pt x="290" y="104"/>
                    <a:pt x="294" y="106"/>
                    <a:pt x="295" y="108"/>
                  </a:cubicBezTo>
                  <a:cubicBezTo>
                    <a:pt x="297" y="109"/>
                    <a:pt x="299" y="114"/>
                    <a:pt x="300" y="115"/>
                  </a:cubicBezTo>
                  <a:cubicBezTo>
                    <a:pt x="302" y="116"/>
                    <a:pt x="306" y="115"/>
                    <a:pt x="306" y="116"/>
                  </a:cubicBezTo>
                  <a:cubicBezTo>
                    <a:pt x="306" y="117"/>
                    <a:pt x="306" y="128"/>
                    <a:pt x="306" y="131"/>
                  </a:cubicBezTo>
                  <a:cubicBezTo>
                    <a:pt x="307" y="133"/>
                    <a:pt x="309" y="141"/>
                    <a:pt x="310" y="143"/>
                  </a:cubicBezTo>
                  <a:cubicBezTo>
                    <a:pt x="310" y="146"/>
                    <a:pt x="307" y="151"/>
                    <a:pt x="307" y="154"/>
                  </a:cubicBezTo>
                  <a:cubicBezTo>
                    <a:pt x="306" y="157"/>
                    <a:pt x="305" y="169"/>
                    <a:pt x="304" y="170"/>
                  </a:cubicBezTo>
                  <a:cubicBezTo>
                    <a:pt x="303" y="172"/>
                    <a:pt x="299" y="178"/>
                    <a:pt x="297" y="179"/>
                  </a:cubicBezTo>
                  <a:cubicBezTo>
                    <a:pt x="295" y="181"/>
                    <a:pt x="292" y="187"/>
                    <a:pt x="290" y="190"/>
                  </a:cubicBezTo>
                  <a:cubicBezTo>
                    <a:pt x="289" y="193"/>
                    <a:pt x="286" y="201"/>
                    <a:pt x="285" y="204"/>
                  </a:cubicBezTo>
                  <a:cubicBezTo>
                    <a:pt x="284" y="206"/>
                    <a:pt x="282" y="220"/>
                    <a:pt x="282" y="221"/>
                  </a:cubicBezTo>
                  <a:cubicBezTo>
                    <a:pt x="281" y="222"/>
                    <a:pt x="278" y="224"/>
                    <a:pt x="277" y="224"/>
                  </a:cubicBezTo>
                  <a:cubicBezTo>
                    <a:pt x="276" y="224"/>
                    <a:pt x="267" y="223"/>
                    <a:pt x="264" y="225"/>
                  </a:cubicBezTo>
                  <a:cubicBezTo>
                    <a:pt x="261" y="227"/>
                    <a:pt x="256" y="234"/>
                    <a:pt x="254" y="234"/>
                  </a:cubicBezTo>
                  <a:cubicBezTo>
                    <a:pt x="252" y="234"/>
                    <a:pt x="249" y="232"/>
                    <a:pt x="247" y="230"/>
                  </a:cubicBezTo>
                  <a:cubicBezTo>
                    <a:pt x="245" y="229"/>
                    <a:pt x="243" y="227"/>
                    <a:pt x="240" y="228"/>
                  </a:cubicBezTo>
                  <a:cubicBezTo>
                    <a:pt x="237" y="228"/>
                    <a:pt x="234" y="233"/>
                    <a:pt x="232" y="233"/>
                  </a:cubicBezTo>
                  <a:cubicBezTo>
                    <a:pt x="230" y="232"/>
                    <a:pt x="223" y="227"/>
                    <a:pt x="220" y="228"/>
                  </a:cubicBezTo>
                  <a:cubicBezTo>
                    <a:pt x="217" y="228"/>
                    <a:pt x="215" y="229"/>
                    <a:pt x="212" y="228"/>
                  </a:cubicBezTo>
                  <a:cubicBezTo>
                    <a:pt x="210" y="226"/>
                    <a:pt x="203" y="219"/>
                    <a:pt x="203" y="217"/>
                  </a:cubicBezTo>
                  <a:cubicBezTo>
                    <a:pt x="203" y="215"/>
                    <a:pt x="206" y="213"/>
                    <a:pt x="203" y="210"/>
                  </a:cubicBezTo>
                  <a:cubicBezTo>
                    <a:pt x="201" y="207"/>
                    <a:pt x="197" y="203"/>
                    <a:pt x="194" y="203"/>
                  </a:cubicBezTo>
                  <a:cubicBezTo>
                    <a:pt x="192" y="203"/>
                    <a:pt x="193" y="201"/>
                    <a:pt x="194" y="200"/>
                  </a:cubicBezTo>
                  <a:cubicBezTo>
                    <a:pt x="194" y="198"/>
                    <a:pt x="194" y="196"/>
                    <a:pt x="193" y="194"/>
                  </a:cubicBezTo>
                  <a:cubicBezTo>
                    <a:pt x="192" y="192"/>
                    <a:pt x="191" y="192"/>
                    <a:pt x="190" y="193"/>
                  </a:cubicBezTo>
                  <a:cubicBezTo>
                    <a:pt x="189" y="194"/>
                    <a:pt x="188" y="200"/>
                    <a:pt x="187" y="200"/>
                  </a:cubicBezTo>
                  <a:cubicBezTo>
                    <a:pt x="186" y="201"/>
                    <a:pt x="182" y="201"/>
                    <a:pt x="181" y="201"/>
                  </a:cubicBezTo>
                  <a:cubicBezTo>
                    <a:pt x="180" y="200"/>
                    <a:pt x="182" y="196"/>
                    <a:pt x="182" y="196"/>
                  </a:cubicBezTo>
                  <a:cubicBezTo>
                    <a:pt x="182" y="195"/>
                    <a:pt x="186" y="189"/>
                    <a:pt x="187" y="188"/>
                  </a:cubicBezTo>
                  <a:cubicBezTo>
                    <a:pt x="188" y="187"/>
                    <a:pt x="189" y="187"/>
                    <a:pt x="190" y="186"/>
                  </a:cubicBezTo>
                  <a:cubicBezTo>
                    <a:pt x="191" y="185"/>
                    <a:pt x="189" y="175"/>
                    <a:pt x="188" y="174"/>
                  </a:cubicBezTo>
                  <a:cubicBezTo>
                    <a:pt x="188" y="174"/>
                    <a:pt x="184" y="184"/>
                    <a:pt x="184" y="185"/>
                  </a:cubicBezTo>
                  <a:cubicBezTo>
                    <a:pt x="183" y="185"/>
                    <a:pt x="177" y="190"/>
                    <a:pt x="176" y="191"/>
                  </a:cubicBezTo>
                  <a:cubicBezTo>
                    <a:pt x="174" y="193"/>
                    <a:pt x="172" y="198"/>
                    <a:pt x="171" y="198"/>
                  </a:cubicBezTo>
                  <a:cubicBezTo>
                    <a:pt x="170" y="198"/>
                    <a:pt x="168" y="187"/>
                    <a:pt x="165" y="185"/>
                  </a:cubicBezTo>
                  <a:cubicBezTo>
                    <a:pt x="163" y="182"/>
                    <a:pt x="161" y="182"/>
                    <a:pt x="160" y="181"/>
                  </a:cubicBezTo>
                  <a:cubicBezTo>
                    <a:pt x="159" y="179"/>
                    <a:pt x="161" y="176"/>
                    <a:pt x="160" y="176"/>
                  </a:cubicBezTo>
                  <a:cubicBezTo>
                    <a:pt x="159" y="175"/>
                    <a:pt x="156" y="174"/>
                    <a:pt x="154" y="174"/>
                  </a:cubicBezTo>
                  <a:cubicBezTo>
                    <a:pt x="152" y="174"/>
                    <a:pt x="147" y="174"/>
                    <a:pt x="146" y="173"/>
                  </a:cubicBezTo>
                  <a:cubicBezTo>
                    <a:pt x="144" y="172"/>
                    <a:pt x="140" y="168"/>
                    <a:pt x="137" y="168"/>
                  </a:cubicBezTo>
                  <a:cubicBezTo>
                    <a:pt x="134" y="169"/>
                    <a:pt x="125" y="169"/>
                    <a:pt x="122" y="170"/>
                  </a:cubicBezTo>
                  <a:cubicBezTo>
                    <a:pt x="120" y="171"/>
                    <a:pt x="112" y="176"/>
                    <a:pt x="110" y="176"/>
                  </a:cubicBezTo>
                  <a:cubicBezTo>
                    <a:pt x="108" y="176"/>
                    <a:pt x="102" y="175"/>
                    <a:pt x="99" y="176"/>
                  </a:cubicBezTo>
                  <a:cubicBezTo>
                    <a:pt x="96" y="176"/>
                    <a:pt x="86" y="180"/>
                    <a:pt x="85" y="181"/>
                  </a:cubicBezTo>
                  <a:cubicBezTo>
                    <a:pt x="84" y="183"/>
                    <a:pt x="82" y="189"/>
                    <a:pt x="79" y="189"/>
                  </a:cubicBezTo>
                  <a:cubicBezTo>
                    <a:pt x="77" y="190"/>
                    <a:pt x="71" y="190"/>
                    <a:pt x="68" y="190"/>
                  </a:cubicBezTo>
                  <a:cubicBezTo>
                    <a:pt x="65" y="189"/>
                    <a:pt x="55" y="188"/>
                    <a:pt x="52" y="189"/>
                  </a:cubicBezTo>
                  <a:cubicBezTo>
                    <a:pt x="50" y="191"/>
                    <a:pt x="45" y="195"/>
                    <a:pt x="42" y="197"/>
                  </a:cubicBezTo>
                  <a:cubicBezTo>
                    <a:pt x="38" y="198"/>
                    <a:pt x="36" y="200"/>
                    <a:pt x="32" y="200"/>
                  </a:cubicBezTo>
                  <a:cubicBezTo>
                    <a:pt x="27" y="199"/>
                    <a:pt x="23" y="198"/>
                    <a:pt x="22" y="19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48" name="Freeform 402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9234014" y="4242039"/>
              <a:ext cx="45278" cy="71896"/>
            </a:xfrm>
            <a:custGeom>
              <a:avLst/>
              <a:gdLst>
                <a:gd name="T0" fmla="*/ 2147483647 w 13"/>
                <a:gd name="T1" fmla="*/ 2147483647 h 19"/>
                <a:gd name="T2" fmla="*/ 0 w 13"/>
                <a:gd name="T3" fmla="*/ 2147483647 h 19"/>
                <a:gd name="T4" fmla="*/ 2147483647 w 13"/>
                <a:gd name="T5" fmla="*/ 2147483647 h 19"/>
                <a:gd name="T6" fmla="*/ 2147483647 w 13"/>
                <a:gd name="T7" fmla="*/ 2147483647 h 19"/>
                <a:gd name="T8" fmla="*/ 2147483647 w 13"/>
                <a:gd name="T9" fmla="*/ 2147483647 h 19"/>
                <a:gd name="T10" fmla="*/ 2147483647 w 13"/>
                <a:gd name="T11" fmla="*/ 2147483647 h 19"/>
                <a:gd name="T12" fmla="*/ 2147483647 w 13"/>
                <a:gd name="T13" fmla="*/ 2147483647 h 19"/>
                <a:gd name="T14" fmla="*/ 2147483647 w 13"/>
                <a:gd name="T15" fmla="*/ 2147483647 h 19"/>
                <a:gd name="T16" fmla="*/ 2147483647 w 13"/>
                <a:gd name="T17" fmla="*/ 2147483647 h 19"/>
                <a:gd name="T18" fmla="*/ 2147483647 w 13"/>
                <a:gd name="T19" fmla="*/ 2147483647 h 19"/>
                <a:gd name="T20" fmla="*/ 2147483647 w 13"/>
                <a:gd name="T21" fmla="*/ 2147483647 h 19"/>
                <a:gd name="T22" fmla="*/ 2147483647 w 13"/>
                <a:gd name="T23" fmla="*/ 2147483647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"/>
                <a:gd name="T37" fmla="*/ 0 h 19"/>
                <a:gd name="T38" fmla="*/ 13 w 13"/>
                <a:gd name="T39" fmla="*/ 19 h 1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" h="19">
                  <a:moveTo>
                    <a:pt x="3" y="18"/>
                  </a:moveTo>
                  <a:cubicBezTo>
                    <a:pt x="3" y="18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7"/>
                    <a:pt x="1" y="4"/>
                    <a:pt x="1" y="2"/>
                  </a:cubicBezTo>
                  <a:cubicBezTo>
                    <a:pt x="1" y="1"/>
                    <a:pt x="3" y="2"/>
                    <a:pt x="4" y="2"/>
                  </a:cubicBezTo>
                  <a:cubicBezTo>
                    <a:pt x="4" y="2"/>
                    <a:pt x="7" y="0"/>
                    <a:pt x="8" y="1"/>
                  </a:cubicBezTo>
                  <a:cubicBezTo>
                    <a:pt x="10" y="2"/>
                    <a:pt x="11" y="4"/>
                    <a:pt x="10" y="6"/>
                  </a:cubicBezTo>
                  <a:cubicBezTo>
                    <a:pt x="10" y="8"/>
                    <a:pt x="13" y="12"/>
                    <a:pt x="12" y="13"/>
                  </a:cubicBezTo>
                  <a:cubicBezTo>
                    <a:pt x="12" y="14"/>
                    <a:pt x="8" y="12"/>
                    <a:pt x="7" y="12"/>
                  </a:cubicBezTo>
                  <a:cubicBezTo>
                    <a:pt x="6" y="12"/>
                    <a:pt x="7" y="16"/>
                    <a:pt x="7" y="16"/>
                  </a:cubicBezTo>
                  <a:cubicBezTo>
                    <a:pt x="6" y="17"/>
                    <a:pt x="4" y="19"/>
                    <a:pt x="3" y="1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49" name="Freeform 403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9182561" y="4285176"/>
              <a:ext cx="37046" cy="62310"/>
            </a:xfrm>
            <a:custGeom>
              <a:avLst/>
              <a:gdLst>
                <a:gd name="T0" fmla="*/ 0 w 10"/>
                <a:gd name="T1" fmla="*/ 2147483647 h 16"/>
                <a:gd name="T2" fmla="*/ 2147483647 w 10"/>
                <a:gd name="T3" fmla="*/ 2147483647 h 16"/>
                <a:gd name="T4" fmla="*/ 2147483647 w 10"/>
                <a:gd name="T5" fmla="*/ 2147483647 h 16"/>
                <a:gd name="T6" fmla="*/ 2147483647 w 10"/>
                <a:gd name="T7" fmla="*/ 2147483647 h 16"/>
                <a:gd name="T8" fmla="*/ 2147483647 w 10"/>
                <a:gd name="T9" fmla="*/ 2147483647 h 16"/>
                <a:gd name="T10" fmla="*/ 2147483647 w 10"/>
                <a:gd name="T11" fmla="*/ 2147483647 h 16"/>
                <a:gd name="T12" fmla="*/ 2147483647 w 10"/>
                <a:gd name="T13" fmla="*/ 2147483647 h 16"/>
                <a:gd name="T14" fmla="*/ 2147483647 w 10"/>
                <a:gd name="T15" fmla="*/ 2147483647 h 16"/>
                <a:gd name="T16" fmla="*/ 0 w 10"/>
                <a:gd name="T17" fmla="*/ 2147483647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16"/>
                <a:gd name="T29" fmla="*/ 10 w 10"/>
                <a:gd name="T30" fmla="*/ 16 h 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16">
                  <a:moveTo>
                    <a:pt x="0" y="12"/>
                  </a:moveTo>
                  <a:cubicBezTo>
                    <a:pt x="0" y="11"/>
                    <a:pt x="0" y="9"/>
                    <a:pt x="1" y="9"/>
                  </a:cubicBezTo>
                  <a:cubicBezTo>
                    <a:pt x="3" y="8"/>
                    <a:pt x="3" y="4"/>
                    <a:pt x="3" y="3"/>
                  </a:cubicBezTo>
                  <a:cubicBezTo>
                    <a:pt x="3" y="2"/>
                    <a:pt x="6" y="1"/>
                    <a:pt x="7" y="1"/>
                  </a:cubicBezTo>
                  <a:cubicBezTo>
                    <a:pt x="8" y="1"/>
                    <a:pt x="10" y="0"/>
                    <a:pt x="10" y="1"/>
                  </a:cubicBezTo>
                  <a:cubicBezTo>
                    <a:pt x="10" y="3"/>
                    <a:pt x="8" y="7"/>
                    <a:pt x="8" y="9"/>
                  </a:cubicBezTo>
                  <a:cubicBezTo>
                    <a:pt x="8" y="11"/>
                    <a:pt x="6" y="13"/>
                    <a:pt x="7" y="13"/>
                  </a:cubicBezTo>
                  <a:cubicBezTo>
                    <a:pt x="8" y="14"/>
                    <a:pt x="5" y="16"/>
                    <a:pt x="5" y="16"/>
                  </a:cubicBezTo>
                  <a:cubicBezTo>
                    <a:pt x="4" y="16"/>
                    <a:pt x="0" y="13"/>
                    <a:pt x="0" y="12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50" name="Freeform 404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9168155" y="4309142"/>
              <a:ext cx="127603" cy="136603"/>
            </a:xfrm>
            <a:custGeom>
              <a:avLst/>
              <a:gdLst>
                <a:gd name="T0" fmla="*/ 2147483647 w 36"/>
                <a:gd name="T1" fmla="*/ 2147483647 h 37"/>
                <a:gd name="T2" fmla="*/ 2147483647 w 36"/>
                <a:gd name="T3" fmla="*/ 2147483647 h 37"/>
                <a:gd name="T4" fmla="*/ 2147483647 w 36"/>
                <a:gd name="T5" fmla="*/ 2147483647 h 37"/>
                <a:gd name="T6" fmla="*/ 2147483647 w 36"/>
                <a:gd name="T7" fmla="*/ 2147483647 h 37"/>
                <a:gd name="T8" fmla="*/ 2147483647 w 36"/>
                <a:gd name="T9" fmla="*/ 2147483647 h 37"/>
                <a:gd name="T10" fmla="*/ 2147483647 w 36"/>
                <a:gd name="T11" fmla="*/ 2147483647 h 37"/>
                <a:gd name="T12" fmla="*/ 2147483647 w 36"/>
                <a:gd name="T13" fmla="*/ 2147483647 h 37"/>
                <a:gd name="T14" fmla="*/ 2147483647 w 36"/>
                <a:gd name="T15" fmla="*/ 2147483647 h 37"/>
                <a:gd name="T16" fmla="*/ 2147483647 w 36"/>
                <a:gd name="T17" fmla="*/ 2147483647 h 37"/>
                <a:gd name="T18" fmla="*/ 2147483647 w 36"/>
                <a:gd name="T19" fmla="*/ 2147483647 h 37"/>
                <a:gd name="T20" fmla="*/ 2147483647 w 36"/>
                <a:gd name="T21" fmla="*/ 2147483647 h 37"/>
                <a:gd name="T22" fmla="*/ 2147483647 w 36"/>
                <a:gd name="T23" fmla="*/ 2147483647 h 37"/>
                <a:gd name="T24" fmla="*/ 2147483647 w 36"/>
                <a:gd name="T25" fmla="*/ 2147483647 h 37"/>
                <a:gd name="T26" fmla="*/ 2147483647 w 36"/>
                <a:gd name="T27" fmla="*/ 2147483647 h 37"/>
                <a:gd name="T28" fmla="*/ 2147483647 w 36"/>
                <a:gd name="T29" fmla="*/ 2147483647 h 37"/>
                <a:gd name="T30" fmla="*/ 2147483647 w 36"/>
                <a:gd name="T31" fmla="*/ 2147483647 h 37"/>
                <a:gd name="T32" fmla="*/ 2147483647 w 36"/>
                <a:gd name="T33" fmla="*/ 2147483647 h 37"/>
                <a:gd name="T34" fmla="*/ 2147483647 w 36"/>
                <a:gd name="T35" fmla="*/ 2147483647 h 37"/>
                <a:gd name="T36" fmla="*/ 2147483647 w 36"/>
                <a:gd name="T37" fmla="*/ 2147483647 h 37"/>
                <a:gd name="T38" fmla="*/ 2147483647 w 36"/>
                <a:gd name="T39" fmla="*/ 2147483647 h 37"/>
                <a:gd name="T40" fmla="*/ 2147483647 w 36"/>
                <a:gd name="T41" fmla="*/ 2147483647 h 37"/>
                <a:gd name="T42" fmla="*/ 2147483647 w 36"/>
                <a:gd name="T43" fmla="*/ 2147483647 h 3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6"/>
                <a:gd name="T67" fmla="*/ 0 h 37"/>
                <a:gd name="T68" fmla="*/ 36 w 36"/>
                <a:gd name="T69" fmla="*/ 37 h 3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6" h="37">
                  <a:moveTo>
                    <a:pt x="1" y="27"/>
                  </a:moveTo>
                  <a:cubicBezTo>
                    <a:pt x="0" y="26"/>
                    <a:pt x="1" y="22"/>
                    <a:pt x="1" y="22"/>
                  </a:cubicBezTo>
                  <a:cubicBezTo>
                    <a:pt x="2" y="20"/>
                    <a:pt x="3" y="17"/>
                    <a:pt x="4" y="17"/>
                  </a:cubicBezTo>
                  <a:cubicBezTo>
                    <a:pt x="6" y="17"/>
                    <a:pt x="11" y="13"/>
                    <a:pt x="12" y="13"/>
                  </a:cubicBezTo>
                  <a:cubicBezTo>
                    <a:pt x="14" y="13"/>
                    <a:pt x="15" y="18"/>
                    <a:pt x="17" y="17"/>
                  </a:cubicBezTo>
                  <a:cubicBezTo>
                    <a:pt x="19" y="17"/>
                    <a:pt x="21" y="14"/>
                    <a:pt x="22" y="13"/>
                  </a:cubicBezTo>
                  <a:cubicBezTo>
                    <a:pt x="23" y="12"/>
                    <a:pt x="26" y="11"/>
                    <a:pt x="26" y="10"/>
                  </a:cubicBezTo>
                  <a:cubicBezTo>
                    <a:pt x="26" y="9"/>
                    <a:pt x="27" y="4"/>
                    <a:pt x="28" y="2"/>
                  </a:cubicBezTo>
                  <a:cubicBezTo>
                    <a:pt x="29" y="0"/>
                    <a:pt x="31" y="3"/>
                    <a:pt x="32" y="5"/>
                  </a:cubicBezTo>
                  <a:cubicBezTo>
                    <a:pt x="32" y="7"/>
                    <a:pt x="34" y="14"/>
                    <a:pt x="34" y="16"/>
                  </a:cubicBezTo>
                  <a:cubicBezTo>
                    <a:pt x="34" y="19"/>
                    <a:pt x="36" y="24"/>
                    <a:pt x="35" y="25"/>
                  </a:cubicBezTo>
                  <a:cubicBezTo>
                    <a:pt x="34" y="26"/>
                    <a:pt x="34" y="29"/>
                    <a:pt x="32" y="28"/>
                  </a:cubicBezTo>
                  <a:cubicBezTo>
                    <a:pt x="31" y="28"/>
                    <a:pt x="28" y="23"/>
                    <a:pt x="28" y="24"/>
                  </a:cubicBezTo>
                  <a:cubicBezTo>
                    <a:pt x="27" y="25"/>
                    <a:pt x="26" y="29"/>
                    <a:pt x="26" y="29"/>
                  </a:cubicBezTo>
                  <a:cubicBezTo>
                    <a:pt x="27" y="30"/>
                    <a:pt x="29" y="34"/>
                    <a:pt x="29" y="34"/>
                  </a:cubicBezTo>
                  <a:cubicBezTo>
                    <a:pt x="28" y="35"/>
                    <a:pt x="26" y="37"/>
                    <a:pt x="25" y="37"/>
                  </a:cubicBezTo>
                  <a:cubicBezTo>
                    <a:pt x="24" y="37"/>
                    <a:pt x="17" y="34"/>
                    <a:pt x="17" y="32"/>
                  </a:cubicBezTo>
                  <a:cubicBezTo>
                    <a:pt x="16" y="30"/>
                    <a:pt x="16" y="26"/>
                    <a:pt x="17" y="25"/>
                  </a:cubicBezTo>
                  <a:cubicBezTo>
                    <a:pt x="17" y="24"/>
                    <a:pt x="13" y="21"/>
                    <a:pt x="12" y="21"/>
                  </a:cubicBezTo>
                  <a:cubicBezTo>
                    <a:pt x="11" y="21"/>
                    <a:pt x="8" y="24"/>
                    <a:pt x="8" y="24"/>
                  </a:cubicBezTo>
                  <a:cubicBezTo>
                    <a:pt x="7" y="24"/>
                    <a:pt x="5" y="23"/>
                    <a:pt x="5" y="24"/>
                  </a:cubicBezTo>
                  <a:cubicBezTo>
                    <a:pt x="4" y="25"/>
                    <a:pt x="2" y="28"/>
                    <a:pt x="1" y="2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51" name="Freeform 405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9166096" y="4249228"/>
              <a:ext cx="43220" cy="59914"/>
            </a:xfrm>
            <a:custGeom>
              <a:avLst/>
              <a:gdLst>
                <a:gd name="T0" fmla="*/ 2147483647 w 12"/>
                <a:gd name="T1" fmla="*/ 2147483647 h 16"/>
                <a:gd name="T2" fmla="*/ 2147483647 w 12"/>
                <a:gd name="T3" fmla="*/ 0 h 16"/>
                <a:gd name="T4" fmla="*/ 2147483647 w 12"/>
                <a:gd name="T5" fmla="*/ 2147483647 h 16"/>
                <a:gd name="T6" fmla="*/ 2147483647 w 12"/>
                <a:gd name="T7" fmla="*/ 2147483647 h 16"/>
                <a:gd name="T8" fmla="*/ 2147483647 w 12"/>
                <a:gd name="T9" fmla="*/ 2147483647 h 16"/>
                <a:gd name="T10" fmla="*/ 2147483647 w 12"/>
                <a:gd name="T11" fmla="*/ 2147483647 h 16"/>
                <a:gd name="T12" fmla="*/ 2147483647 w 12"/>
                <a:gd name="T13" fmla="*/ 2147483647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16"/>
                <a:gd name="T23" fmla="*/ 12 w 12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16">
                  <a:moveTo>
                    <a:pt x="1" y="11"/>
                  </a:moveTo>
                  <a:cubicBezTo>
                    <a:pt x="1" y="10"/>
                    <a:pt x="0" y="1"/>
                    <a:pt x="1" y="0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9" y="2"/>
                    <a:pt x="10" y="1"/>
                    <a:pt x="11" y="2"/>
                  </a:cubicBezTo>
                  <a:cubicBezTo>
                    <a:pt x="12" y="2"/>
                    <a:pt x="11" y="5"/>
                    <a:pt x="11" y="6"/>
                  </a:cubicBezTo>
                  <a:cubicBezTo>
                    <a:pt x="11" y="6"/>
                    <a:pt x="9" y="7"/>
                    <a:pt x="7" y="7"/>
                  </a:cubicBezTo>
                  <a:cubicBezTo>
                    <a:pt x="7" y="7"/>
                    <a:pt x="0" y="16"/>
                    <a:pt x="1" y="1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52" name="Freeform 406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9112586" y="4071884"/>
              <a:ext cx="121428" cy="167758"/>
            </a:xfrm>
            <a:custGeom>
              <a:avLst/>
              <a:gdLst>
                <a:gd name="T0" fmla="*/ 0 w 34"/>
                <a:gd name="T1" fmla="*/ 2147483647 h 45"/>
                <a:gd name="T2" fmla="*/ 2147483647 w 34"/>
                <a:gd name="T3" fmla="*/ 2147483647 h 45"/>
                <a:gd name="T4" fmla="*/ 2147483647 w 34"/>
                <a:gd name="T5" fmla="*/ 2147483647 h 45"/>
                <a:gd name="T6" fmla="*/ 2147483647 w 34"/>
                <a:gd name="T7" fmla="*/ 2147483647 h 45"/>
                <a:gd name="T8" fmla="*/ 2147483647 w 34"/>
                <a:gd name="T9" fmla="*/ 2147483647 h 45"/>
                <a:gd name="T10" fmla="*/ 2147483647 w 34"/>
                <a:gd name="T11" fmla="*/ 2147483647 h 45"/>
                <a:gd name="T12" fmla="*/ 2147483647 w 34"/>
                <a:gd name="T13" fmla="*/ 2147483647 h 45"/>
                <a:gd name="T14" fmla="*/ 2147483647 w 34"/>
                <a:gd name="T15" fmla="*/ 2147483647 h 45"/>
                <a:gd name="T16" fmla="*/ 2147483647 w 34"/>
                <a:gd name="T17" fmla="*/ 2147483647 h 45"/>
                <a:gd name="T18" fmla="*/ 2147483647 w 34"/>
                <a:gd name="T19" fmla="*/ 2147483647 h 45"/>
                <a:gd name="T20" fmla="*/ 2147483647 w 34"/>
                <a:gd name="T21" fmla="*/ 2147483647 h 45"/>
                <a:gd name="T22" fmla="*/ 2147483647 w 34"/>
                <a:gd name="T23" fmla="*/ 2147483647 h 45"/>
                <a:gd name="T24" fmla="*/ 2147483647 w 34"/>
                <a:gd name="T25" fmla="*/ 2147483647 h 45"/>
                <a:gd name="T26" fmla="*/ 2147483647 w 34"/>
                <a:gd name="T27" fmla="*/ 2147483647 h 45"/>
                <a:gd name="T28" fmla="*/ 2147483647 w 34"/>
                <a:gd name="T29" fmla="*/ 2147483647 h 45"/>
                <a:gd name="T30" fmla="*/ 2147483647 w 34"/>
                <a:gd name="T31" fmla="*/ 2147483647 h 45"/>
                <a:gd name="T32" fmla="*/ 2147483647 w 34"/>
                <a:gd name="T33" fmla="*/ 2147483647 h 45"/>
                <a:gd name="T34" fmla="*/ 2147483647 w 34"/>
                <a:gd name="T35" fmla="*/ 2147483647 h 45"/>
                <a:gd name="T36" fmla="*/ 2147483647 w 34"/>
                <a:gd name="T37" fmla="*/ 2147483647 h 45"/>
                <a:gd name="T38" fmla="*/ 0 w 34"/>
                <a:gd name="T39" fmla="*/ 2147483647 h 4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4"/>
                <a:gd name="T61" fmla="*/ 0 h 45"/>
                <a:gd name="T62" fmla="*/ 34 w 34"/>
                <a:gd name="T63" fmla="*/ 45 h 4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4" h="45">
                  <a:moveTo>
                    <a:pt x="0" y="19"/>
                  </a:moveTo>
                  <a:cubicBezTo>
                    <a:pt x="0" y="16"/>
                    <a:pt x="5" y="20"/>
                    <a:pt x="5" y="18"/>
                  </a:cubicBezTo>
                  <a:cubicBezTo>
                    <a:pt x="5" y="16"/>
                    <a:pt x="4" y="10"/>
                    <a:pt x="4" y="7"/>
                  </a:cubicBezTo>
                  <a:cubicBezTo>
                    <a:pt x="4" y="5"/>
                    <a:pt x="5" y="1"/>
                    <a:pt x="6" y="1"/>
                  </a:cubicBezTo>
                  <a:cubicBezTo>
                    <a:pt x="7" y="0"/>
                    <a:pt x="12" y="2"/>
                    <a:pt x="13" y="2"/>
                  </a:cubicBezTo>
                  <a:cubicBezTo>
                    <a:pt x="15" y="2"/>
                    <a:pt x="18" y="0"/>
                    <a:pt x="18" y="1"/>
                  </a:cubicBezTo>
                  <a:cubicBezTo>
                    <a:pt x="19" y="2"/>
                    <a:pt x="21" y="13"/>
                    <a:pt x="20" y="14"/>
                  </a:cubicBezTo>
                  <a:cubicBezTo>
                    <a:pt x="19" y="16"/>
                    <a:pt x="14" y="18"/>
                    <a:pt x="13" y="20"/>
                  </a:cubicBezTo>
                  <a:cubicBezTo>
                    <a:pt x="12" y="22"/>
                    <a:pt x="13" y="27"/>
                    <a:pt x="13" y="29"/>
                  </a:cubicBezTo>
                  <a:cubicBezTo>
                    <a:pt x="13" y="31"/>
                    <a:pt x="16" y="33"/>
                    <a:pt x="17" y="33"/>
                  </a:cubicBezTo>
                  <a:cubicBezTo>
                    <a:pt x="18" y="33"/>
                    <a:pt x="22" y="31"/>
                    <a:pt x="23" y="32"/>
                  </a:cubicBezTo>
                  <a:cubicBezTo>
                    <a:pt x="25" y="33"/>
                    <a:pt x="33" y="35"/>
                    <a:pt x="33" y="36"/>
                  </a:cubicBezTo>
                  <a:cubicBezTo>
                    <a:pt x="34" y="37"/>
                    <a:pt x="32" y="39"/>
                    <a:pt x="32" y="40"/>
                  </a:cubicBezTo>
                  <a:cubicBezTo>
                    <a:pt x="32" y="41"/>
                    <a:pt x="32" y="45"/>
                    <a:pt x="30" y="44"/>
                  </a:cubicBezTo>
                  <a:cubicBezTo>
                    <a:pt x="28" y="43"/>
                    <a:pt x="23" y="38"/>
                    <a:pt x="21" y="38"/>
                  </a:cubicBezTo>
                  <a:cubicBezTo>
                    <a:pt x="20" y="39"/>
                    <a:pt x="15" y="39"/>
                    <a:pt x="12" y="39"/>
                  </a:cubicBezTo>
                  <a:cubicBezTo>
                    <a:pt x="9" y="39"/>
                    <a:pt x="5" y="38"/>
                    <a:pt x="5" y="37"/>
                  </a:cubicBezTo>
                  <a:cubicBezTo>
                    <a:pt x="4" y="35"/>
                    <a:pt x="10" y="32"/>
                    <a:pt x="7" y="30"/>
                  </a:cubicBezTo>
                  <a:cubicBezTo>
                    <a:pt x="4" y="28"/>
                    <a:pt x="2" y="31"/>
                    <a:pt x="2" y="29"/>
                  </a:cubicBezTo>
                  <a:cubicBezTo>
                    <a:pt x="1" y="27"/>
                    <a:pt x="0" y="23"/>
                    <a:pt x="0" y="1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53" name="Freeform 407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9112586" y="4222866"/>
              <a:ext cx="39104" cy="45534"/>
            </a:xfrm>
            <a:custGeom>
              <a:avLst/>
              <a:gdLst>
                <a:gd name="T0" fmla="*/ 2147483647 w 11"/>
                <a:gd name="T1" fmla="*/ 2147483647 h 12"/>
                <a:gd name="T2" fmla="*/ 2147483647 w 11"/>
                <a:gd name="T3" fmla="*/ 2147483647 h 12"/>
                <a:gd name="T4" fmla="*/ 2147483647 w 11"/>
                <a:gd name="T5" fmla="*/ 2147483647 h 12"/>
                <a:gd name="T6" fmla="*/ 2147483647 w 11"/>
                <a:gd name="T7" fmla="*/ 2147483647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12"/>
                <a:gd name="T14" fmla="*/ 11 w 11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12">
                  <a:moveTo>
                    <a:pt x="3" y="2"/>
                  </a:moveTo>
                  <a:cubicBezTo>
                    <a:pt x="4" y="0"/>
                    <a:pt x="10" y="4"/>
                    <a:pt x="10" y="5"/>
                  </a:cubicBezTo>
                  <a:cubicBezTo>
                    <a:pt x="9" y="5"/>
                    <a:pt x="11" y="11"/>
                    <a:pt x="9" y="12"/>
                  </a:cubicBezTo>
                  <a:cubicBezTo>
                    <a:pt x="8" y="12"/>
                    <a:pt x="0" y="4"/>
                    <a:pt x="3" y="2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54" name="Freeform 408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9034377" y="4275590"/>
              <a:ext cx="78208" cy="100655"/>
            </a:xfrm>
            <a:custGeom>
              <a:avLst/>
              <a:gdLst>
                <a:gd name="T0" fmla="*/ 2147483647 w 22"/>
                <a:gd name="T1" fmla="*/ 2147483647 h 27"/>
                <a:gd name="T2" fmla="*/ 2147483647 w 22"/>
                <a:gd name="T3" fmla="*/ 2147483647 h 27"/>
                <a:gd name="T4" fmla="*/ 2147483647 w 22"/>
                <a:gd name="T5" fmla="*/ 2147483647 h 27"/>
                <a:gd name="T6" fmla="*/ 2147483647 w 22"/>
                <a:gd name="T7" fmla="*/ 2147483647 h 27"/>
                <a:gd name="T8" fmla="*/ 2147483647 w 22"/>
                <a:gd name="T9" fmla="*/ 2147483647 h 27"/>
                <a:gd name="T10" fmla="*/ 2147483647 w 22"/>
                <a:gd name="T11" fmla="*/ 0 h 27"/>
                <a:gd name="T12" fmla="*/ 2147483647 w 22"/>
                <a:gd name="T13" fmla="*/ 2147483647 h 27"/>
                <a:gd name="T14" fmla="*/ 2147483647 w 22"/>
                <a:gd name="T15" fmla="*/ 2147483647 h 27"/>
                <a:gd name="T16" fmla="*/ 2147483647 w 22"/>
                <a:gd name="T17" fmla="*/ 2147483647 h 27"/>
                <a:gd name="T18" fmla="*/ 2147483647 w 22"/>
                <a:gd name="T19" fmla="*/ 2147483647 h 2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2"/>
                <a:gd name="T31" fmla="*/ 0 h 27"/>
                <a:gd name="T32" fmla="*/ 22 w 22"/>
                <a:gd name="T33" fmla="*/ 27 h 2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2" h="27">
                  <a:moveTo>
                    <a:pt x="8" y="23"/>
                  </a:moveTo>
                  <a:cubicBezTo>
                    <a:pt x="7" y="24"/>
                    <a:pt x="3" y="27"/>
                    <a:pt x="2" y="26"/>
                  </a:cubicBezTo>
                  <a:cubicBezTo>
                    <a:pt x="0" y="25"/>
                    <a:pt x="3" y="19"/>
                    <a:pt x="6" y="17"/>
                  </a:cubicBezTo>
                  <a:cubicBezTo>
                    <a:pt x="9" y="16"/>
                    <a:pt x="10" y="12"/>
                    <a:pt x="13" y="10"/>
                  </a:cubicBezTo>
                  <a:cubicBezTo>
                    <a:pt x="16" y="8"/>
                    <a:pt x="17" y="7"/>
                    <a:pt x="17" y="5"/>
                  </a:cubicBezTo>
                  <a:cubicBezTo>
                    <a:pt x="17" y="4"/>
                    <a:pt x="17" y="0"/>
                    <a:pt x="19" y="0"/>
                  </a:cubicBezTo>
                  <a:cubicBezTo>
                    <a:pt x="21" y="0"/>
                    <a:pt x="22" y="1"/>
                    <a:pt x="22" y="3"/>
                  </a:cubicBezTo>
                  <a:cubicBezTo>
                    <a:pt x="22" y="4"/>
                    <a:pt x="22" y="9"/>
                    <a:pt x="22" y="10"/>
                  </a:cubicBezTo>
                  <a:cubicBezTo>
                    <a:pt x="20" y="11"/>
                    <a:pt x="16" y="14"/>
                    <a:pt x="15" y="16"/>
                  </a:cubicBezTo>
                  <a:cubicBezTo>
                    <a:pt x="13" y="17"/>
                    <a:pt x="10" y="22"/>
                    <a:pt x="8" y="2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55" name="Freeform 409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645395" y="3935281"/>
              <a:ext cx="193462" cy="436171"/>
            </a:xfrm>
            <a:custGeom>
              <a:avLst/>
              <a:gdLst>
                <a:gd name="T0" fmla="*/ 2147483647 w 55"/>
                <a:gd name="T1" fmla="*/ 2147483647 h 118"/>
                <a:gd name="T2" fmla="*/ 0 w 55"/>
                <a:gd name="T3" fmla="*/ 2147483647 h 118"/>
                <a:gd name="T4" fmla="*/ 2147483647 w 55"/>
                <a:gd name="T5" fmla="*/ 2147483647 h 118"/>
                <a:gd name="T6" fmla="*/ 2147483647 w 55"/>
                <a:gd name="T7" fmla="*/ 0 h 118"/>
                <a:gd name="T8" fmla="*/ 2147483647 w 55"/>
                <a:gd name="T9" fmla="*/ 2147483647 h 118"/>
                <a:gd name="T10" fmla="*/ 2147483647 w 55"/>
                <a:gd name="T11" fmla="*/ 2147483647 h 118"/>
                <a:gd name="T12" fmla="*/ 2147483647 w 55"/>
                <a:gd name="T13" fmla="*/ 2147483647 h 118"/>
                <a:gd name="T14" fmla="*/ 2147483647 w 55"/>
                <a:gd name="T15" fmla="*/ 2147483647 h 118"/>
                <a:gd name="T16" fmla="*/ 2147483647 w 55"/>
                <a:gd name="T17" fmla="*/ 2147483647 h 118"/>
                <a:gd name="T18" fmla="*/ 2147483647 w 55"/>
                <a:gd name="T19" fmla="*/ 2147483647 h 118"/>
                <a:gd name="T20" fmla="*/ 2147483647 w 55"/>
                <a:gd name="T21" fmla="*/ 2147483647 h 118"/>
                <a:gd name="T22" fmla="*/ 2147483647 w 55"/>
                <a:gd name="T23" fmla="*/ 2147483647 h 118"/>
                <a:gd name="T24" fmla="*/ 2147483647 w 55"/>
                <a:gd name="T25" fmla="*/ 2147483647 h 118"/>
                <a:gd name="T26" fmla="*/ 2147483647 w 55"/>
                <a:gd name="T27" fmla="*/ 2147483647 h 118"/>
                <a:gd name="T28" fmla="*/ 2147483647 w 55"/>
                <a:gd name="T29" fmla="*/ 2147483647 h 118"/>
                <a:gd name="T30" fmla="*/ 2147483647 w 55"/>
                <a:gd name="T31" fmla="*/ 2147483647 h 118"/>
                <a:gd name="T32" fmla="*/ 2147483647 w 55"/>
                <a:gd name="T33" fmla="*/ 2147483647 h 118"/>
                <a:gd name="T34" fmla="*/ 2147483647 w 55"/>
                <a:gd name="T35" fmla="*/ 2147483647 h 118"/>
                <a:gd name="T36" fmla="*/ 2147483647 w 55"/>
                <a:gd name="T37" fmla="*/ 2147483647 h 118"/>
                <a:gd name="T38" fmla="*/ 2147483647 w 55"/>
                <a:gd name="T39" fmla="*/ 2147483647 h 118"/>
                <a:gd name="T40" fmla="*/ 2147483647 w 55"/>
                <a:gd name="T41" fmla="*/ 2147483647 h 118"/>
                <a:gd name="T42" fmla="*/ 2147483647 w 55"/>
                <a:gd name="T43" fmla="*/ 2147483647 h 118"/>
                <a:gd name="T44" fmla="*/ 2147483647 w 55"/>
                <a:gd name="T45" fmla="*/ 2147483647 h 118"/>
                <a:gd name="T46" fmla="*/ 2147483647 w 55"/>
                <a:gd name="T47" fmla="*/ 2147483647 h 118"/>
                <a:gd name="T48" fmla="*/ 2147483647 w 55"/>
                <a:gd name="T49" fmla="*/ 2147483647 h 118"/>
                <a:gd name="T50" fmla="*/ 2147483647 w 55"/>
                <a:gd name="T51" fmla="*/ 2147483647 h 118"/>
                <a:gd name="T52" fmla="*/ 2147483647 w 55"/>
                <a:gd name="T53" fmla="*/ 2147483647 h 118"/>
                <a:gd name="T54" fmla="*/ 2147483647 w 55"/>
                <a:gd name="T55" fmla="*/ 2147483647 h 118"/>
                <a:gd name="T56" fmla="*/ 2147483647 w 55"/>
                <a:gd name="T57" fmla="*/ 2147483647 h 118"/>
                <a:gd name="T58" fmla="*/ 2147483647 w 55"/>
                <a:gd name="T59" fmla="*/ 2147483647 h 118"/>
                <a:gd name="T60" fmla="*/ 2147483647 w 55"/>
                <a:gd name="T61" fmla="*/ 2147483647 h 118"/>
                <a:gd name="T62" fmla="*/ 2147483647 w 55"/>
                <a:gd name="T63" fmla="*/ 2147483647 h 118"/>
                <a:gd name="T64" fmla="*/ 2147483647 w 55"/>
                <a:gd name="T65" fmla="*/ 2147483647 h 118"/>
                <a:gd name="T66" fmla="*/ 2147483647 w 55"/>
                <a:gd name="T67" fmla="*/ 2147483647 h 118"/>
                <a:gd name="T68" fmla="*/ 2147483647 w 55"/>
                <a:gd name="T69" fmla="*/ 2147483647 h 118"/>
                <a:gd name="T70" fmla="*/ 2147483647 w 55"/>
                <a:gd name="T71" fmla="*/ 2147483647 h 118"/>
                <a:gd name="T72" fmla="*/ 2147483647 w 55"/>
                <a:gd name="T73" fmla="*/ 2147483647 h 118"/>
                <a:gd name="T74" fmla="*/ 2147483647 w 55"/>
                <a:gd name="T75" fmla="*/ 2147483647 h 118"/>
                <a:gd name="T76" fmla="*/ 2147483647 w 55"/>
                <a:gd name="T77" fmla="*/ 2147483647 h 118"/>
                <a:gd name="T78" fmla="*/ 2147483647 w 55"/>
                <a:gd name="T79" fmla="*/ 2147483647 h 118"/>
                <a:gd name="T80" fmla="*/ 2147483647 w 55"/>
                <a:gd name="T81" fmla="*/ 2147483647 h 11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5"/>
                <a:gd name="T124" fmla="*/ 0 h 118"/>
                <a:gd name="T125" fmla="*/ 55 w 55"/>
                <a:gd name="T126" fmla="*/ 118 h 11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5" h="118">
                  <a:moveTo>
                    <a:pt x="2" y="1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4" y="5"/>
                    <a:pt x="4" y="5"/>
                  </a:cubicBezTo>
                  <a:cubicBezTo>
                    <a:pt x="6" y="5"/>
                    <a:pt x="20" y="1"/>
                    <a:pt x="21" y="0"/>
                  </a:cubicBezTo>
                  <a:cubicBezTo>
                    <a:pt x="22" y="0"/>
                    <a:pt x="25" y="1"/>
                    <a:pt x="26" y="2"/>
                  </a:cubicBezTo>
                  <a:cubicBezTo>
                    <a:pt x="28" y="2"/>
                    <a:pt x="31" y="2"/>
                    <a:pt x="33" y="3"/>
                  </a:cubicBezTo>
                  <a:cubicBezTo>
                    <a:pt x="35" y="4"/>
                    <a:pt x="31" y="8"/>
                    <a:pt x="32" y="9"/>
                  </a:cubicBezTo>
                  <a:cubicBezTo>
                    <a:pt x="33" y="9"/>
                    <a:pt x="42" y="14"/>
                    <a:pt x="42" y="14"/>
                  </a:cubicBezTo>
                  <a:cubicBezTo>
                    <a:pt x="40" y="16"/>
                    <a:pt x="38" y="18"/>
                    <a:pt x="37" y="18"/>
                  </a:cubicBezTo>
                  <a:cubicBezTo>
                    <a:pt x="35" y="19"/>
                    <a:pt x="34" y="20"/>
                    <a:pt x="32" y="22"/>
                  </a:cubicBezTo>
                  <a:cubicBezTo>
                    <a:pt x="31" y="25"/>
                    <a:pt x="27" y="27"/>
                    <a:pt x="26" y="30"/>
                  </a:cubicBezTo>
                  <a:cubicBezTo>
                    <a:pt x="26" y="33"/>
                    <a:pt x="28" y="38"/>
                    <a:pt x="29" y="38"/>
                  </a:cubicBezTo>
                  <a:cubicBezTo>
                    <a:pt x="29" y="38"/>
                    <a:pt x="33" y="42"/>
                    <a:pt x="33" y="43"/>
                  </a:cubicBezTo>
                  <a:cubicBezTo>
                    <a:pt x="33" y="44"/>
                    <a:pt x="37" y="48"/>
                    <a:pt x="38" y="49"/>
                  </a:cubicBezTo>
                  <a:cubicBezTo>
                    <a:pt x="39" y="50"/>
                    <a:pt x="46" y="55"/>
                    <a:pt x="48" y="58"/>
                  </a:cubicBezTo>
                  <a:cubicBezTo>
                    <a:pt x="49" y="61"/>
                    <a:pt x="53" y="70"/>
                    <a:pt x="54" y="72"/>
                  </a:cubicBezTo>
                  <a:cubicBezTo>
                    <a:pt x="54" y="75"/>
                    <a:pt x="55" y="85"/>
                    <a:pt x="54" y="88"/>
                  </a:cubicBezTo>
                  <a:cubicBezTo>
                    <a:pt x="53" y="90"/>
                    <a:pt x="51" y="95"/>
                    <a:pt x="50" y="96"/>
                  </a:cubicBezTo>
                  <a:cubicBezTo>
                    <a:pt x="48" y="97"/>
                    <a:pt x="36" y="101"/>
                    <a:pt x="35" y="102"/>
                  </a:cubicBezTo>
                  <a:cubicBezTo>
                    <a:pt x="33" y="104"/>
                    <a:pt x="33" y="110"/>
                    <a:pt x="31" y="110"/>
                  </a:cubicBezTo>
                  <a:cubicBezTo>
                    <a:pt x="29" y="110"/>
                    <a:pt x="25" y="112"/>
                    <a:pt x="24" y="114"/>
                  </a:cubicBezTo>
                  <a:cubicBezTo>
                    <a:pt x="23" y="116"/>
                    <a:pt x="18" y="118"/>
                    <a:pt x="17" y="117"/>
                  </a:cubicBezTo>
                  <a:cubicBezTo>
                    <a:pt x="15" y="116"/>
                    <a:pt x="19" y="105"/>
                    <a:pt x="18" y="104"/>
                  </a:cubicBezTo>
                  <a:cubicBezTo>
                    <a:pt x="17" y="104"/>
                    <a:pt x="16" y="103"/>
                    <a:pt x="15" y="102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2" y="97"/>
                    <a:pt x="27" y="98"/>
                    <a:pt x="28" y="96"/>
                  </a:cubicBezTo>
                  <a:cubicBezTo>
                    <a:pt x="30" y="95"/>
                    <a:pt x="27" y="90"/>
                    <a:pt x="29" y="90"/>
                  </a:cubicBezTo>
                  <a:cubicBezTo>
                    <a:pt x="31" y="90"/>
                    <a:pt x="36" y="87"/>
                    <a:pt x="38" y="85"/>
                  </a:cubicBezTo>
                  <a:cubicBezTo>
                    <a:pt x="40" y="83"/>
                    <a:pt x="37" y="75"/>
                    <a:pt x="38" y="74"/>
                  </a:cubicBezTo>
                  <a:cubicBezTo>
                    <a:pt x="39" y="72"/>
                    <a:pt x="39" y="65"/>
                    <a:pt x="38" y="62"/>
                  </a:cubicBezTo>
                  <a:cubicBezTo>
                    <a:pt x="37" y="60"/>
                    <a:pt x="33" y="56"/>
                    <a:pt x="32" y="54"/>
                  </a:cubicBezTo>
                  <a:cubicBezTo>
                    <a:pt x="31" y="53"/>
                    <a:pt x="27" y="49"/>
                    <a:pt x="26" y="46"/>
                  </a:cubicBezTo>
                  <a:cubicBezTo>
                    <a:pt x="24" y="44"/>
                    <a:pt x="21" y="38"/>
                    <a:pt x="18" y="37"/>
                  </a:cubicBezTo>
                  <a:cubicBezTo>
                    <a:pt x="16" y="36"/>
                    <a:pt x="12" y="33"/>
                    <a:pt x="11" y="33"/>
                  </a:cubicBezTo>
                  <a:cubicBezTo>
                    <a:pt x="10" y="32"/>
                    <a:pt x="13" y="28"/>
                    <a:pt x="13" y="28"/>
                  </a:cubicBezTo>
                  <a:cubicBezTo>
                    <a:pt x="13" y="28"/>
                    <a:pt x="18" y="29"/>
                    <a:pt x="18" y="27"/>
                  </a:cubicBezTo>
                  <a:cubicBezTo>
                    <a:pt x="19" y="26"/>
                    <a:pt x="20" y="23"/>
                    <a:pt x="20" y="23"/>
                  </a:cubicBezTo>
                  <a:cubicBezTo>
                    <a:pt x="20" y="23"/>
                    <a:pt x="16" y="19"/>
                    <a:pt x="14" y="18"/>
                  </a:cubicBezTo>
                  <a:cubicBezTo>
                    <a:pt x="12" y="17"/>
                    <a:pt x="11" y="19"/>
                    <a:pt x="10" y="20"/>
                  </a:cubicBezTo>
                  <a:cubicBezTo>
                    <a:pt x="8" y="21"/>
                    <a:pt x="4" y="20"/>
                    <a:pt x="3" y="17"/>
                  </a:cubicBezTo>
                  <a:cubicBezTo>
                    <a:pt x="3" y="15"/>
                    <a:pt x="4" y="11"/>
                    <a:pt x="2" y="1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56" name="Freeform 410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836799" y="4397814"/>
              <a:ext cx="263438" cy="186931"/>
            </a:xfrm>
            <a:custGeom>
              <a:avLst/>
              <a:gdLst>
                <a:gd name="T0" fmla="*/ 2147483647 w 75"/>
                <a:gd name="T1" fmla="*/ 2147483647 h 51"/>
                <a:gd name="T2" fmla="*/ 0 w 75"/>
                <a:gd name="T3" fmla="*/ 2147483647 h 51"/>
                <a:gd name="T4" fmla="*/ 2147483647 w 75"/>
                <a:gd name="T5" fmla="*/ 2147483647 h 51"/>
                <a:gd name="T6" fmla="*/ 2147483647 w 75"/>
                <a:gd name="T7" fmla="*/ 2147483647 h 51"/>
                <a:gd name="T8" fmla="*/ 2147483647 w 75"/>
                <a:gd name="T9" fmla="*/ 2147483647 h 51"/>
                <a:gd name="T10" fmla="*/ 2147483647 w 75"/>
                <a:gd name="T11" fmla="*/ 2147483647 h 51"/>
                <a:gd name="T12" fmla="*/ 2147483647 w 75"/>
                <a:gd name="T13" fmla="*/ 2147483647 h 51"/>
                <a:gd name="T14" fmla="*/ 2147483647 w 75"/>
                <a:gd name="T15" fmla="*/ 2147483647 h 51"/>
                <a:gd name="T16" fmla="*/ 2147483647 w 75"/>
                <a:gd name="T17" fmla="*/ 2147483647 h 51"/>
                <a:gd name="T18" fmla="*/ 2147483647 w 75"/>
                <a:gd name="T19" fmla="*/ 0 h 51"/>
                <a:gd name="T20" fmla="*/ 2147483647 w 75"/>
                <a:gd name="T21" fmla="*/ 2147483647 h 51"/>
                <a:gd name="T22" fmla="*/ 2147483647 w 75"/>
                <a:gd name="T23" fmla="*/ 2147483647 h 51"/>
                <a:gd name="T24" fmla="*/ 2147483647 w 75"/>
                <a:gd name="T25" fmla="*/ 2147483647 h 51"/>
                <a:gd name="T26" fmla="*/ 2147483647 w 75"/>
                <a:gd name="T27" fmla="*/ 2147483647 h 51"/>
                <a:gd name="T28" fmla="*/ 2147483647 w 75"/>
                <a:gd name="T29" fmla="*/ 2147483647 h 51"/>
                <a:gd name="T30" fmla="*/ 2147483647 w 75"/>
                <a:gd name="T31" fmla="*/ 2147483647 h 51"/>
                <a:gd name="T32" fmla="*/ 2147483647 w 75"/>
                <a:gd name="T33" fmla="*/ 2147483647 h 51"/>
                <a:gd name="T34" fmla="*/ 2147483647 w 75"/>
                <a:gd name="T35" fmla="*/ 2147483647 h 51"/>
                <a:gd name="T36" fmla="*/ 2147483647 w 75"/>
                <a:gd name="T37" fmla="*/ 2147483647 h 51"/>
                <a:gd name="T38" fmla="*/ 2147483647 w 75"/>
                <a:gd name="T39" fmla="*/ 2147483647 h 51"/>
                <a:gd name="T40" fmla="*/ 2147483647 w 75"/>
                <a:gd name="T41" fmla="*/ 2147483647 h 51"/>
                <a:gd name="T42" fmla="*/ 2147483647 w 75"/>
                <a:gd name="T43" fmla="*/ 2147483647 h 51"/>
                <a:gd name="T44" fmla="*/ 2147483647 w 75"/>
                <a:gd name="T45" fmla="*/ 2147483647 h 51"/>
                <a:gd name="T46" fmla="*/ 2147483647 w 75"/>
                <a:gd name="T47" fmla="*/ 2147483647 h 51"/>
                <a:gd name="T48" fmla="*/ 2147483647 w 75"/>
                <a:gd name="T49" fmla="*/ 2147483647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5"/>
                <a:gd name="T76" fmla="*/ 0 h 51"/>
                <a:gd name="T77" fmla="*/ 75 w 75"/>
                <a:gd name="T78" fmla="*/ 51 h 5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5" h="51">
                  <a:moveTo>
                    <a:pt x="3" y="47"/>
                  </a:moveTo>
                  <a:cubicBezTo>
                    <a:pt x="0" y="40"/>
                    <a:pt x="0" y="40"/>
                    <a:pt x="0" y="40"/>
                  </a:cubicBezTo>
                  <a:cubicBezTo>
                    <a:pt x="3" y="38"/>
                    <a:pt x="10" y="44"/>
                    <a:pt x="11" y="44"/>
                  </a:cubicBezTo>
                  <a:cubicBezTo>
                    <a:pt x="12" y="44"/>
                    <a:pt x="13" y="36"/>
                    <a:pt x="14" y="35"/>
                  </a:cubicBezTo>
                  <a:cubicBezTo>
                    <a:pt x="15" y="33"/>
                    <a:pt x="23" y="32"/>
                    <a:pt x="25" y="32"/>
                  </a:cubicBezTo>
                  <a:cubicBezTo>
                    <a:pt x="27" y="32"/>
                    <a:pt x="29" y="29"/>
                    <a:pt x="31" y="27"/>
                  </a:cubicBezTo>
                  <a:cubicBezTo>
                    <a:pt x="33" y="25"/>
                    <a:pt x="33" y="20"/>
                    <a:pt x="35" y="20"/>
                  </a:cubicBezTo>
                  <a:cubicBezTo>
                    <a:pt x="39" y="20"/>
                    <a:pt x="45" y="15"/>
                    <a:pt x="47" y="14"/>
                  </a:cubicBezTo>
                  <a:cubicBezTo>
                    <a:pt x="49" y="13"/>
                    <a:pt x="54" y="3"/>
                    <a:pt x="55" y="2"/>
                  </a:cubicBezTo>
                  <a:cubicBezTo>
                    <a:pt x="56" y="1"/>
                    <a:pt x="57" y="0"/>
                    <a:pt x="59" y="0"/>
                  </a:cubicBezTo>
                  <a:cubicBezTo>
                    <a:pt x="61" y="0"/>
                    <a:pt x="60" y="2"/>
                    <a:pt x="60" y="2"/>
                  </a:cubicBezTo>
                  <a:cubicBezTo>
                    <a:pt x="60" y="2"/>
                    <a:pt x="61" y="8"/>
                    <a:pt x="61" y="9"/>
                  </a:cubicBezTo>
                  <a:cubicBezTo>
                    <a:pt x="61" y="11"/>
                    <a:pt x="67" y="11"/>
                    <a:pt x="69" y="12"/>
                  </a:cubicBezTo>
                  <a:cubicBezTo>
                    <a:pt x="70" y="13"/>
                    <a:pt x="74" y="13"/>
                    <a:pt x="75" y="15"/>
                  </a:cubicBezTo>
                  <a:cubicBezTo>
                    <a:pt x="75" y="17"/>
                    <a:pt x="73" y="21"/>
                    <a:pt x="71" y="22"/>
                  </a:cubicBezTo>
                  <a:cubicBezTo>
                    <a:pt x="71" y="22"/>
                    <a:pt x="64" y="24"/>
                    <a:pt x="64" y="24"/>
                  </a:cubicBezTo>
                  <a:cubicBezTo>
                    <a:pt x="64" y="24"/>
                    <a:pt x="64" y="25"/>
                    <a:pt x="64" y="25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6" y="22"/>
                    <a:pt x="50" y="22"/>
                    <a:pt x="48" y="23"/>
                  </a:cubicBezTo>
                  <a:cubicBezTo>
                    <a:pt x="46" y="24"/>
                    <a:pt x="44" y="32"/>
                    <a:pt x="44" y="35"/>
                  </a:cubicBezTo>
                  <a:cubicBezTo>
                    <a:pt x="44" y="37"/>
                    <a:pt x="38" y="45"/>
                    <a:pt x="36" y="45"/>
                  </a:cubicBezTo>
                  <a:cubicBezTo>
                    <a:pt x="33" y="46"/>
                    <a:pt x="28" y="44"/>
                    <a:pt x="25" y="44"/>
                  </a:cubicBezTo>
                  <a:cubicBezTo>
                    <a:pt x="22" y="43"/>
                    <a:pt x="22" y="47"/>
                    <a:pt x="21" y="49"/>
                  </a:cubicBezTo>
                  <a:cubicBezTo>
                    <a:pt x="21" y="50"/>
                    <a:pt x="11" y="51"/>
                    <a:pt x="9" y="51"/>
                  </a:cubicBezTo>
                  <a:cubicBezTo>
                    <a:pt x="6" y="51"/>
                    <a:pt x="4" y="49"/>
                    <a:pt x="3" y="4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57" name="Freeform 411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585710" y="4424176"/>
              <a:ext cx="117312" cy="146189"/>
            </a:xfrm>
            <a:custGeom>
              <a:avLst/>
              <a:gdLst>
                <a:gd name="T0" fmla="*/ 2147483647 w 33"/>
                <a:gd name="T1" fmla="*/ 2147483647 h 40"/>
                <a:gd name="T2" fmla="*/ 0 w 33"/>
                <a:gd name="T3" fmla="*/ 0 h 40"/>
                <a:gd name="T4" fmla="*/ 2147483647 w 33"/>
                <a:gd name="T5" fmla="*/ 0 h 40"/>
                <a:gd name="T6" fmla="*/ 2147483647 w 33"/>
                <a:gd name="T7" fmla="*/ 2147483647 h 40"/>
                <a:gd name="T8" fmla="*/ 2147483647 w 33"/>
                <a:gd name="T9" fmla="*/ 0 h 40"/>
                <a:gd name="T10" fmla="*/ 2147483647 w 33"/>
                <a:gd name="T11" fmla="*/ 2147483647 h 40"/>
                <a:gd name="T12" fmla="*/ 2147483647 w 33"/>
                <a:gd name="T13" fmla="*/ 2147483647 h 40"/>
                <a:gd name="T14" fmla="*/ 2147483647 w 33"/>
                <a:gd name="T15" fmla="*/ 2147483647 h 40"/>
                <a:gd name="T16" fmla="*/ 2147483647 w 33"/>
                <a:gd name="T17" fmla="*/ 2147483647 h 40"/>
                <a:gd name="T18" fmla="*/ 2147483647 w 33"/>
                <a:gd name="T19" fmla="*/ 2147483647 h 40"/>
                <a:gd name="T20" fmla="*/ 2147483647 w 33"/>
                <a:gd name="T21" fmla="*/ 2147483647 h 40"/>
                <a:gd name="T22" fmla="*/ 2147483647 w 33"/>
                <a:gd name="T23" fmla="*/ 2147483647 h 40"/>
                <a:gd name="T24" fmla="*/ 2147483647 w 33"/>
                <a:gd name="T25" fmla="*/ 2147483647 h 4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3"/>
                <a:gd name="T40" fmla="*/ 0 h 40"/>
                <a:gd name="T41" fmla="*/ 33 w 33"/>
                <a:gd name="T42" fmla="*/ 40 h 4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3" h="40">
                  <a:moveTo>
                    <a:pt x="6" y="20"/>
                  </a:moveTo>
                  <a:cubicBezTo>
                    <a:pt x="4" y="17"/>
                    <a:pt x="2" y="3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7" y="5"/>
                    <a:pt x="9" y="5"/>
                  </a:cubicBezTo>
                  <a:cubicBezTo>
                    <a:pt x="10" y="5"/>
                    <a:pt x="16" y="0"/>
                    <a:pt x="16" y="0"/>
                  </a:cubicBezTo>
                  <a:cubicBezTo>
                    <a:pt x="18" y="1"/>
                    <a:pt x="20" y="3"/>
                    <a:pt x="21" y="4"/>
                  </a:cubicBezTo>
                  <a:cubicBezTo>
                    <a:pt x="23" y="6"/>
                    <a:pt x="26" y="9"/>
                    <a:pt x="26" y="12"/>
                  </a:cubicBezTo>
                  <a:cubicBezTo>
                    <a:pt x="26" y="15"/>
                    <a:pt x="25" y="21"/>
                    <a:pt x="26" y="24"/>
                  </a:cubicBezTo>
                  <a:cubicBezTo>
                    <a:pt x="26" y="28"/>
                    <a:pt x="31" y="33"/>
                    <a:pt x="32" y="34"/>
                  </a:cubicBezTo>
                  <a:cubicBezTo>
                    <a:pt x="32" y="36"/>
                    <a:pt x="33" y="38"/>
                    <a:pt x="32" y="39"/>
                  </a:cubicBezTo>
                  <a:cubicBezTo>
                    <a:pt x="30" y="40"/>
                    <a:pt x="27" y="38"/>
                    <a:pt x="25" y="38"/>
                  </a:cubicBezTo>
                  <a:cubicBezTo>
                    <a:pt x="23" y="37"/>
                    <a:pt x="12" y="29"/>
                    <a:pt x="9" y="27"/>
                  </a:cubicBezTo>
                  <a:cubicBezTo>
                    <a:pt x="7" y="24"/>
                    <a:pt x="9" y="23"/>
                    <a:pt x="6" y="2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58" name="Freeform 412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585710" y="3956850"/>
              <a:ext cx="201695" cy="357085"/>
            </a:xfrm>
            <a:custGeom>
              <a:avLst/>
              <a:gdLst>
                <a:gd name="T0" fmla="*/ 2147483647 w 57"/>
                <a:gd name="T1" fmla="*/ 2147483647 h 96"/>
                <a:gd name="T2" fmla="*/ 0 w 57"/>
                <a:gd name="T3" fmla="*/ 2147483647 h 96"/>
                <a:gd name="T4" fmla="*/ 0 w 57"/>
                <a:gd name="T5" fmla="*/ 2147483647 h 96"/>
                <a:gd name="T6" fmla="*/ 2147483647 w 57"/>
                <a:gd name="T7" fmla="*/ 2147483647 h 96"/>
                <a:gd name="T8" fmla="*/ 2147483647 w 57"/>
                <a:gd name="T9" fmla="*/ 2147483647 h 96"/>
                <a:gd name="T10" fmla="*/ 2147483647 w 57"/>
                <a:gd name="T11" fmla="*/ 2147483647 h 96"/>
                <a:gd name="T12" fmla="*/ 2147483647 w 57"/>
                <a:gd name="T13" fmla="*/ 2147483647 h 96"/>
                <a:gd name="T14" fmla="*/ 2147483647 w 57"/>
                <a:gd name="T15" fmla="*/ 2147483647 h 96"/>
                <a:gd name="T16" fmla="*/ 2147483647 w 57"/>
                <a:gd name="T17" fmla="*/ 0 h 96"/>
                <a:gd name="T18" fmla="*/ 2147483647 w 57"/>
                <a:gd name="T19" fmla="*/ 2147483647 h 96"/>
                <a:gd name="T20" fmla="*/ 2147483647 w 57"/>
                <a:gd name="T21" fmla="*/ 2147483647 h 96"/>
                <a:gd name="T22" fmla="*/ 2147483647 w 57"/>
                <a:gd name="T23" fmla="*/ 2147483647 h 96"/>
                <a:gd name="T24" fmla="*/ 2147483647 w 57"/>
                <a:gd name="T25" fmla="*/ 2147483647 h 96"/>
                <a:gd name="T26" fmla="*/ 2147483647 w 57"/>
                <a:gd name="T27" fmla="*/ 2147483647 h 96"/>
                <a:gd name="T28" fmla="*/ 2147483647 w 57"/>
                <a:gd name="T29" fmla="*/ 2147483647 h 96"/>
                <a:gd name="T30" fmla="*/ 2147483647 w 57"/>
                <a:gd name="T31" fmla="*/ 2147483647 h 96"/>
                <a:gd name="T32" fmla="*/ 2147483647 w 57"/>
                <a:gd name="T33" fmla="*/ 2147483647 h 96"/>
                <a:gd name="T34" fmla="*/ 2147483647 w 57"/>
                <a:gd name="T35" fmla="*/ 2147483647 h 96"/>
                <a:gd name="T36" fmla="*/ 2147483647 w 57"/>
                <a:gd name="T37" fmla="*/ 2147483647 h 96"/>
                <a:gd name="T38" fmla="*/ 2147483647 w 57"/>
                <a:gd name="T39" fmla="*/ 2147483647 h 96"/>
                <a:gd name="T40" fmla="*/ 2147483647 w 57"/>
                <a:gd name="T41" fmla="*/ 2147483647 h 96"/>
                <a:gd name="T42" fmla="*/ 2147483647 w 57"/>
                <a:gd name="T43" fmla="*/ 2147483647 h 96"/>
                <a:gd name="T44" fmla="*/ 2147483647 w 57"/>
                <a:gd name="T45" fmla="*/ 2147483647 h 96"/>
                <a:gd name="T46" fmla="*/ 2147483647 w 57"/>
                <a:gd name="T47" fmla="*/ 2147483647 h 96"/>
                <a:gd name="T48" fmla="*/ 2147483647 w 57"/>
                <a:gd name="T49" fmla="*/ 2147483647 h 96"/>
                <a:gd name="T50" fmla="*/ 2147483647 w 57"/>
                <a:gd name="T51" fmla="*/ 2147483647 h 96"/>
                <a:gd name="T52" fmla="*/ 2147483647 w 57"/>
                <a:gd name="T53" fmla="*/ 2147483647 h 96"/>
                <a:gd name="T54" fmla="*/ 2147483647 w 57"/>
                <a:gd name="T55" fmla="*/ 2147483647 h 96"/>
                <a:gd name="T56" fmla="*/ 2147483647 w 57"/>
                <a:gd name="T57" fmla="*/ 2147483647 h 96"/>
                <a:gd name="T58" fmla="*/ 2147483647 w 57"/>
                <a:gd name="T59" fmla="*/ 2147483647 h 96"/>
                <a:gd name="T60" fmla="*/ 2147483647 w 57"/>
                <a:gd name="T61" fmla="*/ 2147483647 h 96"/>
                <a:gd name="T62" fmla="*/ 2147483647 w 57"/>
                <a:gd name="T63" fmla="*/ 2147483647 h 96"/>
                <a:gd name="T64" fmla="*/ 2147483647 w 57"/>
                <a:gd name="T65" fmla="*/ 2147483647 h 96"/>
                <a:gd name="T66" fmla="*/ 2147483647 w 57"/>
                <a:gd name="T67" fmla="*/ 2147483647 h 96"/>
                <a:gd name="T68" fmla="*/ 2147483647 w 57"/>
                <a:gd name="T69" fmla="*/ 2147483647 h 96"/>
                <a:gd name="T70" fmla="*/ 2147483647 w 57"/>
                <a:gd name="T71" fmla="*/ 2147483647 h 96"/>
                <a:gd name="T72" fmla="*/ 2147483647 w 57"/>
                <a:gd name="T73" fmla="*/ 2147483647 h 96"/>
                <a:gd name="T74" fmla="*/ 2147483647 w 57"/>
                <a:gd name="T75" fmla="*/ 2147483647 h 96"/>
                <a:gd name="T76" fmla="*/ 2147483647 w 57"/>
                <a:gd name="T77" fmla="*/ 2147483647 h 96"/>
                <a:gd name="T78" fmla="*/ 2147483647 w 57"/>
                <a:gd name="T79" fmla="*/ 2147483647 h 96"/>
                <a:gd name="T80" fmla="*/ 2147483647 w 57"/>
                <a:gd name="T81" fmla="*/ 2147483647 h 96"/>
                <a:gd name="T82" fmla="*/ 2147483647 w 57"/>
                <a:gd name="T83" fmla="*/ 2147483647 h 96"/>
                <a:gd name="T84" fmla="*/ 2147483647 w 57"/>
                <a:gd name="T85" fmla="*/ 2147483647 h 96"/>
                <a:gd name="T86" fmla="*/ 2147483647 w 57"/>
                <a:gd name="T87" fmla="*/ 2147483647 h 96"/>
                <a:gd name="T88" fmla="*/ 2147483647 w 57"/>
                <a:gd name="T89" fmla="*/ 2147483647 h 9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7"/>
                <a:gd name="T136" fmla="*/ 0 h 96"/>
                <a:gd name="T137" fmla="*/ 57 w 57"/>
                <a:gd name="T138" fmla="*/ 96 h 9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7" h="96">
                  <a:moveTo>
                    <a:pt x="2" y="18"/>
                  </a:moveTo>
                  <a:cubicBezTo>
                    <a:pt x="1" y="18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1"/>
                    <a:pt x="5" y="10"/>
                    <a:pt x="6" y="9"/>
                  </a:cubicBezTo>
                  <a:cubicBezTo>
                    <a:pt x="7" y="8"/>
                    <a:pt x="7" y="8"/>
                    <a:pt x="8" y="8"/>
                  </a:cubicBezTo>
                  <a:cubicBezTo>
                    <a:pt x="9" y="8"/>
                    <a:pt x="10" y="10"/>
                    <a:pt x="11" y="10"/>
                  </a:cubicBezTo>
                  <a:cubicBezTo>
                    <a:pt x="12" y="9"/>
                    <a:pt x="11" y="1"/>
                    <a:pt x="12" y="1"/>
                  </a:cubicBezTo>
                  <a:cubicBezTo>
                    <a:pt x="13" y="0"/>
                    <a:pt x="15" y="0"/>
                    <a:pt x="17" y="0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1" y="5"/>
                    <a:pt x="20" y="9"/>
                    <a:pt x="20" y="11"/>
                  </a:cubicBezTo>
                  <a:cubicBezTo>
                    <a:pt x="21" y="14"/>
                    <a:pt x="25" y="15"/>
                    <a:pt x="27" y="14"/>
                  </a:cubicBezTo>
                  <a:cubicBezTo>
                    <a:pt x="28" y="13"/>
                    <a:pt x="29" y="11"/>
                    <a:pt x="31" y="12"/>
                  </a:cubicBezTo>
                  <a:cubicBezTo>
                    <a:pt x="33" y="13"/>
                    <a:pt x="37" y="17"/>
                    <a:pt x="37" y="17"/>
                  </a:cubicBezTo>
                  <a:cubicBezTo>
                    <a:pt x="37" y="17"/>
                    <a:pt x="36" y="20"/>
                    <a:pt x="35" y="21"/>
                  </a:cubicBezTo>
                  <a:cubicBezTo>
                    <a:pt x="35" y="23"/>
                    <a:pt x="30" y="22"/>
                    <a:pt x="30" y="22"/>
                  </a:cubicBezTo>
                  <a:cubicBezTo>
                    <a:pt x="30" y="22"/>
                    <a:pt x="27" y="26"/>
                    <a:pt x="28" y="27"/>
                  </a:cubicBezTo>
                  <a:cubicBezTo>
                    <a:pt x="29" y="27"/>
                    <a:pt x="33" y="30"/>
                    <a:pt x="35" y="31"/>
                  </a:cubicBezTo>
                  <a:cubicBezTo>
                    <a:pt x="38" y="32"/>
                    <a:pt x="41" y="38"/>
                    <a:pt x="43" y="40"/>
                  </a:cubicBezTo>
                  <a:cubicBezTo>
                    <a:pt x="44" y="43"/>
                    <a:pt x="48" y="47"/>
                    <a:pt x="49" y="48"/>
                  </a:cubicBezTo>
                  <a:cubicBezTo>
                    <a:pt x="50" y="50"/>
                    <a:pt x="54" y="54"/>
                    <a:pt x="55" y="56"/>
                  </a:cubicBezTo>
                  <a:cubicBezTo>
                    <a:pt x="56" y="59"/>
                    <a:pt x="56" y="66"/>
                    <a:pt x="55" y="68"/>
                  </a:cubicBezTo>
                  <a:cubicBezTo>
                    <a:pt x="54" y="69"/>
                    <a:pt x="57" y="77"/>
                    <a:pt x="55" y="79"/>
                  </a:cubicBezTo>
                  <a:cubicBezTo>
                    <a:pt x="53" y="81"/>
                    <a:pt x="48" y="84"/>
                    <a:pt x="46" y="84"/>
                  </a:cubicBezTo>
                  <a:cubicBezTo>
                    <a:pt x="44" y="84"/>
                    <a:pt x="47" y="89"/>
                    <a:pt x="45" y="90"/>
                  </a:cubicBezTo>
                  <a:cubicBezTo>
                    <a:pt x="44" y="92"/>
                    <a:pt x="39" y="91"/>
                    <a:pt x="37" y="92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31" y="96"/>
                    <a:pt x="29" y="95"/>
                    <a:pt x="28" y="95"/>
                  </a:cubicBezTo>
                  <a:cubicBezTo>
                    <a:pt x="26" y="95"/>
                    <a:pt x="21" y="94"/>
                    <a:pt x="21" y="92"/>
                  </a:cubicBezTo>
                  <a:cubicBezTo>
                    <a:pt x="21" y="90"/>
                    <a:pt x="20" y="86"/>
                    <a:pt x="18" y="84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1" y="81"/>
                    <a:pt x="16" y="73"/>
                    <a:pt x="17" y="72"/>
                  </a:cubicBezTo>
                  <a:cubicBezTo>
                    <a:pt x="18" y="70"/>
                    <a:pt x="23" y="66"/>
                    <a:pt x="25" y="65"/>
                  </a:cubicBezTo>
                  <a:cubicBezTo>
                    <a:pt x="27" y="65"/>
                    <a:pt x="35" y="66"/>
                    <a:pt x="38" y="65"/>
                  </a:cubicBezTo>
                  <a:cubicBezTo>
                    <a:pt x="40" y="64"/>
                    <a:pt x="40" y="59"/>
                    <a:pt x="40" y="55"/>
                  </a:cubicBezTo>
                  <a:cubicBezTo>
                    <a:pt x="40" y="52"/>
                    <a:pt x="37" y="52"/>
                    <a:pt x="35" y="49"/>
                  </a:cubicBezTo>
                  <a:cubicBezTo>
                    <a:pt x="34" y="46"/>
                    <a:pt x="35" y="41"/>
                    <a:pt x="34" y="40"/>
                  </a:cubicBezTo>
                  <a:cubicBezTo>
                    <a:pt x="32" y="38"/>
                    <a:pt x="27" y="33"/>
                    <a:pt x="25" y="33"/>
                  </a:cubicBezTo>
                  <a:cubicBezTo>
                    <a:pt x="23" y="33"/>
                    <a:pt x="22" y="37"/>
                    <a:pt x="20" y="37"/>
                  </a:cubicBezTo>
                  <a:cubicBezTo>
                    <a:pt x="17" y="37"/>
                    <a:pt x="14" y="36"/>
                    <a:pt x="12" y="37"/>
                  </a:cubicBezTo>
                  <a:cubicBezTo>
                    <a:pt x="11" y="38"/>
                    <a:pt x="6" y="43"/>
                    <a:pt x="6" y="41"/>
                  </a:cubicBezTo>
                  <a:cubicBezTo>
                    <a:pt x="5" y="39"/>
                    <a:pt x="9" y="30"/>
                    <a:pt x="8" y="28"/>
                  </a:cubicBezTo>
                  <a:cubicBezTo>
                    <a:pt x="8" y="25"/>
                    <a:pt x="8" y="23"/>
                    <a:pt x="5" y="24"/>
                  </a:cubicBezTo>
                  <a:cubicBezTo>
                    <a:pt x="2" y="25"/>
                    <a:pt x="0" y="26"/>
                    <a:pt x="1" y="24"/>
                  </a:cubicBezTo>
                  <a:cubicBezTo>
                    <a:pt x="1" y="22"/>
                    <a:pt x="3" y="18"/>
                    <a:pt x="2" y="1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59" name="Freeform 413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8511618" y="4019160"/>
              <a:ext cx="214043" cy="419396"/>
            </a:xfrm>
            <a:custGeom>
              <a:avLst/>
              <a:gdLst>
                <a:gd name="T0" fmla="*/ 2147483647 w 61"/>
                <a:gd name="T1" fmla="*/ 2147483647 h 114"/>
                <a:gd name="T2" fmla="*/ 2147483647 w 61"/>
                <a:gd name="T3" fmla="*/ 2147483647 h 114"/>
                <a:gd name="T4" fmla="*/ 2147483647 w 61"/>
                <a:gd name="T5" fmla="*/ 2147483647 h 114"/>
                <a:gd name="T6" fmla="*/ 2147483647 w 61"/>
                <a:gd name="T7" fmla="*/ 2147483647 h 114"/>
                <a:gd name="T8" fmla="*/ 2147483647 w 61"/>
                <a:gd name="T9" fmla="*/ 2147483647 h 114"/>
                <a:gd name="T10" fmla="*/ 2147483647 w 61"/>
                <a:gd name="T11" fmla="*/ 2147483647 h 114"/>
                <a:gd name="T12" fmla="*/ 2147483647 w 61"/>
                <a:gd name="T13" fmla="*/ 2147483647 h 114"/>
                <a:gd name="T14" fmla="*/ 2147483647 w 61"/>
                <a:gd name="T15" fmla="*/ 2147483647 h 114"/>
                <a:gd name="T16" fmla="*/ 2147483647 w 61"/>
                <a:gd name="T17" fmla="*/ 2147483647 h 114"/>
                <a:gd name="T18" fmla="*/ 2147483647 w 61"/>
                <a:gd name="T19" fmla="*/ 2147483647 h 114"/>
                <a:gd name="T20" fmla="*/ 2147483647 w 61"/>
                <a:gd name="T21" fmla="*/ 2147483647 h 114"/>
                <a:gd name="T22" fmla="*/ 2147483647 w 61"/>
                <a:gd name="T23" fmla="*/ 2147483647 h 114"/>
                <a:gd name="T24" fmla="*/ 2147483647 w 61"/>
                <a:gd name="T25" fmla="*/ 0 h 114"/>
                <a:gd name="T26" fmla="*/ 2147483647 w 61"/>
                <a:gd name="T27" fmla="*/ 2147483647 h 114"/>
                <a:gd name="T28" fmla="*/ 2147483647 w 61"/>
                <a:gd name="T29" fmla="*/ 2147483647 h 114"/>
                <a:gd name="T30" fmla="*/ 2147483647 w 61"/>
                <a:gd name="T31" fmla="*/ 2147483647 h 114"/>
                <a:gd name="T32" fmla="*/ 2147483647 w 61"/>
                <a:gd name="T33" fmla="*/ 2147483647 h 114"/>
                <a:gd name="T34" fmla="*/ 2147483647 w 61"/>
                <a:gd name="T35" fmla="*/ 2147483647 h 114"/>
                <a:gd name="T36" fmla="*/ 2147483647 w 61"/>
                <a:gd name="T37" fmla="*/ 2147483647 h 114"/>
                <a:gd name="T38" fmla="*/ 2147483647 w 61"/>
                <a:gd name="T39" fmla="*/ 2147483647 h 114"/>
                <a:gd name="T40" fmla="*/ 2147483647 w 61"/>
                <a:gd name="T41" fmla="*/ 2147483647 h 114"/>
                <a:gd name="T42" fmla="*/ 2147483647 w 61"/>
                <a:gd name="T43" fmla="*/ 2147483647 h 114"/>
                <a:gd name="T44" fmla="*/ 2147483647 w 61"/>
                <a:gd name="T45" fmla="*/ 2147483647 h 114"/>
                <a:gd name="T46" fmla="*/ 2147483647 w 61"/>
                <a:gd name="T47" fmla="*/ 2147483647 h 114"/>
                <a:gd name="T48" fmla="*/ 2147483647 w 61"/>
                <a:gd name="T49" fmla="*/ 2147483647 h 114"/>
                <a:gd name="T50" fmla="*/ 2147483647 w 61"/>
                <a:gd name="T51" fmla="*/ 2147483647 h 114"/>
                <a:gd name="T52" fmla="*/ 2147483647 w 61"/>
                <a:gd name="T53" fmla="*/ 2147483647 h 114"/>
                <a:gd name="T54" fmla="*/ 2147483647 w 61"/>
                <a:gd name="T55" fmla="*/ 2147483647 h 114"/>
                <a:gd name="T56" fmla="*/ 2147483647 w 61"/>
                <a:gd name="T57" fmla="*/ 2147483647 h 114"/>
                <a:gd name="T58" fmla="*/ 2147483647 w 61"/>
                <a:gd name="T59" fmla="*/ 2147483647 h 114"/>
                <a:gd name="T60" fmla="*/ 2147483647 w 61"/>
                <a:gd name="T61" fmla="*/ 2147483647 h 114"/>
                <a:gd name="T62" fmla="*/ 2147483647 w 61"/>
                <a:gd name="T63" fmla="*/ 2147483647 h 114"/>
                <a:gd name="T64" fmla="*/ 2147483647 w 61"/>
                <a:gd name="T65" fmla="*/ 2147483647 h 114"/>
                <a:gd name="T66" fmla="*/ 2147483647 w 61"/>
                <a:gd name="T67" fmla="*/ 2147483647 h 114"/>
                <a:gd name="T68" fmla="*/ 2147483647 w 61"/>
                <a:gd name="T69" fmla="*/ 2147483647 h 114"/>
                <a:gd name="T70" fmla="*/ 2147483647 w 61"/>
                <a:gd name="T71" fmla="*/ 2147483647 h 114"/>
                <a:gd name="T72" fmla="*/ 2147483647 w 61"/>
                <a:gd name="T73" fmla="*/ 2147483647 h 114"/>
                <a:gd name="T74" fmla="*/ 2147483647 w 61"/>
                <a:gd name="T75" fmla="*/ 2147483647 h 114"/>
                <a:gd name="T76" fmla="*/ 2147483647 w 61"/>
                <a:gd name="T77" fmla="*/ 2147483647 h 114"/>
                <a:gd name="T78" fmla="*/ 2147483647 w 61"/>
                <a:gd name="T79" fmla="*/ 2147483647 h 114"/>
                <a:gd name="T80" fmla="*/ 2147483647 w 61"/>
                <a:gd name="T81" fmla="*/ 2147483647 h 114"/>
                <a:gd name="T82" fmla="*/ 2147483647 w 61"/>
                <a:gd name="T83" fmla="*/ 2147483647 h 114"/>
                <a:gd name="T84" fmla="*/ 2147483647 w 61"/>
                <a:gd name="T85" fmla="*/ 2147483647 h 114"/>
                <a:gd name="T86" fmla="*/ 2147483647 w 61"/>
                <a:gd name="T87" fmla="*/ 2147483647 h 114"/>
                <a:gd name="T88" fmla="*/ 2147483647 w 61"/>
                <a:gd name="T89" fmla="*/ 2147483647 h 114"/>
                <a:gd name="T90" fmla="*/ 2147483647 w 61"/>
                <a:gd name="T91" fmla="*/ 2147483647 h 11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61"/>
                <a:gd name="T139" fmla="*/ 0 h 114"/>
                <a:gd name="T140" fmla="*/ 61 w 61"/>
                <a:gd name="T141" fmla="*/ 114 h 11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61" h="114">
                  <a:moveTo>
                    <a:pt x="6" y="94"/>
                  </a:moveTo>
                  <a:cubicBezTo>
                    <a:pt x="6" y="90"/>
                    <a:pt x="6" y="83"/>
                    <a:pt x="6" y="78"/>
                  </a:cubicBezTo>
                  <a:cubicBezTo>
                    <a:pt x="6" y="77"/>
                    <a:pt x="6" y="76"/>
                    <a:pt x="6" y="76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3" y="64"/>
                    <a:pt x="13" y="57"/>
                    <a:pt x="13" y="56"/>
                  </a:cubicBezTo>
                  <a:cubicBezTo>
                    <a:pt x="13" y="55"/>
                    <a:pt x="12" y="49"/>
                    <a:pt x="10" y="47"/>
                  </a:cubicBezTo>
                  <a:cubicBezTo>
                    <a:pt x="9" y="45"/>
                    <a:pt x="9" y="41"/>
                    <a:pt x="9" y="40"/>
                  </a:cubicBezTo>
                  <a:cubicBezTo>
                    <a:pt x="10" y="38"/>
                    <a:pt x="10" y="31"/>
                    <a:pt x="10" y="28"/>
                  </a:cubicBezTo>
                  <a:cubicBezTo>
                    <a:pt x="10" y="25"/>
                    <a:pt x="0" y="17"/>
                    <a:pt x="1" y="16"/>
                  </a:cubicBezTo>
                  <a:cubicBezTo>
                    <a:pt x="2" y="14"/>
                    <a:pt x="3" y="8"/>
                    <a:pt x="4" y="6"/>
                  </a:cubicBezTo>
                  <a:cubicBezTo>
                    <a:pt x="5" y="5"/>
                    <a:pt x="9" y="5"/>
                    <a:pt x="10" y="5"/>
                  </a:cubicBezTo>
                  <a:cubicBezTo>
                    <a:pt x="11" y="5"/>
                    <a:pt x="14" y="3"/>
                    <a:pt x="16" y="1"/>
                  </a:cubicBezTo>
                  <a:cubicBezTo>
                    <a:pt x="17" y="0"/>
                    <a:pt x="19" y="0"/>
                    <a:pt x="21" y="0"/>
                  </a:cubicBezTo>
                  <a:cubicBezTo>
                    <a:pt x="21" y="0"/>
                    <a:pt x="22" y="1"/>
                    <a:pt x="23" y="1"/>
                  </a:cubicBezTo>
                  <a:cubicBezTo>
                    <a:pt x="24" y="1"/>
                    <a:pt x="22" y="5"/>
                    <a:pt x="22" y="7"/>
                  </a:cubicBezTo>
                  <a:cubicBezTo>
                    <a:pt x="21" y="9"/>
                    <a:pt x="23" y="8"/>
                    <a:pt x="26" y="7"/>
                  </a:cubicBezTo>
                  <a:cubicBezTo>
                    <a:pt x="29" y="6"/>
                    <a:pt x="29" y="8"/>
                    <a:pt x="29" y="11"/>
                  </a:cubicBezTo>
                  <a:cubicBezTo>
                    <a:pt x="30" y="13"/>
                    <a:pt x="26" y="22"/>
                    <a:pt x="27" y="24"/>
                  </a:cubicBezTo>
                  <a:cubicBezTo>
                    <a:pt x="27" y="26"/>
                    <a:pt x="32" y="21"/>
                    <a:pt x="33" y="20"/>
                  </a:cubicBezTo>
                  <a:cubicBezTo>
                    <a:pt x="35" y="19"/>
                    <a:pt x="38" y="20"/>
                    <a:pt x="41" y="20"/>
                  </a:cubicBezTo>
                  <a:cubicBezTo>
                    <a:pt x="43" y="20"/>
                    <a:pt x="44" y="16"/>
                    <a:pt x="46" y="16"/>
                  </a:cubicBezTo>
                  <a:cubicBezTo>
                    <a:pt x="48" y="16"/>
                    <a:pt x="53" y="21"/>
                    <a:pt x="55" y="23"/>
                  </a:cubicBezTo>
                  <a:cubicBezTo>
                    <a:pt x="56" y="24"/>
                    <a:pt x="55" y="29"/>
                    <a:pt x="56" y="32"/>
                  </a:cubicBezTo>
                  <a:cubicBezTo>
                    <a:pt x="58" y="35"/>
                    <a:pt x="61" y="35"/>
                    <a:pt x="61" y="38"/>
                  </a:cubicBezTo>
                  <a:cubicBezTo>
                    <a:pt x="61" y="42"/>
                    <a:pt x="61" y="47"/>
                    <a:pt x="59" y="48"/>
                  </a:cubicBezTo>
                  <a:cubicBezTo>
                    <a:pt x="56" y="49"/>
                    <a:pt x="48" y="48"/>
                    <a:pt x="46" y="48"/>
                  </a:cubicBezTo>
                  <a:cubicBezTo>
                    <a:pt x="44" y="49"/>
                    <a:pt x="39" y="53"/>
                    <a:pt x="38" y="55"/>
                  </a:cubicBezTo>
                  <a:cubicBezTo>
                    <a:pt x="37" y="56"/>
                    <a:pt x="42" y="64"/>
                    <a:pt x="42" y="64"/>
                  </a:cubicBezTo>
                  <a:cubicBezTo>
                    <a:pt x="39" y="67"/>
                    <a:pt x="39" y="67"/>
                    <a:pt x="39" y="67"/>
                  </a:cubicBezTo>
                  <a:cubicBezTo>
                    <a:pt x="37" y="65"/>
                    <a:pt x="35" y="64"/>
                    <a:pt x="33" y="63"/>
                  </a:cubicBezTo>
                  <a:cubicBezTo>
                    <a:pt x="31" y="62"/>
                    <a:pt x="26" y="61"/>
                    <a:pt x="27" y="60"/>
                  </a:cubicBezTo>
                  <a:cubicBezTo>
                    <a:pt x="27" y="58"/>
                    <a:pt x="28" y="56"/>
                    <a:pt x="27" y="54"/>
                  </a:cubicBezTo>
                  <a:cubicBezTo>
                    <a:pt x="27" y="53"/>
                    <a:pt x="20" y="53"/>
                    <a:pt x="20" y="54"/>
                  </a:cubicBezTo>
                  <a:cubicBezTo>
                    <a:pt x="19" y="55"/>
                    <a:pt x="19" y="65"/>
                    <a:pt x="18" y="66"/>
                  </a:cubicBezTo>
                  <a:cubicBezTo>
                    <a:pt x="17" y="68"/>
                    <a:pt x="14" y="77"/>
                    <a:pt x="14" y="80"/>
                  </a:cubicBezTo>
                  <a:cubicBezTo>
                    <a:pt x="14" y="83"/>
                    <a:pt x="15" y="86"/>
                    <a:pt x="15" y="86"/>
                  </a:cubicBezTo>
                  <a:cubicBezTo>
                    <a:pt x="15" y="86"/>
                    <a:pt x="20" y="84"/>
                    <a:pt x="20" y="86"/>
                  </a:cubicBezTo>
                  <a:cubicBezTo>
                    <a:pt x="20" y="87"/>
                    <a:pt x="21" y="90"/>
                    <a:pt x="22" y="93"/>
                  </a:cubicBezTo>
                  <a:cubicBezTo>
                    <a:pt x="23" y="96"/>
                    <a:pt x="23" y="102"/>
                    <a:pt x="26" y="103"/>
                  </a:cubicBezTo>
                  <a:cubicBezTo>
                    <a:pt x="28" y="105"/>
                    <a:pt x="31" y="103"/>
                    <a:pt x="33" y="104"/>
                  </a:cubicBezTo>
                  <a:cubicBezTo>
                    <a:pt x="33" y="105"/>
                    <a:pt x="35" y="107"/>
                    <a:pt x="37" y="109"/>
                  </a:cubicBezTo>
                  <a:cubicBezTo>
                    <a:pt x="37" y="109"/>
                    <a:pt x="31" y="114"/>
                    <a:pt x="30" y="114"/>
                  </a:cubicBezTo>
                  <a:cubicBezTo>
                    <a:pt x="28" y="114"/>
                    <a:pt x="27" y="109"/>
                    <a:pt x="27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18" y="106"/>
                    <a:pt x="10" y="95"/>
                    <a:pt x="9" y="95"/>
                  </a:cubicBezTo>
                  <a:cubicBezTo>
                    <a:pt x="8" y="95"/>
                    <a:pt x="6" y="97"/>
                    <a:pt x="6" y="9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60" name="Freeform 414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9408953" y="4611107"/>
              <a:ext cx="273729" cy="246844"/>
            </a:xfrm>
            <a:custGeom>
              <a:avLst/>
              <a:gdLst>
                <a:gd name="T0" fmla="*/ 0 w 78"/>
                <a:gd name="T1" fmla="*/ 2147483647 h 67"/>
                <a:gd name="T2" fmla="*/ 2147483647 w 78"/>
                <a:gd name="T3" fmla="*/ 2147483647 h 67"/>
                <a:gd name="T4" fmla="*/ 2147483647 w 78"/>
                <a:gd name="T5" fmla="*/ 2147483647 h 67"/>
                <a:gd name="T6" fmla="*/ 2147483647 w 78"/>
                <a:gd name="T7" fmla="*/ 0 h 67"/>
                <a:gd name="T8" fmla="*/ 2147483647 w 78"/>
                <a:gd name="T9" fmla="*/ 2147483647 h 67"/>
                <a:gd name="T10" fmla="*/ 2147483647 w 78"/>
                <a:gd name="T11" fmla="*/ 2147483647 h 67"/>
                <a:gd name="T12" fmla="*/ 2147483647 w 78"/>
                <a:gd name="T13" fmla="*/ 2147483647 h 67"/>
                <a:gd name="T14" fmla="*/ 2147483647 w 78"/>
                <a:gd name="T15" fmla="*/ 2147483647 h 67"/>
                <a:gd name="T16" fmla="*/ 2147483647 w 78"/>
                <a:gd name="T17" fmla="*/ 2147483647 h 67"/>
                <a:gd name="T18" fmla="*/ 2147483647 w 78"/>
                <a:gd name="T19" fmla="*/ 2147483647 h 67"/>
                <a:gd name="T20" fmla="*/ 2147483647 w 78"/>
                <a:gd name="T21" fmla="*/ 2147483647 h 67"/>
                <a:gd name="T22" fmla="*/ 2147483647 w 78"/>
                <a:gd name="T23" fmla="*/ 2147483647 h 67"/>
                <a:gd name="T24" fmla="*/ 2147483647 w 78"/>
                <a:gd name="T25" fmla="*/ 2147483647 h 67"/>
                <a:gd name="T26" fmla="*/ 2147483647 w 78"/>
                <a:gd name="T27" fmla="*/ 2147483647 h 67"/>
                <a:gd name="T28" fmla="*/ 2147483647 w 78"/>
                <a:gd name="T29" fmla="*/ 2147483647 h 67"/>
                <a:gd name="T30" fmla="*/ 2147483647 w 78"/>
                <a:gd name="T31" fmla="*/ 2147483647 h 67"/>
                <a:gd name="T32" fmla="*/ 2147483647 w 78"/>
                <a:gd name="T33" fmla="*/ 2147483647 h 67"/>
                <a:gd name="T34" fmla="*/ 2147483647 w 78"/>
                <a:gd name="T35" fmla="*/ 2147483647 h 67"/>
                <a:gd name="T36" fmla="*/ 2147483647 w 78"/>
                <a:gd name="T37" fmla="*/ 2147483647 h 67"/>
                <a:gd name="T38" fmla="*/ 2147483647 w 78"/>
                <a:gd name="T39" fmla="*/ 2147483647 h 67"/>
                <a:gd name="T40" fmla="*/ 2147483647 w 78"/>
                <a:gd name="T41" fmla="*/ 2147483647 h 67"/>
                <a:gd name="T42" fmla="*/ 2147483647 w 78"/>
                <a:gd name="T43" fmla="*/ 2147483647 h 67"/>
                <a:gd name="T44" fmla="*/ 2147483647 w 78"/>
                <a:gd name="T45" fmla="*/ 2147483647 h 67"/>
                <a:gd name="T46" fmla="*/ 2147483647 w 78"/>
                <a:gd name="T47" fmla="*/ 2147483647 h 67"/>
                <a:gd name="T48" fmla="*/ 2147483647 w 78"/>
                <a:gd name="T49" fmla="*/ 2147483647 h 67"/>
                <a:gd name="T50" fmla="*/ 2147483647 w 78"/>
                <a:gd name="T51" fmla="*/ 2147483647 h 67"/>
                <a:gd name="T52" fmla="*/ 2147483647 w 78"/>
                <a:gd name="T53" fmla="*/ 2147483647 h 67"/>
                <a:gd name="T54" fmla="*/ 2147483647 w 78"/>
                <a:gd name="T55" fmla="*/ 2147483647 h 67"/>
                <a:gd name="T56" fmla="*/ 2147483647 w 78"/>
                <a:gd name="T57" fmla="*/ 2147483647 h 67"/>
                <a:gd name="T58" fmla="*/ 2147483647 w 78"/>
                <a:gd name="T59" fmla="*/ 2147483647 h 67"/>
                <a:gd name="T60" fmla="*/ 2147483647 w 78"/>
                <a:gd name="T61" fmla="*/ 2147483647 h 67"/>
                <a:gd name="T62" fmla="*/ 0 w 78"/>
                <a:gd name="T63" fmla="*/ 2147483647 h 6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78"/>
                <a:gd name="T97" fmla="*/ 0 h 67"/>
                <a:gd name="T98" fmla="*/ 78 w 78"/>
                <a:gd name="T99" fmla="*/ 67 h 6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78" h="67">
                  <a:moveTo>
                    <a:pt x="0" y="7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5" y="4"/>
                    <a:pt x="7" y="3"/>
                    <a:pt x="9" y="2"/>
                  </a:cubicBezTo>
                  <a:cubicBezTo>
                    <a:pt x="11" y="1"/>
                    <a:pt x="12" y="0"/>
                    <a:pt x="14" y="0"/>
                  </a:cubicBezTo>
                  <a:cubicBezTo>
                    <a:pt x="17" y="1"/>
                    <a:pt x="19" y="4"/>
                    <a:pt x="20" y="3"/>
                  </a:cubicBezTo>
                  <a:cubicBezTo>
                    <a:pt x="22" y="3"/>
                    <a:pt x="24" y="3"/>
                    <a:pt x="25" y="4"/>
                  </a:cubicBezTo>
                  <a:cubicBezTo>
                    <a:pt x="26" y="5"/>
                    <a:pt x="26" y="11"/>
                    <a:pt x="26" y="13"/>
                  </a:cubicBezTo>
                  <a:cubicBezTo>
                    <a:pt x="26" y="15"/>
                    <a:pt x="30" y="21"/>
                    <a:pt x="32" y="22"/>
                  </a:cubicBezTo>
                  <a:cubicBezTo>
                    <a:pt x="34" y="23"/>
                    <a:pt x="36" y="23"/>
                    <a:pt x="38" y="21"/>
                  </a:cubicBezTo>
                  <a:cubicBezTo>
                    <a:pt x="39" y="18"/>
                    <a:pt x="45" y="15"/>
                    <a:pt x="46" y="13"/>
                  </a:cubicBezTo>
                  <a:cubicBezTo>
                    <a:pt x="47" y="12"/>
                    <a:pt x="52" y="8"/>
                    <a:pt x="54" y="9"/>
                  </a:cubicBezTo>
                  <a:cubicBezTo>
                    <a:pt x="57" y="10"/>
                    <a:pt x="65" y="13"/>
                    <a:pt x="69" y="14"/>
                  </a:cubicBezTo>
                  <a:cubicBezTo>
                    <a:pt x="71" y="15"/>
                    <a:pt x="74" y="16"/>
                    <a:pt x="78" y="17"/>
                  </a:cubicBezTo>
                  <a:cubicBezTo>
                    <a:pt x="78" y="67"/>
                    <a:pt x="78" y="67"/>
                    <a:pt x="78" y="67"/>
                  </a:cubicBezTo>
                  <a:cubicBezTo>
                    <a:pt x="75" y="64"/>
                    <a:pt x="70" y="60"/>
                    <a:pt x="67" y="60"/>
                  </a:cubicBezTo>
                  <a:cubicBezTo>
                    <a:pt x="65" y="60"/>
                    <a:pt x="63" y="62"/>
                    <a:pt x="60" y="62"/>
                  </a:cubicBezTo>
                  <a:cubicBezTo>
                    <a:pt x="57" y="62"/>
                    <a:pt x="52" y="64"/>
                    <a:pt x="52" y="62"/>
                  </a:cubicBezTo>
                  <a:cubicBezTo>
                    <a:pt x="52" y="60"/>
                    <a:pt x="56" y="54"/>
                    <a:pt x="58" y="53"/>
                  </a:cubicBezTo>
                  <a:cubicBezTo>
                    <a:pt x="60" y="53"/>
                    <a:pt x="64" y="52"/>
                    <a:pt x="63" y="51"/>
                  </a:cubicBezTo>
                  <a:cubicBezTo>
                    <a:pt x="63" y="50"/>
                    <a:pt x="57" y="45"/>
                    <a:pt x="56" y="43"/>
                  </a:cubicBezTo>
                  <a:cubicBezTo>
                    <a:pt x="55" y="40"/>
                    <a:pt x="54" y="38"/>
                    <a:pt x="50" y="36"/>
                  </a:cubicBezTo>
                  <a:cubicBezTo>
                    <a:pt x="47" y="35"/>
                    <a:pt x="35" y="31"/>
                    <a:pt x="32" y="30"/>
                  </a:cubicBezTo>
                  <a:cubicBezTo>
                    <a:pt x="29" y="29"/>
                    <a:pt x="24" y="26"/>
                    <a:pt x="23" y="25"/>
                  </a:cubicBezTo>
                  <a:cubicBezTo>
                    <a:pt x="21" y="25"/>
                    <a:pt x="20" y="30"/>
                    <a:pt x="18" y="30"/>
                  </a:cubicBezTo>
                  <a:cubicBezTo>
                    <a:pt x="17" y="30"/>
                    <a:pt x="14" y="29"/>
                    <a:pt x="14" y="28"/>
                  </a:cubicBezTo>
                  <a:cubicBezTo>
                    <a:pt x="14" y="27"/>
                    <a:pt x="14" y="25"/>
                    <a:pt x="13" y="23"/>
                  </a:cubicBezTo>
                  <a:cubicBezTo>
                    <a:pt x="12" y="22"/>
                    <a:pt x="8" y="21"/>
                    <a:pt x="8" y="20"/>
                  </a:cubicBezTo>
                  <a:cubicBezTo>
                    <a:pt x="9" y="18"/>
                    <a:pt x="20" y="18"/>
                    <a:pt x="20" y="17"/>
                  </a:cubicBezTo>
                  <a:cubicBezTo>
                    <a:pt x="20" y="16"/>
                    <a:pt x="15" y="14"/>
                    <a:pt x="12" y="13"/>
                  </a:cubicBezTo>
                  <a:cubicBezTo>
                    <a:pt x="10" y="13"/>
                    <a:pt x="8" y="15"/>
                    <a:pt x="7" y="13"/>
                  </a:cubicBezTo>
                  <a:cubicBezTo>
                    <a:pt x="7" y="11"/>
                    <a:pt x="7" y="11"/>
                    <a:pt x="5" y="10"/>
                  </a:cubicBezTo>
                  <a:cubicBezTo>
                    <a:pt x="3" y="9"/>
                    <a:pt x="0" y="7"/>
                    <a:pt x="0" y="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61" name="Freeform 415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9334861" y="4680607"/>
              <a:ext cx="80266" cy="31155"/>
            </a:xfrm>
            <a:custGeom>
              <a:avLst/>
              <a:gdLst>
                <a:gd name="T0" fmla="*/ 2147483647 w 23"/>
                <a:gd name="T1" fmla="*/ 2147483647 h 9"/>
                <a:gd name="T2" fmla="*/ 2147483647 w 23"/>
                <a:gd name="T3" fmla="*/ 0 h 9"/>
                <a:gd name="T4" fmla="*/ 2147483647 w 23"/>
                <a:gd name="T5" fmla="*/ 2147483647 h 9"/>
                <a:gd name="T6" fmla="*/ 2147483647 w 23"/>
                <a:gd name="T7" fmla="*/ 2147483647 h 9"/>
                <a:gd name="T8" fmla="*/ 2147483647 w 23"/>
                <a:gd name="T9" fmla="*/ 2147483647 h 9"/>
                <a:gd name="T10" fmla="*/ 2147483647 w 23"/>
                <a:gd name="T11" fmla="*/ 2147483647 h 9"/>
                <a:gd name="T12" fmla="*/ 2147483647 w 23"/>
                <a:gd name="T13" fmla="*/ 2147483647 h 9"/>
                <a:gd name="T14" fmla="*/ 2147483647 w 23"/>
                <a:gd name="T15" fmla="*/ 2147483647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3"/>
                <a:gd name="T25" fmla="*/ 0 h 9"/>
                <a:gd name="T26" fmla="*/ 23 w 23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3" h="9">
                  <a:moveTo>
                    <a:pt x="1" y="1"/>
                  </a:moveTo>
                  <a:cubicBezTo>
                    <a:pt x="1" y="0"/>
                    <a:pt x="7" y="0"/>
                    <a:pt x="9" y="0"/>
                  </a:cubicBezTo>
                  <a:cubicBezTo>
                    <a:pt x="11" y="0"/>
                    <a:pt x="17" y="0"/>
                    <a:pt x="19" y="2"/>
                  </a:cubicBezTo>
                  <a:cubicBezTo>
                    <a:pt x="20" y="4"/>
                    <a:pt x="23" y="8"/>
                    <a:pt x="22" y="9"/>
                  </a:cubicBezTo>
                  <a:cubicBezTo>
                    <a:pt x="21" y="9"/>
                    <a:pt x="18" y="7"/>
                    <a:pt x="16" y="6"/>
                  </a:cubicBezTo>
                  <a:cubicBezTo>
                    <a:pt x="15" y="5"/>
                    <a:pt x="13" y="4"/>
                    <a:pt x="11" y="4"/>
                  </a:cubicBezTo>
                  <a:cubicBezTo>
                    <a:pt x="10" y="4"/>
                    <a:pt x="4" y="6"/>
                    <a:pt x="4" y="6"/>
                  </a:cubicBezTo>
                  <a:cubicBezTo>
                    <a:pt x="2" y="5"/>
                    <a:pt x="0" y="2"/>
                    <a:pt x="1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62" name="Freeform 416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9312222" y="4534417"/>
              <a:ext cx="47337" cy="100655"/>
            </a:xfrm>
            <a:custGeom>
              <a:avLst/>
              <a:gdLst>
                <a:gd name="T0" fmla="*/ 2147483647 w 13"/>
                <a:gd name="T1" fmla="*/ 2147483647 h 27"/>
                <a:gd name="T2" fmla="*/ 2147483647 w 13"/>
                <a:gd name="T3" fmla="*/ 2147483647 h 27"/>
                <a:gd name="T4" fmla="*/ 2147483647 w 13"/>
                <a:gd name="T5" fmla="*/ 2147483647 h 27"/>
                <a:gd name="T6" fmla="*/ 2147483647 w 13"/>
                <a:gd name="T7" fmla="*/ 0 h 27"/>
                <a:gd name="T8" fmla="*/ 2147483647 w 13"/>
                <a:gd name="T9" fmla="*/ 2147483647 h 27"/>
                <a:gd name="T10" fmla="*/ 2147483647 w 13"/>
                <a:gd name="T11" fmla="*/ 2147483647 h 27"/>
                <a:gd name="T12" fmla="*/ 2147483647 w 13"/>
                <a:gd name="T13" fmla="*/ 2147483647 h 27"/>
                <a:gd name="T14" fmla="*/ 2147483647 w 13"/>
                <a:gd name="T15" fmla="*/ 2147483647 h 27"/>
                <a:gd name="T16" fmla="*/ 2147483647 w 13"/>
                <a:gd name="T17" fmla="*/ 2147483647 h 27"/>
                <a:gd name="T18" fmla="*/ 2147483647 w 13"/>
                <a:gd name="T19" fmla="*/ 2147483647 h 27"/>
                <a:gd name="T20" fmla="*/ 2147483647 w 13"/>
                <a:gd name="T21" fmla="*/ 2147483647 h 2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3"/>
                <a:gd name="T34" fmla="*/ 0 h 27"/>
                <a:gd name="T35" fmla="*/ 13 w 13"/>
                <a:gd name="T36" fmla="*/ 27 h 2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3" h="27">
                  <a:moveTo>
                    <a:pt x="5" y="23"/>
                  </a:moveTo>
                  <a:cubicBezTo>
                    <a:pt x="3" y="22"/>
                    <a:pt x="1" y="17"/>
                    <a:pt x="1" y="14"/>
                  </a:cubicBezTo>
                  <a:cubicBezTo>
                    <a:pt x="1" y="11"/>
                    <a:pt x="0" y="8"/>
                    <a:pt x="2" y="5"/>
                  </a:cubicBezTo>
                  <a:cubicBezTo>
                    <a:pt x="3" y="2"/>
                    <a:pt x="5" y="0"/>
                    <a:pt x="6" y="0"/>
                  </a:cubicBezTo>
                  <a:cubicBezTo>
                    <a:pt x="6" y="0"/>
                    <a:pt x="7" y="2"/>
                    <a:pt x="6" y="4"/>
                  </a:cubicBezTo>
                  <a:cubicBezTo>
                    <a:pt x="6" y="6"/>
                    <a:pt x="10" y="4"/>
                    <a:pt x="11" y="5"/>
                  </a:cubicBezTo>
                  <a:cubicBezTo>
                    <a:pt x="13" y="6"/>
                    <a:pt x="10" y="8"/>
                    <a:pt x="9" y="9"/>
                  </a:cubicBezTo>
                  <a:cubicBezTo>
                    <a:pt x="9" y="11"/>
                    <a:pt x="13" y="13"/>
                    <a:pt x="12" y="15"/>
                  </a:cubicBezTo>
                  <a:cubicBezTo>
                    <a:pt x="11" y="17"/>
                    <a:pt x="8" y="16"/>
                    <a:pt x="7" y="16"/>
                  </a:cubicBezTo>
                  <a:cubicBezTo>
                    <a:pt x="5" y="17"/>
                    <a:pt x="10" y="25"/>
                    <a:pt x="9" y="26"/>
                  </a:cubicBezTo>
                  <a:cubicBezTo>
                    <a:pt x="7" y="27"/>
                    <a:pt x="6" y="24"/>
                    <a:pt x="5" y="2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63" name="Freeform 417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9281351" y="4687796"/>
              <a:ext cx="34988" cy="23965"/>
            </a:xfrm>
            <a:custGeom>
              <a:avLst/>
              <a:gdLst>
                <a:gd name="T0" fmla="*/ 2147483647 w 10"/>
                <a:gd name="T1" fmla="*/ 2147483647 h 7"/>
                <a:gd name="T2" fmla="*/ 2147483647 w 10"/>
                <a:gd name="T3" fmla="*/ 2147483647 h 7"/>
                <a:gd name="T4" fmla="*/ 0 w 10"/>
                <a:gd name="T5" fmla="*/ 2147483647 h 7"/>
                <a:gd name="T6" fmla="*/ 2147483647 w 10"/>
                <a:gd name="T7" fmla="*/ 0 h 7"/>
                <a:gd name="T8" fmla="*/ 2147483647 w 10"/>
                <a:gd name="T9" fmla="*/ 2147483647 h 7"/>
                <a:gd name="T10" fmla="*/ 2147483647 w 10"/>
                <a:gd name="T11" fmla="*/ 214748364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7"/>
                <a:gd name="T20" fmla="*/ 10 w 10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7">
                  <a:moveTo>
                    <a:pt x="10" y="6"/>
                  </a:moveTo>
                  <a:cubicBezTo>
                    <a:pt x="10" y="7"/>
                    <a:pt x="6" y="7"/>
                    <a:pt x="4" y="7"/>
                  </a:cubicBezTo>
                  <a:cubicBezTo>
                    <a:pt x="2" y="7"/>
                    <a:pt x="0" y="4"/>
                    <a:pt x="0" y="2"/>
                  </a:cubicBezTo>
                  <a:cubicBezTo>
                    <a:pt x="0" y="0"/>
                    <a:pt x="2" y="0"/>
                    <a:pt x="5" y="0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10" y="4"/>
                    <a:pt x="10" y="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64" name="Freeform 418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9203142" y="4831589"/>
              <a:ext cx="113196" cy="69500"/>
            </a:xfrm>
            <a:custGeom>
              <a:avLst/>
              <a:gdLst>
                <a:gd name="T0" fmla="*/ 0 w 32"/>
                <a:gd name="T1" fmla="*/ 2147483647 h 19"/>
                <a:gd name="T2" fmla="*/ 2147483647 w 32"/>
                <a:gd name="T3" fmla="*/ 2147483647 h 19"/>
                <a:gd name="T4" fmla="*/ 2147483647 w 32"/>
                <a:gd name="T5" fmla="*/ 2147483647 h 19"/>
                <a:gd name="T6" fmla="*/ 2147483647 w 32"/>
                <a:gd name="T7" fmla="*/ 2147483647 h 19"/>
                <a:gd name="T8" fmla="*/ 2147483647 w 32"/>
                <a:gd name="T9" fmla="*/ 2147483647 h 19"/>
                <a:gd name="T10" fmla="*/ 2147483647 w 32"/>
                <a:gd name="T11" fmla="*/ 2147483647 h 19"/>
                <a:gd name="T12" fmla="*/ 2147483647 w 32"/>
                <a:gd name="T13" fmla="*/ 2147483647 h 19"/>
                <a:gd name="T14" fmla="*/ 0 w 32"/>
                <a:gd name="T15" fmla="*/ 2147483647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2"/>
                <a:gd name="T25" fmla="*/ 0 h 19"/>
                <a:gd name="T26" fmla="*/ 32 w 32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2" h="19">
                  <a:moveTo>
                    <a:pt x="0" y="18"/>
                  </a:moveTo>
                  <a:cubicBezTo>
                    <a:pt x="0" y="17"/>
                    <a:pt x="5" y="12"/>
                    <a:pt x="8" y="9"/>
                  </a:cubicBezTo>
                  <a:cubicBezTo>
                    <a:pt x="10" y="7"/>
                    <a:pt x="16" y="3"/>
                    <a:pt x="20" y="3"/>
                  </a:cubicBezTo>
                  <a:cubicBezTo>
                    <a:pt x="23" y="3"/>
                    <a:pt x="32" y="0"/>
                    <a:pt x="32" y="3"/>
                  </a:cubicBezTo>
                  <a:cubicBezTo>
                    <a:pt x="32" y="5"/>
                    <a:pt x="25" y="9"/>
                    <a:pt x="22" y="10"/>
                  </a:cubicBezTo>
                  <a:cubicBezTo>
                    <a:pt x="20" y="10"/>
                    <a:pt x="17" y="12"/>
                    <a:pt x="13" y="15"/>
                  </a:cubicBezTo>
                  <a:cubicBezTo>
                    <a:pt x="10" y="18"/>
                    <a:pt x="6" y="19"/>
                    <a:pt x="5" y="19"/>
                  </a:cubicBezTo>
                  <a:cubicBezTo>
                    <a:pt x="3" y="19"/>
                    <a:pt x="0" y="18"/>
                    <a:pt x="0" y="1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65" name="Freeform 419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9116702" y="4824399"/>
              <a:ext cx="123487" cy="35948"/>
            </a:xfrm>
            <a:custGeom>
              <a:avLst/>
              <a:gdLst>
                <a:gd name="T0" fmla="*/ 0 w 35"/>
                <a:gd name="T1" fmla="*/ 2147483647 h 10"/>
                <a:gd name="T2" fmla="*/ 2147483647 w 35"/>
                <a:gd name="T3" fmla="*/ 2147483647 h 10"/>
                <a:gd name="T4" fmla="*/ 2147483647 w 35"/>
                <a:gd name="T5" fmla="*/ 2147483647 h 10"/>
                <a:gd name="T6" fmla="*/ 2147483647 w 35"/>
                <a:gd name="T7" fmla="*/ 2147483647 h 10"/>
                <a:gd name="T8" fmla="*/ 2147483647 w 35"/>
                <a:gd name="T9" fmla="*/ 2147483647 h 10"/>
                <a:gd name="T10" fmla="*/ 2147483647 w 35"/>
                <a:gd name="T11" fmla="*/ 2147483647 h 10"/>
                <a:gd name="T12" fmla="*/ 2147483647 w 35"/>
                <a:gd name="T13" fmla="*/ 2147483647 h 10"/>
                <a:gd name="T14" fmla="*/ 2147483647 w 35"/>
                <a:gd name="T15" fmla="*/ 2147483647 h 10"/>
                <a:gd name="T16" fmla="*/ 0 w 35"/>
                <a:gd name="T17" fmla="*/ 2147483647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5"/>
                <a:gd name="T28" fmla="*/ 0 h 10"/>
                <a:gd name="T29" fmla="*/ 35 w 35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5" h="10">
                  <a:moveTo>
                    <a:pt x="0" y="6"/>
                  </a:moveTo>
                  <a:cubicBezTo>
                    <a:pt x="0" y="5"/>
                    <a:pt x="3" y="5"/>
                    <a:pt x="6" y="4"/>
                  </a:cubicBezTo>
                  <a:cubicBezTo>
                    <a:pt x="8" y="4"/>
                    <a:pt x="13" y="4"/>
                    <a:pt x="16" y="4"/>
                  </a:cubicBezTo>
                  <a:cubicBezTo>
                    <a:pt x="19" y="4"/>
                    <a:pt x="24" y="1"/>
                    <a:pt x="27" y="1"/>
                  </a:cubicBezTo>
                  <a:cubicBezTo>
                    <a:pt x="29" y="1"/>
                    <a:pt x="35" y="0"/>
                    <a:pt x="34" y="1"/>
                  </a:cubicBezTo>
                  <a:cubicBezTo>
                    <a:pt x="34" y="2"/>
                    <a:pt x="32" y="5"/>
                    <a:pt x="30" y="5"/>
                  </a:cubicBezTo>
                  <a:cubicBezTo>
                    <a:pt x="28" y="5"/>
                    <a:pt x="17" y="10"/>
                    <a:pt x="12" y="8"/>
                  </a:cubicBezTo>
                  <a:cubicBezTo>
                    <a:pt x="7" y="6"/>
                    <a:pt x="6" y="10"/>
                    <a:pt x="4" y="10"/>
                  </a:cubicBezTo>
                  <a:cubicBezTo>
                    <a:pt x="1" y="10"/>
                    <a:pt x="1" y="9"/>
                    <a:pt x="0" y="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66" name="Freeform 420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9081714" y="4541607"/>
              <a:ext cx="183172" cy="225275"/>
            </a:xfrm>
            <a:custGeom>
              <a:avLst/>
              <a:gdLst>
                <a:gd name="T0" fmla="*/ 2147483647 w 52"/>
                <a:gd name="T1" fmla="*/ 2147483647 h 60"/>
                <a:gd name="T2" fmla="*/ 0 w 52"/>
                <a:gd name="T3" fmla="*/ 2147483647 h 60"/>
                <a:gd name="T4" fmla="*/ 2147483647 w 52"/>
                <a:gd name="T5" fmla="*/ 2147483647 h 60"/>
                <a:gd name="T6" fmla="*/ 2147483647 w 52"/>
                <a:gd name="T7" fmla="*/ 2147483647 h 60"/>
                <a:gd name="T8" fmla="*/ 2147483647 w 52"/>
                <a:gd name="T9" fmla="*/ 2147483647 h 60"/>
                <a:gd name="T10" fmla="*/ 2147483647 w 52"/>
                <a:gd name="T11" fmla="*/ 2147483647 h 60"/>
                <a:gd name="T12" fmla="*/ 2147483647 w 52"/>
                <a:gd name="T13" fmla="*/ 2147483647 h 60"/>
                <a:gd name="T14" fmla="*/ 2147483647 w 52"/>
                <a:gd name="T15" fmla="*/ 2147483647 h 60"/>
                <a:gd name="T16" fmla="*/ 2147483647 w 52"/>
                <a:gd name="T17" fmla="*/ 2147483647 h 60"/>
                <a:gd name="T18" fmla="*/ 2147483647 w 52"/>
                <a:gd name="T19" fmla="*/ 2147483647 h 60"/>
                <a:gd name="T20" fmla="*/ 2147483647 w 52"/>
                <a:gd name="T21" fmla="*/ 2147483647 h 60"/>
                <a:gd name="T22" fmla="*/ 2147483647 w 52"/>
                <a:gd name="T23" fmla="*/ 2147483647 h 60"/>
                <a:gd name="T24" fmla="*/ 2147483647 w 52"/>
                <a:gd name="T25" fmla="*/ 2147483647 h 60"/>
                <a:gd name="T26" fmla="*/ 2147483647 w 52"/>
                <a:gd name="T27" fmla="*/ 2147483647 h 60"/>
                <a:gd name="T28" fmla="*/ 2147483647 w 52"/>
                <a:gd name="T29" fmla="*/ 2147483647 h 60"/>
                <a:gd name="T30" fmla="*/ 2147483647 w 52"/>
                <a:gd name="T31" fmla="*/ 2147483647 h 60"/>
                <a:gd name="T32" fmla="*/ 2147483647 w 52"/>
                <a:gd name="T33" fmla="*/ 2147483647 h 60"/>
                <a:gd name="T34" fmla="*/ 2147483647 w 52"/>
                <a:gd name="T35" fmla="*/ 2147483647 h 60"/>
                <a:gd name="T36" fmla="*/ 2147483647 w 52"/>
                <a:gd name="T37" fmla="*/ 2147483647 h 60"/>
                <a:gd name="T38" fmla="*/ 2147483647 w 52"/>
                <a:gd name="T39" fmla="*/ 2147483647 h 60"/>
                <a:gd name="T40" fmla="*/ 2147483647 w 52"/>
                <a:gd name="T41" fmla="*/ 2147483647 h 60"/>
                <a:gd name="T42" fmla="*/ 2147483647 w 52"/>
                <a:gd name="T43" fmla="*/ 2147483647 h 60"/>
                <a:gd name="T44" fmla="*/ 2147483647 w 52"/>
                <a:gd name="T45" fmla="*/ 2147483647 h 60"/>
                <a:gd name="T46" fmla="*/ 2147483647 w 52"/>
                <a:gd name="T47" fmla="*/ 2147483647 h 60"/>
                <a:gd name="T48" fmla="*/ 2147483647 w 52"/>
                <a:gd name="T49" fmla="*/ 2147483647 h 60"/>
                <a:gd name="T50" fmla="*/ 2147483647 w 52"/>
                <a:gd name="T51" fmla="*/ 2147483647 h 60"/>
                <a:gd name="T52" fmla="*/ 2147483647 w 52"/>
                <a:gd name="T53" fmla="*/ 2147483647 h 60"/>
                <a:gd name="T54" fmla="*/ 2147483647 w 52"/>
                <a:gd name="T55" fmla="*/ 2147483647 h 60"/>
                <a:gd name="T56" fmla="*/ 2147483647 w 52"/>
                <a:gd name="T57" fmla="*/ 2147483647 h 60"/>
                <a:gd name="T58" fmla="*/ 2147483647 w 52"/>
                <a:gd name="T59" fmla="*/ 2147483647 h 60"/>
                <a:gd name="T60" fmla="*/ 2147483647 w 52"/>
                <a:gd name="T61" fmla="*/ 2147483647 h 60"/>
                <a:gd name="T62" fmla="*/ 2147483647 w 52"/>
                <a:gd name="T63" fmla="*/ 2147483647 h 60"/>
                <a:gd name="T64" fmla="*/ 2147483647 w 52"/>
                <a:gd name="T65" fmla="*/ 2147483647 h 60"/>
                <a:gd name="T66" fmla="*/ 2147483647 w 52"/>
                <a:gd name="T67" fmla="*/ 2147483647 h 60"/>
                <a:gd name="T68" fmla="*/ 2147483647 w 52"/>
                <a:gd name="T69" fmla="*/ 2147483647 h 60"/>
                <a:gd name="T70" fmla="*/ 2147483647 w 52"/>
                <a:gd name="T71" fmla="*/ 2147483647 h 6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2"/>
                <a:gd name="T109" fmla="*/ 0 h 60"/>
                <a:gd name="T110" fmla="*/ 52 w 52"/>
                <a:gd name="T111" fmla="*/ 60 h 6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2" h="60">
                  <a:moveTo>
                    <a:pt x="7" y="43"/>
                  </a:moveTo>
                  <a:cubicBezTo>
                    <a:pt x="6" y="42"/>
                    <a:pt x="0" y="42"/>
                    <a:pt x="0" y="40"/>
                  </a:cubicBezTo>
                  <a:cubicBezTo>
                    <a:pt x="0" y="38"/>
                    <a:pt x="4" y="36"/>
                    <a:pt x="4" y="33"/>
                  </a:cubicBezTo>
                  <a:cubicBezTo>
                    <a:pt x="4" y="31"/>
                    <a:pt x="5" y="24"/>
                    <a:pt x="7" y="23"/>
                  </a:cubicBezTo>
                  <a:cubicBezTo>
                    <a:pt x="8" y="21"/>
                    <a:pt x="8" y="15"/>
                    <a:pt x="9" y="13"/>
                  </a:cubicBezTo>
                  <a:cubicBezTo>
                    <a:pt x="11" y="11"/>
                    <a:pt x="15" y="6"/>
                    <a:pt x="17" y="6"/>
                  </a:cubicBezTo>
                  <a:cubicBezTo>
                    <a:pt x="18" y="6"/>
                    <a:pt x="25" y="7"/>
                    <a:pt x="27" y="7"/>
                  </a:cubicBezTo>
                  <a:cubicBezTo>
                    <a:pt x="29" y="7"/>
                    <a:pt x="41" y="9"/>
                    <a:pt x="43" y="7"/>
                  </a:cubicBezTo>
                  <a:cubicBezTo>
                    <a:pt x="45" y="5"/>
                    <a:pt x="47" y="0"/>
                    <a:pt x="49" y="1"/>
                  </a:cubicBezTo>
                  <a:cubicBezTo>
                    <a:pt x="51" y="2"/>
                    <a:pt x="52" y="3"/>
                    <a:pt x="51" y="5"/>
                  </a:cubicBezTo>
                  <a:cubicBezTo>
                    <a:pt x="50" y="6"/>
                    <a:pt x="45" y="13"/>
                    <a:pt x="45" y="14"/>
                  </a:cubicBezTo>
                  <a:cubicBezTo>
                    <a:pt x="43" y="14"/>
                    <a:pt x="37" y="13"/>
                    <a:pt x="33" y="13"/>
                  </a:cubicBezTo>
                  <a:cubicBezTo>
                    <a:pt x="30" y="13"/>
                    <a:pt x="21" y="13"/>
                    <a:pt x="19" y="13"/>
                  </a:cubicBezTo>
                  <a:cubicBezTo>
                    <a:pt x="17" y="13"/>
                    <a:pt x="14" y="15"/>
                    <a:pt x="14" y="17"/>
                  </a:cubicBezTo>
                  <a:cubicBezTo>
                    <a:pt x="14" y="18"/>
                    <a:pt x="12" y="21"/>
                    <a:pt x="13" y="22"/>
                  </a:cubicBezTo>
                  <a:cubicBezTo>
                    <a:pt x="15" y="24"/>
                    <a:pt x="15" y="26"/>
                    <a:pt x="17" y="26"/>
                  </a:cubicBezTo>
                  <a:cubicBezTo>
                    <a:pt x="20" y="27"/>
                    <a:pt x="21" y="22"/>
                    <a:pt x="23" y="22"/>
                  </a:cubicBezTo>
                  <a:cubicBezTo>
                    <a:pt x="25" y="22"/>
                    <a:pt x="32" y="19"/>
                    <a:pt x="35" y="21"/>
                  </a:cubicBezTo>
                  <a:cubicBezTo>
                    <a:pt x="37" y="23"/>
                    <a:pt x="37" y="23"/>
                    <a:pt x="36" y="25"/>
                  </a:cubicBezTo>
                  <a:cubicBezTo>
                    <a:pt x="35" y="26"/>
                    <a:pt x="30" y="28"/>
                    <a:pt x="28" y="28"/>
                  </a:cubicBezTo>
                  <a:cubicBezTo>
                    <a:pt x="26" y="28"/>
                    <a:pt x="22" y="30"/>
                    <a:pt x="22" y="31"/>
                  </a:cubicBezTo>
                  <a:cubicBezTo>
                    <a:pt x="22" y="33"/>
                    <a:pt x="29" y="38"/>
                    <a:pt x="29" y="40"/>
                  </a:cubicBezTo>
                  <a:cubicBezTo>
                    <a:pt x="29" y="42"/>
                    <a:pt x="28" y="44"/>
                    <a:pt x="29" y="45"/>
                  </a:cubicBezTo>
                  <a:cubicBezTo>
                    <a:pt x="30" y="46"/>
                    <a:pt x="34" y="50"/>
                    <a:pt x="34" y="50"/>
                  </a:cubicBezTo>
                  <a:cubicBezTo>
                    <a:pt x="34" y="50"/>
                    <a:pt x="34" y="53"/>
                    <a:pt x="33" y="55"/>
                  </a:cubicBezTo>
                  <a:cubicBezTo>
                    <a:pt x="32" y="57"/>
                    <a:pt x="32" y="59"/>
                    <a:pt x="30" y="58"/>
                  </a:cubicBezTo>
                  <a:cubicBezTo>
                    <a:pt x="29" y="57"/>
                    <a:pt x="29" y="52"/>
                    <a:pt x="27" y="52"/>
                  </a:cubicBezTo>
                  <a:cubicBezTo>
                    <a:pt x="26" y="52"/>
                    <a:pt x="23" y="54"/>
                    <a:pt x="22" y="52"/>
                  </a:cubicBezTo>
                  <a:cubicBezTo>
                    <a:pt x="22" y="50"/>
                    <a:pt x="24" y="49"/>
                    <a:pt x="22" y="46"/>
                  </a:cubicBezTo>
                  <a:cubicBezTo>
                    <a:pt x="21" y="44"/>
                    <a:pt x="18" y="36"/>
                    <a:pt x="18" y="36"/>
                  </a:cubicBezTo>
                  <a:cubicBezTo>
                    <a:pt x="17" y="35"/>
                    <a:pt x="11" y="37"/>
                    <a:pt x="11" y="39"/>
                  </a:cubicBezTo>
                  <a:cubicBezTo>
                    <a:pt x="12" y="40"/>
                    <a:pt x="15" y="48"/>
                    <a:pt x="14" y="51"/>
                  </a:cubicBezTo>
                  <a:cubicBezTo>
                    <a:pt x="13" y="55"/>
                    <a:pt x="15" y="58"/>
                    <a:pt x="13" y="59"/>
                  </a:cubicBezTo>
                  <a:cubicBezTo>
                    <a:pt x="12" y="59"/>
                    <a:pt x="6" y="60"/>
                    <a:pt x="6" y="58"/>
                  </a:cubicBezTo>
                  <a:cubicBezTo>
                    <a:pt x="5" y="55"/>
                    <a:pt x="7" y="51"/>
                    <a:pt x="7" y="51"/>
                  </a:cubicBezTo>
                  <a:cubicBezTo>
                    <a:pt x="7" y="48"/>
                    <a:pt x="7" y="44"/>
                    <a:pt x="7" y="4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67" name="Freeform 421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8818276" y="4476900"/>
              <a:ext cx="273729" cy="242051"/>
            </a:xfrm>
            <a:custGeom>
              <a:avLst/>
              <a:gdLst>
                <a:gd name="T0" fmla="*/ 2147483647 w 78"/>
                <a:gd name="T1" fmla="*/ 2147483647 h 66"/>
                <a:gd name="T2" fmla="*/ 2147483647 w 78"/>
                <a:gd name="T3" fmla="*/ 2147483647 h 66"/>
                <a:gd name="T4" fmla="*/ 2147483647 w 78"/>
                <a:gd name="T5" fmla="*/ 2147483647 h 66"/>
                <a:gd name="T6" fmla="*/ 2147483647 w 78"/>
                <a:gd name="T7" fmla="*/ 2147483647 h 66"/>
                <a:gd name="T8" fmla="*/ 2147483647 w 78"/>
                <a:gd name="T9" fmla="*/ 2147483647 h 66"/>
                <a:gd name="T10" fmla="*/ 2147483647 w 78"/>
                <a:gd name="T11" fmla="*/ 2147483647 h 66"/>
                <a:gd name="T12" fmla="*/ 2147483647 w 78"/>
                <a:gd name="T13" fmla="*/ 2147483647 h 66"/>
                <a:gd name="T14" fmla="*/ 2147483647 w 78"/>
                <a:gd name="T15" fmla="*/ 2147483647 h 66"/>
                <a:gd name="T16" fmla="*/ 2147483647 w 78"/>
                <a:gd name="T17" fmla="*/ 0 h 66"/>
                <a:gd name="T18" fmla="*/ 2147483647 w 78"/>
                <a:gd name="T19" fmla="*/ 2147483647 h 66"/>
                <a:gd name="T20" fmla="*/ 2147483647 w 78"/>
                <a:gd name="T21" fmla="*/ 2147483647 h 66"/>
                <a:gd name="T22" fmla="*/ 2147483647 w 78"/>
                <a:gd name="T23" fmla="*/ 2147483647 h 66"/>
                <a:gd name="T24" fmla="*/ 2147483647 w 78"/>
                <a:gd name="T25" fmla="*/ 2147483647 h 66"/>
                <a:gd name="T26" fmla="*/ 2147483647 w 78"/>
                <a:gd name="T27" fmla="*/ 2147483647 h 66"/>
                <a:gd name="T28" fmla="*/ 2147483647 w 78"/>
                <a:gd name="T29" fmla="*/ 2147483647 h 66"/>
                <a:gd name="T30" fmla="*/ 2147483647 w 78"/>
                <a:gd name="T31" fmla="*/ 2147483647 h 66"/>
                <a:gd name="T32" fmla="*/ 2147483647 w 78"/>
                <a:gd name="T33" fmla="*/ 2147483647 h 66"/>
                <a:gd name="T34" fmla="*/ 2147483647 w 78"/>
                <a:gd name="T35" fmla="*/ 2147483647 h 66"/>
                <a:gd name="T36" fmla="*/ 2147483647 w 78"/>
                <a:gd name="T37" fmla="*/ 2147483647 h 66"/>
                <a:gd name="T38" fmla="*/ 2147483647 w 78"/>
                <a:gd name="T39" fmla="*/ 2147483647 h 66"/>
                <a:gd name="T40" fmla="*/ 2147483647 w 78"/>
                <a:gd name="T41" fmla="*/ 2147483647 h 66"/>
                <a:gd name="T42" fmla="*/ 2147483647 w 78"/>
                <a:gd name="T43" fmla="*/ 2147483647 h 66"/>
                <a:gd name="T44" fmla="*/ 2147483647 w 78"/>
                <a:gd name="T45" fmla="*/ 2147483647 h 66"/>
                <a:gd name="T46" fmla="*/ 2147483647 w 78"/>
                <a:gd name="T47" fmla="*/ 2147483647 h 66"/>
                <a:gd name="T48" fmla="*/ 2147483647 w 78"/>
                <a:gd name="T49" fmla="*/ 2147483647 h 66"/>
                <a:gd name="T50" fmla="*/ 2147483647 w 78"/>
                <a:gd name="T51" fmla="*/ 2147483647 h 66"/>
                <a:gd name="T52" fmla="*/ 2147483647 w 78"/>
                <a:gd name="T53" fmla="*/ 2147483647 h 66"/>
                <a:gd name="T54" fmla="*/ 0 w 78"/>
                <a:gd name="T55" fmla="*/ 2147483647 h 66"/>
                <a:gd name="T56" fmla="*/ 2147483647 w 78"/>
                <a:gd name="T57" fmla="*/ 2147483647 h 6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78"/>
                <a:gd name="T88" fmla="*/ 0 h 66"/>
                <a:gd name="T89" fmla="*/ 78 w 78"/>
                <a:gd name="T90" fmla="*/ 66 h 6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78" h="66">
                  <a:moveTo>
                    <a:pt x="5" y="18"/>
                  </a:moveTo>
                  <a:cubicBezTo>
                    <a:pt x="8" y="25"/>
                    <a:pt x="8" y="25"/>
                    <a:pt x="8" y="25"/>
                  </a:cubicBezTo>
                  <a:cubicBezTo>
                    <a:pt x="9" y="27"/>
                    <a:pt x="11" y="29"/>
                    <a:pt x="14" y="29"/>
                  </a:cubicBezTo>
                  <a:cubicBezTo>
                    <a:pt x="16" y="29"/>
                    <a:pt x="26" y="28"/>
                    <a:pt x="26" y="27"/>
                  </a:cubicBezTo>
                  <a:cubicBezTo>
                    <a:pt x="27" y="25"/>
                    <a:pt x="27" y="21"/>
                    <a:pt x="30" y="22"/>
                  </a:cubicBezTo>
                  <a:cubicBezTo>
                    <a:pt x="33" y="22"/>
                    <a:pt x="38" y="24"/>
                    <a:pt x="41" y="23"/>
                  </a:cubicBezTo>
                  <a:cubicBezTo>
                    <a:pt x="43" y="23"/>
                    <a:pt x="49" y="15"/>
                    <a:pt x="49" y="13"/>
                  </a:cubicBezTo>
                  <a:cubicBezTo>
                    <a:pt x="49" y="10"/>
                    <a:pt x="51" y="2"/>
                    <a:pt x="53" y="1"/>
                  </a:cubicBezTo>
                  <a:cubicBezTo>
                    <a:pt x="55" y="0"/>
                    <a:pt x="61" y="0"/>
                    <a:pt x="64" y="0"/>
                  </a:cubicBezTo>
                  <a:cubicBezTo>
                    <a:pt x="69" y="3"/>
                    <a:pt x="69" y="3"/>
                    <a:pt x="69" y="3"/>
                  </a:cubicBezTo>
                  <a:cubicBezTo>
                    <a:pt x="68" y="4"/>
                    <a:pt x="67" y="6"/>
                    <a:pt x="66" y="7"/>
                  </a:cubicBezTo>
                  <a:cubicBezTo>
                    <a:pt x="63" y="9"/>
                    <a:pt x="68" y="12"/>
                    <a:pt x="70" y="13"/>
                  </a:cubicBezTo>
                  <a:cubicBezTo>
                    <a:pt x="71" y="15"/>
                    <a:pt x="70" y="17"/>
                    <a:pt x="70" y="18"/>
                  </a:cubicBezTo>
                  <a:cubicBezTo>
                    <a:pt x="69" y="20"/>
                    <a:pt x="78" y="24"/>
                    <a:pt x="78" y="26"/>
                  </a:cubicBezTo>
                  <a:cubicBezTo>
                    <a:pt x="78" y="28"/>
                    <a:pt x="70" y="27"/>
                    <a:pt x="68" y="28"/>
                  </a:cubicBezTo>
                  <a:cubicBezTo>
                    <a:pt x="66" y="28"/>
                    <a:pt x="66" y="37"/>
                    <a:pt x="66" y="39"/>
                  </a:cubicBezTo>
                  <a:cubicBezTo>
                    <a:pt x="66" y="42"/>
                    <a:pt x="60" y="44"/>
                    <a:pt x="59" y="46"/>
                  </a:cubicBezTo>
                  <a:cubicBezTo>
                    <a:pt x="58" y="47"/>
                    <a:pt x="60" y="50"/>
                    <a:pt x="60" y="52"/>
                  </a:cubicBezTo>
                  <a:cubicBezTo>
                    <a:pt x="60" y="54"/>
                    <a:pt x="56" y="61"/>
                    <a:pt x="56" y="62"/>
                  </a:cubicBezTo>
                  <a:cubicBezTo>
                    <a:pt x="55" y="63"/>
                    <a:pt x="45" y="66"/>
                    <a:pt x="44" y="66"/>
                  </a:cubicBezTo>
                  <a:cubicBezTo>
                    <a:pt x="43" y="66"/>
                    <a:pt x="43" y="62"/>
                    <a:pt x="42" y="60"/>
                  </a:cubicBezTo>
                  <a:cubicBezTo>
                    <a:pt x="42" y="59"/>
                    <a:pt x="34" y="59"/>
                    <a:pt x="33" y="58"/>
                  </a:cubicBezTo>
                  <a:cubicBezTo>
                    <a:pt x="32" y="57"/>
                    <a:pt x="25" y="62"/>
                    <a:pt x="23" y="62"/>
                  </a:cubicBezTo>
                  <a:cubicBezTo>
                    <a:pt x="21" y="61"/>
                    <a:pt x="22" y="57"/>
                    <a:pt x="21" y="56"/>
                  </a:cubicBezTo>
                  <a:cubicBezTo>
                    <a:pt x="20" y="55"/>
                    <a:pt x="11" y="56"/>
                    <a:pt x="10" y="56"/>
                  </a:cubicBezTo>
                  <a:cubicBezTo>
                    <a:pt x="8" y="56"/>
                    <a:pt x="9" y="46"/>
                    <a:pt x="9" y="44"/>
                  </a:cubicBezTo>
                  <a:cubicBezTo>
                    <a:pt x="9" y="42"/>
                    <a:pt x="4" y="38"/>
                    <a:pt x="2" y="36"/>
                  </a:cubicBezTo>
                  <a:cubicBezTo>
                    <a:pt x="0" y="34"/>
                    <a:pt x="0" y="30"/>
                    <a:pt x="0" y="27"/>
                  </a:cubicBezTo>
                  <a:cubicBezTo>
                    <a:pt x="0" y="23"/>
                    <a:pt x="2" y="21"/>
                    <a:pt x="5" y="1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68" name="Freeform 422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8723603" y="4766882"/>
              <a:ext cx="366343" cy="93465"/>
            </a:xfrm>
            <a:custGeom>
              <a:avLst/>
              <a:gdLst>
                <a:gd name="T0" fmla="*/ 2147483647 w 104"/>
                <a:gd name="T1" fmla="*/ 2147483647 h 26"/>
                <a:gd name="T2" fmla="*/ 2147483647 w 104"/>
                <a:gd name="T3" fmla="*/ 2147483647 h 26"/>
                <a:gd name="T4" fmla="*/ 2147483647 w 104"/>
                <a:gd name="T5" fmla="*/ 2147483647 h 26"/>
                <a:gd name="T6" fmla="*/ 2147483647 w 104"/>
                <a:gd name="T7" fmla="*/ 2147483647 h 26"/>
                <a:gd name="T8" fmla="*/ 2147483647 w 104"/>
                <a:gd name="T9" fmla="*/ 2147483647 h 26"/>
                <a:gd name="T10" fmla="*/ 2147483647 w 104"/>
                <a:gd name="T11" fmla="*/ 2147483647 h 26"/>
                <a:gd name="T12" fmla="*/ 2147483647 w 104"/>
                <a:gd name="T13" fmla="*/ 2147483647 h 26"/>
                <a:gd name="T14" fmla="*/ 2147483647 w 104"/>
                <a:gd name="T15" fmla="*/ 2147483647 h 26"/>
                <a:gd name="T16" fmla="*/ 2147483647 w 104"/>
                <a:gd name="T17" fmla="*/ 2147483647 h 26"/>
                <a:gd name="T18" fmla="*/ 2147483647 w 104"/>
                <a:gd name="T19" fmla="*/ 2147483647 h 26"/>
                <a:gd name="T20" fmla="*/ 2147483647 w 104"/>
                <a:gd name="T21" fmla="*/ 2147483647 h 26"/>
                <a:gd name="T22" fmla="*/ 2147483647 w 104"/>
                <a:gd name="T23" fmla="*/ 2147483647 h 26"/>
                <a:gd name="T24" fmla="*/ 2147483647 w 104"/>
                <a:gd name="T25" fmla="*/ 2147483647 h 26"/>
                <a:gd name="T26" fmla="*/ 2147483647 w 104"/>
                <a:gd name="T27" fmla="*/ 2147483647 h 26"/>
                <a:gd name="T28" fmla="*/ 2147483647 w 104"/>
                <a:gd name="T29" fmla="*/ 2147483647 h 26"/>
                <a:gd name="T30" fmla="*/ 2147483647 w 104"/>
                <a:gd name="T31" fmla="*/ 2147483647 h 26"/>
                <a:gd name="T32" fmla="*/ 2147483647 w 104"/>
                <a:gd name="T33" fmla="*/ 2147483647 h 26"/>
                <a:gd name="T34" fmla="*/ 2147483647 w 104"/>
                <a:gd name="T35" fmla="*/ 2147483647 h 26"/>
                <a:gd name="T36" fmla="*/ 2147483647 w 104"/>
                <a:gd name="T37" fmla="*/ 2147483647 h 26"/>
                <a:gd name="T38" fmla="*/ 2147483647 w 104"/>
                <a:gd name="T39" fmla="*/ 2147483647 h 26"/>
                <a:gd name="T40" fmla="*/ 2147483647 w 104"/>
                <a:gd name="T41" fmla="*/ 2147483647 h 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04"/>
                <a:gd name="T64" fmla="*/ 0 h 26"/>
                <a:gd name="T65" fmla="*/ 104 w 104"/>
                <a:gd name="T66" fmla="*/ 26 h 2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04" h="26">
                  <a:moveTo>
                    <a:pt x="2" y="8"/>
                  </a:moveTo>
                  <a:cubicBezTo>
                    <a:pt x="5" y="7"/>
                    <a:pt x="11" y="4"/>
                    <a:pt x="11" y="2"/>
                  </a:cubicBezTo>
                  <a:cubicBezTo>
                    <a:pt x="12" y="0"/>
                    <a:pt x="17" y="2"/>
                    <a:pt x="17" y="2"/>
                  </a:cubicBezTo>
                  <a:cubicBezTo>
                    <a:pt x="21" y="3"/>
                    <a:pt x="22" y="7"/>
                    <a:pt x="25" y="7"/>
                  </a:cubicBezTo>
                  <a:cubicBezTo>
                    <a:pt x="28" y="7"/>
                    <a:pt x="36" y="8"/>
                    <a:pt x="39" y="8"/>
                  </a:cubicBezTo>
                  <a:cubicBezTo>
                    <a:pt x="41" y="8"/>
                    <a:pt x="39" y="5"/>
                    <a:pt x="43" y="5"/>
                  </a:cubicBezTo>
                  <a:cubicBezTo>
                    <a:pt x="47" y="5"/>
                    <a:pt x="52" y="6"/>
                    <a:pt x="54" y="8"/>
                  </a:cubicBezTo>
                  <a:cubicBezTo>
                    <a:pt x="57" y="9"/>
                    <a:pt x="54" y="13"/>
                    <a:pt x="57" y="13"/>
                  </a:cubicBezTo>
                  <a:cubicBezTo>
                    <a:pt x="60" y="14"/>
                    <a:pt x="68" y="11"/>
                    <a:pt x="69" y="14"/>
                  </a:cubicBezTo>
                  <a:cubicBezTo>
                    <a:pt x="71" y="16"/>
                    <a:pt x="75" y="18"/>
                    <a:pt x="77" y="18"/>
                  </a:cubicBezTo>
                  <a:cubicBezTo>
                    <a:pt x="80" y="18"/>
                    <a:pt x="85" y="20"/>
                    <a:pt x="89" y="20"/>
                  </a:cubicBezTo>
                  <a:cubicBezTo>
                    <a:pt x="92" y="19"/>
                    <a:pt x="96" y="19"/>
                    <a:pt x="99" y="19"/>
                  </a:cubicBezTo>
                  <a:cubicBezTo>
                    <a:pt x="101" y="19"/>
                    <a:pt x="104" y="18"/>
                    <a:pt x="104" y="21"/>
                  </a:cubicBezTo>
                  <a:cubicBezTo>
                    <a:pt x="104" y="23"/>
                    <a:pt x="102" y="25"/>
                    <a:pt x="99" y="26"/>
                  </a:cubicBezTo>
                  <a:cubicBezTo>
                    <a:pt x="95" y="26"/>
                    <a:pt x="87" y="26"/>
                    <a:pt x="84" y="26"/>
                  </a:cubicBezTo>
                  <a:cubicBezTo>
                    <a:pt x="81" y="25"/>
                    <a:pt x="75" y="22"/>
                    <a:pt x="72" y="23"/>
                  </a:cubicBezTo>
                  <a:cubicBezTo>
                    <a:pt x="68" y="23"/>
                    <a:pt x="60" y="22"/>
                    <a:pt x="55" y="22"/>
                  </a:cubicBezTo>
                  <a:cubicBezTo>
                    <a:pt x="50" y="22"/>
                    <a:pt x="43" y="21"/>
                    <a:pt x="39" y="19"/>
                  </a:cubicBezTo>
                  <a:cubicBezTo>
                    <a:pt x="35" y="17"/>
                    <a:pt x="32" y="16"/>
                    <a:pt x="27" y="16"/>
                  </a:cubicBezTo>
                  <a:cubicBezTo>
                    <a:pt x="22" y="16"/>
                    <a:pt x="14" y="14"/>
                    <a:pt x="10" y="13"/>
                  </a:cubicBezTo>
                  <a:cubicBezTo>
                    <a:pt x="6" y="11"/>
                    <a:pt x="0" y="10"/>
                    <a:pt x="2" y="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69" name="Freeform 423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8445758" y="4438555"/>
              <a:ext cx="298426" cy="330723"/>
            </a:xfrm>
            <a:custGeom>
              <a:avLst/>
              <a:gdLst>
                <a:gd name="T0" fmla="*/ 2147483647 w 85"/>
                <a:gd name="T1" fmla="*/ 2147483647 h 89"/>
                <a:gd name="T2" fmla="*/ 2147483647 w 85"/>
                <a:gd name="T3" fmla="*/ 2147483647 h 89"/>
                <a:gd name="T4" fmla="*/ 2147483647 w 85"/>
                <a:gd name="T5" fmla="*/ 2147483647 h 89"/>
                <a:gd name="T6" fmla="*/ 2147483647 w 85"/>
                <a:gd name="T7" fmla="*/ 2147483647 h 89"/>
                <a:gd name="T8" fmla="*/ 2147483647 w 85"/>
                <a:gd name="T9" fmla="*/ 2147483647 h 89"/>
                <a:gd name="T10" fmla="*/ 2147483647 w 85"/>
                <a:gd name="T11" fmla="*/ 2147483647 h 89"/>
                <a:gd name="T12" fmla="*/ 2147483647 w 85"/>
                <a:gd name="T13" fmla="*/ 2147483647 h 89"/>
                <a:gd name="T14" fmla="*/ 2147483647 w 85"/>
                <a:gd name="T15" fmla="*/ 2147483647 h 89"/>
                <a:gd name="T16" fmla="*/ 2147483647 w 85"/>
                <a:gd name="T17" fmla="*/ 2147483647 h 89"/>
                <a:gd name="T18" fmla="*/ 2147483647 w 85"/>
                <a:gd name="T19" fmla="*/ 2147483647 h 89"/>
                <a:gd name="T20" fmla="*/ 2147483647 w 85"/>
                <a:gd name="T21" fmla="*/ 2147483647 h 89"/>
                <a:gd name="T22" fmla="*/ 2147483647 w 85"/>
                <a:gd name="T23" fmla="*/ 2147483647 h 89"/>
                <a:gd name="T24" fmla="*/ 2147483647 w 85"/>
                <a:gd name="T25" fmla="*/ 2147483647 h 89"/>
                <a:gd name="T26" fmla="*/ 2147483647 w 85"/>
                <a:gd name="T27" fmla="*/ 2147483647 h 89"/>
                <a:gd name="T28" fmla="*/ 2147483647 w 85"/>
                <a:gd name="T29" fmla="*/ 2147483647 h 89"/>
                <a:gd name="T30" fmla="*/ 2147483647 w 85"/>
                <a:gd name="T31" fmla="*/ 2147483647 h 89"/>
                <a:gd name="T32" fmla="*/ 2147483647 w 85"/>
                <a:gd name="T33" fmla="*/ 2147483647 h 89"/>
                <a:gd name="T34" fmla="*/ 2147483647 w 85"/>
                <a:gd name="T35" fmla="*/ 2147483647 h 89"/>
                <a:gd name="T36" fmla="*/ 2147483647 w 85"/>
                <a:gd name="T37" fmla="*/ 2147483647 h 89"/>
                <a:gd name="T38" fmla="*/ 2147483647 w 85"/>
                <a:gd name="T39" fmla="*/ 2147483647 h 89"/>
                <a:gd name="T40" fmla="*/ 2147483647 w 85"/>
                <a:gd name="T41" fmla="*/ 2147483647 h 89"/>
                <a:gd name="T42" fmla="*/ 2147483647 w 85"/>
                <a:gd name="T43" fmla="*/ 2147483647 h 8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85"/>
                <a:gd name="T67" fmla="*/ 0 h 89"/>
                <a:gd name="T68" fmla="*/ 85 w 85"/>
                <a:gd name="T69" fmla="*/ 89 h 8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85" h="89">
                  <a:moveTo>
                    <a:pt x="9" y="13"/>
                  </a:moveTo>
                  <a:cubicBezTo>
                    <a:pt x="6" y="10"/>
                    <a:pt x="0" y="4"/>
                    <a:pt x="2" y="2"/>
                  </a:cubicBezTo>
                  <a:cubicBezTo>
                    <a:pt x="4" y="0"/>
                    <a:pt x="8" y="4"/>
                    <a:pt x="11" y="4"/>
                  </a:cubicBezTo>
                  <a:cubicBezTo>
                    <a:pt x="13" y="4"/>
                    <a:pt x="20" y="4"/>
                    <a:pt x="21" y="6"/>
                  </a:cubicBezTo>
                  <a:cubicBezTo>
                    <a:pt x="22" y="7"/>
                    <a:pt x="27" y="14"/>
                    <a:pt x="29" y="16"/>
                  </a:cubicBezTo>
                  <a:cubicBezTo>
                    <a:pt x="30" y="17"/>
                    <a:pt x="39" y="25"/>
                    <a:pt x="43" y="27"/>
                  </a:cubicBezTo>
                  <a:cubicBezTo>
                    <a:pt x="47" y="29"/>
                    <a:pt x="55" y="34"/>
                    <a:pt x="57" y="36"/>
                  </a:cubicBezTo>
                  <a:cubicBezTo>
                    <a:pt x="59" y="38"/>
                    <a:pt x="66" y="40"/>
                    <a:pt x="66" y="41"/>
                  </a:cubicBezTo>
                  <a:cubicBezTo>
                    <a:pt x="66" y="43"/>
                    <a:pt x="63" y="48"/>
                    <a:pt x="65" y="49"/>
                  </a:cubicBezTo>
                  <a:cubicBezTo>
                    <a:pt x="67" y="51"/>
                    <a:pt x="71" y="49"/>
                    <a:pt x="73" y="52"/>
                  </a:cubicBezTo>
                  <a:cubicBezTo>
                    <a:pt x="74" y="55"/>
                    <a:pt x="70" y="59"/>
                    <a:pt x="74" y="61"/>
                  </a:cubicBezTo>
                  <a:cubicBezTo>
                    <a:pt x="77" y="62"/>
                    <a:pt x="79" y="59"/>
                    <a:pt x="81" y="60"/>
                  </a:cubicBezTo>
                  <a:cubicBezTo>
                    <a:pt x="84" y="62"/>
                    <a:pt x="84" y="67"/>
                    <a:pt x="84" y="70"/>
                  </a:cubicBezTo>
                  <a:cubicBezTo>
                    <a:pt x="84" y="74"/>
                    <a:pt x="85" y="88"/>
                    <a:pt x="83" y="89"/>
                  </a:cubicBezTo>
                  <a:cubicBezTo>
                    <a:pt x="81" y="89"/>
                    <a:pt x="74" y="88"/>
                    <a:pt x="71" y="87"/>
                  </a:cubicBezTo>
                  <a:cubicBezTo>
                    <a:pt x="69" y="85"/>
                    <a:pt x="56" y="77"/>
                    <a:pt x="53" y="72"/>
                  </a:cubicBezTo>
                  <a:cubicBezTo>
                    <a:pt x="51" y="67"/>
                    <a:pt x="44" y="50"/>
                    <a:pt x="41" y="48"/>
                  </a:cubicBezTo>
                  <a:cubicBezTo>
                    <a:pt x="38" y="46"/>
                    <a:pt x="32" y="45"/>
                    <a:pt x="31" y="42"/>
                  </a:cubicBezTo>
                  <a:cubicBezTo>
                    <a:pt x="31" y="40"/>
                    <a:pt x="32" y="35"/>
                    <a:pt x="28" y="31"/>
                  </a:cubicBezTo>
                  <a:cubicBezTo>
                    <a:pt x="25" y="26"/>
                    <a:pt x="25" y="29"/>
                    <a:pt x="22" y="25"/>
                  </a:cubicBezTo>
                  <a:cubicBezTo>
                    <a:pt x="18" y="22"/>
                    <a:pt x="19" y="18"/>
                    <a:pt x="16" y="17"/>
                  </a:cubicBezTo>
                  <a:cubicBezTo>
                    <a:pt x="14" y="16"/>
                    <a:pt x="9" y="13"/>
                    <a:pt x="9" y="1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70" name="Freeform 424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8369608" y="3777109"/>
              <a:ext cx="236683" cy="522447"/>
            </a:xfrm>
            <a:custGeom>
              <a:avLst/>
              <a:gdLst>
                <a:gd name="T0" fmla="*/ 0 w 68"/>
                <a:gd name="T1" fmla="*/ 2147483647 h 142"/>
                <a:gd name="T2" fmla="*/ 2147483647 w 68"/>
                <a:gd name="T3" fmla="*/ 2147483647 h 142"/>
                <a:gd name="T4" fmla="*/ 2147483647 w 68"/>
                <a:gd name="T5" fmla="*/ 2147483647 h 142"/>
                <a:gd name="T6" fmla="*/ 2147483647 w 68"/>
                <a:gd name="T7" fmla="*/ 2147483647 h 142"/>
                <a:gd name="T8" fmla="*/ 2147483647 w 68"/>
                <a:gd name="T9" fmla="*/ 2147483647 h 142"/>
                <a:gd name="T10" fmla="*/ 2147483647 w 68"/>
                <a:gd name="T11" fmla="*/ 2147483647 h 142"/>
                <a:gd name="T12" fmla="*/ 2147483647 w 68"/>
                <a:gd name="T13" fmla="*/ 2147483647 h 142"/>
                <a:gd name="T14" fmla="*/ 2147483647 w 68"/>
                <a:gd name="T15" fmla="*/ 2147483647 h 142"/>
                <a:gd name="T16" fmla="*/ 2147483647 w 68"/>
                <a:gd name="T17" fmla="*/ 2147483647 h 142"/>
                <a:gd name="T18" fmla="*/ 2147483647 w 68"/>
                <a:gd name="T19" fmla="*/ 2147483647 h 142"/>
                <a:gd name="T20" fmla="*/ 2147483647 w 68"/>
                <a:gd name="T21" fmla="*/ 2147483647 h 142"/>
                <a:gd name="T22" fmla="*/ 2147483647 w 68"/>
                <a:gd name="T23" fmla="*/ 2147483647 h 142"/>
                <a:gd name="T24" fmla="*/ 2147483647 w 68"/>
                <a:gd name="T25" fmla="*/ 0 h 142"/>
                <a:gd name="T26" fmla="*/ 2147483647 w 68"/>
                <a:gd name="T27" fmla="*/ 2147483647 h 142"/>
                <a:gd name="T28" fmla="*/ 2147483647 w 68"/>
                <a:gd name="T29" fmla="*/ 2147483647 h 142"/>
                <a:gd name="T30" fmla="*/ 2147483647 w 68"/>
                <a:gd name="T31" fmla="*/ 2147483647 h 142"/>
                <a:gd name="T32" fmla="*/ 2147483647 w 68"/>
                <a:gd name="T33" fmla="*/ 2147483647 h 142"/>
                <a:gd name="T34" fmla="*/ 2147483647 w 68"/>
                <a:gd name="T35" fmla="*/ 2147483647 h 142"/>
                <a:gd name="T36" fmla="*/ 2147483647 w 68"/>
                <a:gd name="T37" fmla="*/ 2147483647 h 142"/>
                <a:gd name="T38" fmla="*/ 2147483647 w 68"/>
                <a:gd name="T39" fmla="*/ 2147483647 h 142"/>
                <a:gd name="T40" fmla="*/ 2147483647 w 68"/>
                <a:gd name="T41" fmla="*/ 2147483647 h 142"/>
                <a:gd name="T42" fmla="*/ 2147483647 w 68"/>
                <a:gd name="T43" fmla="*/ 2147483647 h 142"/>
                <a:gd name="T44" fmla="*/ 2147483647 w 68"/>
                <a:gd name="T45" fmla="*/ 2147483647 h 142"/>
                <a:gd name="T46" fmla="*/ 2147483647 w 68"/>
                <a:gd name="T47" fmla="*/ 2147483647 h 142"/>
                <a:gd name="T48" fmla="*/ 2147483647 w 68"/>
                <a:gd name="T49" fmla="*/ 2147483647 h 142"/>
                <a:gd name="T50" fmla="*/ 2147483647 w 68"/>
                <a:gd name="T51" fmla="*/ 2147483647 h 142"/>
                <a:gd name="T52" fmla="*/ 2147483647 w 68"/>
                <a:gd name="T53" fmla="*/ 2147483647 h 142"/>
                <a:gd name="T54" fmla="*/ 2147483647 w 68"/>
                <a:gd name="T55" fmla="*/ 2147483647 h 142"/>
                <a:gd name="T56" fmla="*/ 2147483647 w 68"/>
                <a:gd name="T57" fmla="*/ 2147483647 h 142"/>
                <a:gd name="T58" fmla="*/ 2147483647 w 68"/>
                <a:gd name="T59" fmla="*/ 2147483647 h 142"/>
                <a:gd name="T60" fmla="*/ 2147483647 w 68"/>
                <a:gd name="T61" fmla="*/ 2147483647 h 142"/>
                <a:gd name="T62" fmla="*/ 2147483647 w 68"/>
                <a:gd name="T63" fmla="*/ 2147483647 h 142"/>
                <a:gd name="T64" fmla="*/ 2147483647 w 68"/>
                <a:gd name="T65" fmla="*/ 2147483647 h 142"/>
                <a:gd name="T66" fmla="*/ 2147483647 w 68"/>
                <a:gd name="T67" fmla="*/ 2147483647 h 142"/>
                <a:gd name="T68" fmla="*/ 2147483647 w 68"/>
                <a:gd name="T69" fmla="*/ 2147483647 h 142"/>
                <a:gd name="T70" fmla="*/ 2147483647 w 68"/>
                <a:gd name="T71" fmla="*/ 2147483647 h 142"/>
                <a:gd name="T72" fmla="*/ 2147483647 w 68"/>
                <a:gd name="T73" fmla="*/ 2147483647 h 142"/>
                <a:gd name="T74" fmla="*/ 2147483647 w 68"/>
                <a:gd name="T75" fmla="*/ 2147483647 h 142"/>
                <a:gd name="T76" fmla="*/ 2147483647 w 68"/>
                <a:gd name="T77" fmla="*/ 2147483647 h 142"/>
                <a:gd name="T78" fmla="*/ 2147483647 w 68"/>
                <a:gd name="T79" fmla="*/ 2147483647 h 142"/>
                <a:gd name="T80" fmla="*/ 2147483647 w 68"/>
                <a:gd name="T81" fmla="*/ 2147483647 h 142"/>
                <a:gd name="T82" fmla="*/ 2147483647 w 68"/>
                <a:gd name="T83" fmla="*/ 2147483647 h 142"/>
                <a:gd name="T84" fmla="*/ 2147483647 w 68"/>
                <a:gd name="T85" fmla="*/ 2147483647 h 142"/>
                <a:gd name="T86" fmla="*/ 2147483647 w 68"/>
                <a:gd name="T87" fmla="*/ 2147483647 h 142"/>
                <a:gd name="T88" fmla="*/ 2147483647 w 68"/>
                <a:gd name="T89" fmla="*/ 2147483647 h 142"/>
                <a:gd name="T90" fmla="*/ 2147483647 w 68"/>
                <a:gd name="T91" fmla="*/ 2147483647 h 142"/>
                <a:gd name="T92" fmla="*/ 2147483647 w 68"/>
                <a:gd name="T93" fmla="*/ 2147483647 h 142"/>
                <a:gd name="T94" fmla="*/ 2147483647 w 68"/>
                <a:gd name="T95" fmla="*/ 2147483647 h 142"/>
                <a:gd name="T96" fmla="*/ 2147483647 w 68"/>
                <a:gd name="T97" fmla="*/ 2147483647 h 142"/>
                <a:gd name="T98" fmla="*/ 0 w 68"/>
                <a:gd name="T99" fmla="*/ 2147483647 h 14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8"/>
                <a:gd name="T151" fmla="*/ 0 h 142"/>
                <a:gd name="T152" fmla="*/ 68 w 68"/>
                <a:gd name="T153" fmla="*/ 142 h 14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8" h="142">
                  <a:moveTo>
                    <a:pt x="0" y="59"/>
                  </a:moveTo>
                  <a:cubicBezTo>
                    <a:pt x="5" y="58"/>
                    <a:pt x="5" y="58"/>
                    <a:pt x="5" y="58"/>
                  </a:cubicBezTo>
                  <a:cubicBezTo>
                    <a:pt x="5" y="58"/>
                    <a:pt x="4" y="55"/>
                    <a:pt x="4" y="53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10" y="38"/>
                    <a:pt x="11" y="37"/>
                  </a:cubicBezTo>
                  <a:cubicBezTo>
                    <a:pt x="11" y="36"/>
                    <a:pt x="15" y="37"/>
                    <a:pt x="16" y="37"/>
                  </a:cubicBezTo>
                  <a:cubicBezTo>
                    <a:pt x="17" y="37"/>
                    <a:pt x="23" y="23"/>
                    <a:pt x="23" y="22"/>
                  </a:cubicBezTo>
                  <a:cubicBezTo>
                    <a:pt x="23" y="20"/>
                    <a:pt x="22" y="16"/>
                    <a:pt x="24" y="16"/>
                  </a:cubicBezTo>
                  <a:cubicBezTo>
                    <a:pt x="25" y="15"/>
                    <a:pt x="31" y="10"/>
                    <a:pt x="32" y="10"/>
                  </a:cubicBezTo>
                  <a:cubicBezTo>
                    <a:pt x="33" y="10"/>
                    <a:pt x="36" y="12"/>
                    <a:pt x="37" y="11"/>
                  </a:cubicBezTo>
                  <a:cubicBezTo>
                    <a:pt x="38" y="10"/>
                    <a:pt x="40" y="6"/>
                    <a:pt x="40" y="6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40" y="2"/>
                    <a:pt x="41" y="0"/>
                    <a:pt x="43" y="0"/>
                  </a:cubicBezTo>
                  <a:cubicBezTo>
                    <a:pt x="46" y="1"/>
                    <a:pt x="46" y="5"/>
                    <a:pt x="47" y="6"/>
                  </a:cubicBezTo>
                  <a:cubicBezTo>
                    <a:pt x="49" y="7"/>
                    <a:pt x="50" y="6"/>
                    <a:pt x="51" y="7"/>
                  </a:cubicBezTo>
                  <a:cubicBezTo>
                    <a:pt x="52" y="9"/>
                    <a:pt x="51" y="19"/>
                    <a:pt x="50" y="21"/>
                  </a:cubicBezTo>
                  <a:cubicBezTo>
                    <a:pt x="50" y="23"/>
                    <a:pt x="43" y="28"/>
                    <a:pt x="42" y="31"/>
                  </a:cubicBezTo>
                  <a:cubicBezTo>
                    <a:pt x="41" y="33"/>
                    <a:pt x="41" y="36"/>
                    <a:pt x="42" y="37"/>
                  </a:cubicBezTo>
                  <a:cubicBezTo>
                    <a:pt x="44" y="38"/>
                    <a:pt x="47" y="36"/>
                    <a:pt x="48" y="36"/>
                  </a:cubicBezTo>
                  <a:cubicBezTo>
                    <a:pt x="50" y="36"/>
                    <a:pt x="51" y="37"/>
                    <a:pt x="51" y="39"/>
                  </a:cubicBezTo>
                  <a:cubicBezTo>
                    <a:pt x="51" y="40"/>
                    <a:pt x="55" y="43"/>
                    <a:pt x="56" y="44"/>
                  </a:cubicBezTo>
                  <a:cubicBezTo>
                    <a:pt x="58" y="45"/>
                    <a:pt x="53" y="49"/>
                    <a:pt x="55" y="51"/>
                  </a:cubicBezTo>
                  <a:cubicBezTo>
                    <a:pt x="57" y="53"/>
                    <a:pt x="59" y="54"/>
                    <a:pt x="61" y="54"/>
                  </a:cubicBezTo>
                  <a:cubicBezTo>
                    <a:pt x="62" y="54"/>
                    <a:pt x="65" y="54"/>
                    <a:pt x="65" y="54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7" y="59"/>
                    <a:pt x="65" y="60"/>
                    <a:pt x="64" y="61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0" y="66"/>
                    <a:pt x="58" y="66"/>
                    <a:pt x="57" y="67"/>
                  </a:cubicBezTo>
                  <a:cubicBezTo>
                    <a:pt x="55" y="69"/>
                    <a:pt x="52" y="71"/>
                    <a:pt x="51" y="71"/>
                  </a:cubicBezTo>
                  <a:cubicBezTo>
                    <a:pt x="50" y="71"/>
                    <a:pt x="46" y="71"/>
                    <a:pt x="45" y="72"/>
                  </a:cubicBezTo>
                  <a:cubicBezTo>
                    <a:pt x="44" y="74"/>
                    <a:pt x="43" y="80"/>
                    <a:pt x="42" y="82"/>
                  </a:cubicBezTo>
                  <a:cubicBezTo>
                    <a:pt x="41" y="83"/>
                    <a:pt x="51" y="91"/>
                    <a:pt x="51" y="94"/>
                  </a:cubicBezTo>
                  <a:cubicBezTo>
                    <a:pt x="51" y="97"/>
                    <a:pt x="51" y="104"/>
                    <a:pt x="50" y="106"/>
                  </a:cubicBezTo>
                  <a:cubicBezTo>
                    <a:pt x="50" y="107"/>
                    <a:pt x="50" y="111"/>
                    <a:pt x="51" y="113"/>
                  </a:cubicBezTo>
                  <a:cubicBezTo>
                    <a:pt x="53" y="115"/>
                    <a:pt x="54" y="121"/>
                    <a:pt x="54" y="122"/>
                  </a:cubicBezTo>
                  <a:cubicBezTo>
                    <a:pt x="54" y="123"/>
                    <a:pt x="54" y="130"/>
                    <a:pt x="54" y="131"/>
                  </a:cubicBezTo>
                  <a:cubicBezTo>
                    <a:pt x="47" y="142"/>
                    <a:pt x="47" y="142"/>
                    <a:pt x="47" y="142"/>
                  </a:cubicBezTo>
                  <a:cubicBezTo>
                    <a:pt x="48" y="137"/>
                    <a:pt x="49" y="133"/>
                    <a:pt x="49" y="129"/>
                  </a:cubicBezTo>
                  <a:cubicBezTo>
                    <a:pt x="49" y="125"/>
                    <a:pt x="49" y="123"/>
                    <a:pt x="47" y="120"/>
                  </a:cubicBezTo>
                  <a:cubicBezTo>
                    <a:pt x="44" y="116"/>
                    <a:pt x="44" y="113"/>
                    <a:pt x="44" y="110"/>
                  </a:cubicBezTo>
                  <a:cubicBezTo>
                    <a:pt x="44" y="107"/>
                    <a:pt x="44" y="101"/>
                    <a:pt x="41" y="98"/>
                  </a:cubicBezTo>
                  <a:cubicBezTo>
                    <a:pt x="39" y="94"/>
                    <a:pt x="39" y="89"/>
                    <a:pt x="38" y="89"/>
                  </a:cubicBezTo>
                  <a:cubicBezTo>
                    <a:pt x="36" y="89"/>
                    <a:pt x="36" y="93"/>
                    <a:pt x="34" y="95"/>
                  </a:cubicBezTo>
                  <a:cubicBezTo>
                    <a:pt x="32" y="96"/>
                    <a:pt x="26" y="103"/>
                    <a:pt x="25" y="103"/>
                  </a:cubicBezTo>
                  <a:cubicBezTo>
                    <a:pt x="24" y="103"/>
                    <a:pt x="17" y="100"/>
                    <a:pt x="16" y="99"/>
                  </a:cubicBezTo>
                  <a:cubicBezTo>
                    <a:pt x="15" y="98"/>
                    <a:pt x="20" y="86"/>
                    <a:pt x="18" y="82"/>
                  </a:cubicBezTo>
                  <a:cubicBezTo>
                    <a:pt x="16" y="78"/>
                    <a:pt x="14" y="73"/>
                    <a:pt x="12" y="71"/>
                  </a:cubicBezTo>
                  <a:cubicBezTo>
                    <a:pt x="10" y="68"/>
                    <a:pt x="7" y="67"/>
                    <a:pt x="5" y="66"/>
                  </a:cubicBezTo>
                  <a:cubicBezTo>
                    <a:pt x="4" y="64"/>
                    <a:pt x="1" y="61"/>
                    <a:pt x="0" y="5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71" name="Freeform 425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8256412" y="3839419"/>
              <a:ext cx="129661" cy="155775"/>
            </a:xfrm>
            <a:custGeom>
              <a:avLst/>
              <a:gdLst>
                <a:gd name="T0" fmla="*/ 2147483647 w 37"/>
                <a:gd name="T1" fmla="*/ 2147483647 h 42"/>
                <a:gd name="T2" fmla="*/ 2147483647 w 37"/>
                <a:gd name="T3" fmla="*/ 2147483647 h 42"/>
                <a:gd name="T4" fmla="*/ 2147483647 w 37"/>
                <a:gd name="T5" fmla="*/ 2147483647 h 42"/>
                <a:gd name="T6" fmla="*/ 2147483647 w 37"/>
                <a:gd name="T7" fmla="*/ 2147483647 h 42"/>
                <a:gd name="T8" fmla="*/ 2147483647 w 37"/>
                <a:gd name="T9" fmla="*/ 2147483647 h 42"/>
                <a:gd name="T10" fmla="*/ 2147483647 w 37"/>
                <a:gd name="T11" fmla="*/ 2147483647 h 42"/>
                <a:gd name="T12" fmla="*/ 2147483647 w 37"/>
                <a:gd name="T13" fmla="*/ 2147483647 h 42"/>
                <a:gd name="T14" fmla="*/ 2147483647 w 37"/>
                <a:gd name="T15" fmla="*/ 2147483647 h 42"/>
                <a:gd name="T16" fmla="*/ 2147483647 w 37"/>
                <a:gd name="T17" fmla="*/ 2147483647 h 42"/>
                <a:gd name="T18" fmla="*/ 2147483647 w 37"/>
                <a:gd name="T19" fmla="*/ 2147483647 h 42"/>
                <a:gd name="T20" fmla="*/ 2147483647 w 37"/>
                <a:gd name="T21" fmla="*/ 2147483647 h 42"/>
                <a:gd name="T22" fmla="*/ 2147483647 w 37"/>
                <a:gd name="T23" fmla="*/ 2147483647 h 42"/>
                <a:gd name="T24" fmla="*/ 2147483647 w 37"/>
                <a:gd name="T25" fmla="*/ 2147483647 h 42"/>
                <a:gd name="T26" fmla="*/ 2147483647 w 37"/>
                <a:gd name="T27" fmla="*/ 2147483647 h 42"/>
                <a:gd name="T28" fmla="*/ 2147483647 w 37"/>
                <a:gd name="T29" fmla="*/ 2147483647 h 42"/>
                <a:gd name="T30" fmla="*/ 2147483647 w 37"/>
                <a:gd name="T31" fmla="*/ 2147483647 h 42"/>
                <a:gd name="T32" fmla="*/ 2147483647 w 37"/>
                <a:gd name="T33" fmla="*/ 2147483647 h 42"/>
                <a:gd name="T34" fmla="*/ 2147483647 w 37"/>
                <a:gd name="T35" fmla="*/ 2147483647 h 42"/>
                <a:gd name="T36" fmla="*/ 2147483647 w 37"/>
                <a:gd name="T37" fmla="*/ 2147483647 h 42"/>
                <a:gd name="T38" fmla="*/ 2147483647 w 37"/>
                <a:gd name="T39" fmla="*/ 2147483647 h 42"/>
                <a:gd name="T40" fmla="*/ 2147483647 w 37"/>
                <a:gd name="T41" fmla="*/ 2147483647 h 42"/>
                <a:gd name="T42" fmla="*/ 2147483647 w 37"/>
                <a:gd name="T43" fmla="*/ 2147483647 h 42"/>
                <a:gd name="T44" fmla="*/ 2147483647 w 37"/>
                <a:gd name="T45" fmla="*/ 2147483647 h 42"/>
                <a:gd name="T46" fmla="*/ 0 w 37"/>
                <a:gd name="T47" fmla="*/ 2147483647 h 42"/>
                <a:gd name="T48" fmla="*/ 2147483647 w 37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7"/>
                <a:gd name="T76" fmla="*/ 0 h 42"/>
                <a:gd name="T77" fmla="*/ 37 w 37"/>
                <a:gd name="T78" fmla="*/ 42 h 4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7" h="42">
                  <a:moveTo>
                    <a:pt x="7" y="10"/>
                  </a:moveTo>
                  <a:cubicBezTo>
                    <a:pt x="7" y="9"/>
                    <a:pt x="2" y="6"/>
                    <a:pt x="3" y="5"/>
                  </a:cubicBezTo>
                  <a:cubicBezTo>
                    <a:pt x="3" y="5"/>
                    <a:pt x="5" y="1"/>
                    <a:pt x="6" y="1"/>
                  </a:cubicBezTo>
                  <a:cubicBezTo>
                    <a:pt x="7" y="0"/>
                    <a:pt x="14" y="3"/>
                    <a:pt x="14" y="4"/>
                  </a:cubicBezTo>
                  <a:cubicBezTo>
                    <a:pt x="15" y="4"/>
                    <a:pt x="14" y="10"/>
                    <a:pt x="15" y="10"/>
                  </a:cubicBezTo>
                  <a:cubicBezTo>
                    <a:pt x="17" y="10"/>
                    <a:pt x="33" y="10"/>
                    <a:pt x="34" y="11"/>
                  </a:cubicBezTo>
                  <a:cubicBezTo>
                    <a:pt x="35" y="12"/>
                    <a:pt x="31" y="17"/>
                    <a:pt x="30" y="17"/>
                  </a:cubicBezTo>
                  <a:cubicBezTo>
                    <a:pt x="29" y="18"/>
                    <a:pt x="25" y="20"/>
                    <a:pt x="26" y="21"/>
                  </a:cubicBezTo>
                  <a:cubicBezTo>
                    <a:pt x="27" y="23"/>
                    <a:pt x="29" y="25"/>
                    <a:pt x="31" y="25"/>
                  </a:cubicBezTo>
                  <a:cubicBezTo>
                    <a:pt x="32" y="25"/>
                    <a:pt x="33" y="24"/>
                    <a:pt x="34" y="24"/>
                  </a:cubicBezTo>
                  <a:cubicBezTo>
                    <a:pt x="34" y="24"/>
                    <a:pt x="35" y="31"/>
                    <a:pt x="36" y="36"/>
                  </a:cubicBezTo>
                  <a:cubicBezTo>
                    <a:pt x="36" y="38"/>
                    <a:pt x="37" y="41"/>
                    <a:pt x="37" y="41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1" y="42"/>
                    <a:pt x="31" y="41"/>
                    <a:pt x="31" y="41"/>
                  </a:cubicBezTo>
                  <a:cubicBezTo>
                    <a:pt x="31" y="39"/>
                    <a:pt x="30" y="32"/>
                    <a:pt x="28" y="31"/>
                  </a:cubicBezTo>
                  <a:cubicBezTo>
                    <a:pt x="26" y="30"/>
                    <a:pt x="21" y="27"/>
                    <a:pt x="21" y="26"/>
                  </a:cubicBezTo>
                  <a:cubicBezTo>
                    <a:pt x="20" y="24"/>
                    <a:pt x="20" y="32"/>
                    <a:pt x="19" y="34"/>
                  </a:cubicBezTo>
                  <a:cubicBezTo>
                    <a:pt x="18" y="36"/>
                    <a:pt x="13" y="38"/>
                    <a:pt x="11" y="38"/>
                  </a:cubicBezTo>
                  <a:cubicBezTo>
                    <a:pt x="10" y="38"/>
                    <a:pt x="9" y="38"/>
                    <a:pt x="8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0"/>
                    <a:pt x="7" y="26"/>
                    <a:pt x="6" y="25"/>
                  </a:cubicBezTo>
                  <a:cubicBezTo>
                    <a:pt x="5" y="23"/>
                    <a:pt x="5" y="21"/>
                    <a:pt x="5" y="19"/>
                  </a:cubicBezTo>
                  <a:cubicBezTo>
                    <a:pt x="5" y="17"/>
                    <a:pt x="0" y="16"/>
                    <a:pt x="0" y="15"/>
                  </a:cubicBezTo>
                  <a:cubicBezTo>
                    <a:pt x="0" y="13"/>
                    <a:pt x="7" y="11"/>
                    <a:pt x="7" y="1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72" name="Freeform 426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8283167" y="3781902"/>
              <a:ext cx="86441" cy="45534"/>
            </a:xfrm>
            <a:custGeom>
              <a:avLst/>
              <a:gdLst>
                <a:gd name="T0" fmla="*/ 2147483647 w 24"/>
                <a:gd name="T1" fmla="*/ 2147483647 h 13"/>
                <a:gd name="T2" fmla="*/ 2147483647 w 24"/>
                <a:gd name="T3" fmla="*/ 2147483647 h 13"/>
                <a:gd name="T4" fmla="*/ 0 w 24"/>
                <a:gd name="T5" fmla="*/ 2147483647 h 13"/>
                <a:gd name="T6" fmla="*/ 2147483647 w 24"/>
                <a:gd name="T7" fmla="*/ 2147483647 h 13"/>
                <a:gd name="T8" fmla="*/ 2147483647 w 24"/>
                <a:gd name="T9" fmla="*/ 0 h 13"/>
                <a:gd name="T10" fmla="*/ 2147483647 w 24"/>
                <a:gd name="T11" fmla="*/ 2147483647 h 13"/>
                <a:gd name="T12" fmla="*/ 2147483647 w 24"/>
                <a:gd name="T13" fmla="*/ 2147483647 h 13"/>
                <a:gd name="T14" fmla="*/ 2147483647 w 24"/>
                <a:gd name="T15" fmla="*/ 2147483647 h 13"/>
                <a:gd name="T16" fmla="*/ 2147483647 w 24"/>
                <a:gd name="T17" fmla="*/ 2147483647 h 13"/>
                <a:gd name="T18" fmla="*/ 2147483647 w 24"/>
                <a:gd name="T19" fmla="*/ 2147483647 h 13"/>
                <a:gd name="T20" fmla="*/ 2147483647 w 24"/>
                <a:gd name="T21" fmla="*/ 2147483647 h 13"/>
                <a:gd name="T22" fmla="*/ 2147483647 w 24"/>
                <a:gd name="T23" fmla="*/ 2147483647 h 1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4"/>
                <a:gd name="T37" fmla="*/ 0 h 13"/>
                <a:gd name="T38" fmla="*/ 24 w 24"/>
                <a:gd name="T39" fmla="*/ 13 h 1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4" h="13">
                  <a:moveTo>
                    <a:pt x="4" y="12"/>
                  </a:moveTo>
                  <a:cubicBezTo>
                    <a:pt x="2" y="12"/>
                    <a:pt x="1" y="10"/>
                    <a:pt x="1" y="1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8"/>
                    <a:pt x="2" y="4"/>
                    <a:pt x="3" y="3"/>
                  </a:cubicBezTo>
                  <a:cubicBezTo>
                    <a:pt x="4" y="1"/>
                    <a:pt x="8" y="0"/>
                    <a:pt x="10" y="0"/>
                  </a:cubicBezTo>
                  <a:cubicBezTo>
                    <a:pt x="12" y="0"/>
                    <a:pt x="17" y="1"/>
                    <a:pt x="19" y="1"/>
                  </a:cubicBezTo>
                  <a:cubicBezTo>
                    <a:pt x="20" y="1"/>
                    <a:pt x="20" y="4"/>
                    <a:pt x="22" y="5"/>
                  </a:cubicBezTo>
                  <a:cubicBezTo>
                    <a:pt x="22" y="5"/>
                    <a:pt x="23" y="4"/>
                    <a:pt x="24" y="4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4" y="13"/>
                    <a:pt x="23" y="13"/>
                  </a:cubicBezTo>
                  <a:cubicBezTo>
                    <a:pt x="22" y="13"/>
                    <a:pt x="19" y="13"/>
                    <a:pt x="17" y="13"/>
                  </a:cubicBezTo>
                  <a:cubicBezTo>
                    <a:pt x="15" y="13"/>
                    <a:pt x="6" y="12"/>
                    <a:pt x="4" y="12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73" name="Freeform 427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8044427" y="3712402"/>
              <a:ext cx="214043" cy="122224"/>
            </a:xfrm>
            <a:custGeom>
              <a:avLst/>
              <a:gdLst>
                <a:gd name="T0" fmla="*/ 2147483647 w 61"/>
                <a:gd name="T1" fmla="*/ 2147483647 h 33"/>
                <a:gd name="T2" fmla="*/ 2147483647 w 61"/>
                <a:gd name="T3" fmla="*/ 2147483647 h 33"/>
                <a:gd name="T4" fmla="*/ 0 w 61"/>
                <a:gd name="T5" fmla="*/ 2147483647 h 33"/>
                <a:gd name="T6" fmla="*/ 2147483647 w 61"/>
                <a:gd name="T7" fmla="*/ 2147483647 h 33"/>
                <a:gd name="T8" fmla="*/ 2147483647 w 61"/>
                <a:gd name="T9" fmla="*/ 2147483647 h 33"/>
                <a:gd name="T10" fmla="*/ 2147483647 w 61"/>
                <a:gd name="T11" fmla="*/ 2147483647 h 33"/>
                <a:gd name="T12" fmla="*/ 2147483647 w 61"/>
                <a:gd name="T13" fmla="*/ 0 h 33"/>
                <a:gd name="T14" fmla="*/ 2147483647 w 61"/>
                <a:gd name="T15" fmla="*/ 0 h 33"/>
                <a:gd name="T16" fmla="*/ 2147483647 w 61"/>
                <a:gd name="T17" fmla="*/ 2147483647 h 33"/>
                <a:gd name="T18" fmla="*/ 2147483647 w 61"/>
                <a:gd name="T19" fmla="*/ 2147483647 h 33"/>
                <a:gd name="T20" fmla="*/ 2147483647 w 61"/>
                <a:gd name="T21" fmla="*/ 2147483647 h 33"/>
                <a:gd name="T22" fmla="*/ 2147483647 w 61"/>
                <a:gd name="T23" fmla="*/ 2147483647 h 33"/>
                <a:gd name="T24" fmla="*/ 2147483647 w 61"/>
                <a:gd name="T25" fmla="*/ 2147483647 h 33"/>
                <a:gd name="T26" fmla="*/ 2147483647 w 61"/>
                <a:gd name="T27" fmla="*/ 2147483647 h 33"/>
                <a:gd name="T28" fmla="*/ 2147483647 w 61"/>
                <a:gd name="T29" fmla="*/ 2147483647 h 33"/>
                <a:gd name="T30" fmla="*/ 2147483647 w 61"/>
                <a:gd name="T31" fmla="*/ 2147483647 h 33"/>
                <a:gd name="T32" fmla="*/ 2147483647 w 61"/>
                <a:gd name="T33" fmla="*/ 2147483647 h 33"/>
                <a:gd name="T34" fmla="*/ 2147483647 w 61"/>
                <a:gd name="T35" fmla="*/ 2147483647 h 33"/>
                <a:gd name="T36" fmla="*/ 2147483647 w 61"/>
                <a:gd name="T37" fmla="*/ 2147483647 h 33"/>
                <a:gd name="T38" fmla="*/ 2147483647 w 61"/>
                <a:gd name="T39" fmla="*/ 2147483647 h 3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61"/>
                <a:gd name="T61" fmla="*/ 0 h 33"/>
                <a:gd name="T62" fmla="*/ 61 w 61"/>
                <a:gd name="T63" fmla="*/ 33 h 3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61" h="33">
                  <a:moveTo>
                    <a:pt x="15" y="22"/>
                  </a:moveTo>
                  <a:cubicBezTo>
                    <a:pt x="13" y="21"/>
                    <a:pt x="3" y="17"/>
                    <a:pt x="2" y="16"/>
                  </a:cubicBezTo>
                  <a:cubicBezTo>
                    <a:pt x="1" y="16"/>
                    <a:pt x="0" y="14"/>
                    <a:pt x="0" y="13"/>
                  </a:cubicBezTo>
                  <a:cubicBezTo>
                    <a:pt x="0" y="12"/>
                    <a:pt x="2" y="7"/>
                    <a:pt x="2" y="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7" y="3"/>
                    <a:pt x="7" y="3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8" y="4"/>
                    <a:pt x="20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3" y="14"/>
                    <a:pt x="36" y="16"/>
                  </a:cubicBezTo>
                  <a:cubicBezTo>
                    <a:pt x="39" y="18"/>
                    <a:pt x="44" y="19"/>
                    <a:pt x="47" y="20"/>
                  </a:cubicBezTo>
                  <a:cubicBezTo>
                    <a:pt x="51" y="21"/>
                    <a:pt x="55" y="22"/>
                    <a:pt x="60" y="22"/>
                  </a:cubicBezTo>
                  <a:cubicBezTo>
                    <a:pt x="60" y="22"/>
                    <a:pt x="61" y="33"/>
                    <a:pt x="59" y="33"/>
                  </a:cubicBezTo>
                  <a:cubicBezTo>
                    <a:pt x="56" y="33"/>
                    <a:pt x="49" y="33"/>
                    <a:pt x="48" y="32"/>
                  </a:cubicBezTo>
                  <a:cubicBezTo>
                    <a:pt x="46" y="32"/>
                    <a:pt x="38" y="31"/>
                    <a:pt x="37" y="30"/>
                  </a:cubicBezTo>
                  <a:cubicBezTo>
                    <a:pt x="36" y="28"/>
                    <a:pt x="36" y="25"/>
                    <a:pt x="34" y="25"/>
                  </a:cubicBezTo>
                  <a:cubicBezTo>
                    <a:pt x="33" y="24"/>
                    <a:pt x="28" y="25"/>
                    <a:pt x="25" y="25"/>
                  </a:cubicBezTo>
                  <a:cubicBezTo>
                    <a:pt x="22" y="25"/>
                    <a:pt x="17" y="23"/>
                    <a:pt x="15" y="22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74" name="Freeform 428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8038252" y="4330711"/>
              <a:ext cx="63801" cy="100655"/>
            </a:xfrm>
            <a:custGeom>
              <a:avLst/>
              <a:gdLst>
                <a:gd name="T0" fmla="*/ 2147483647 w 18"/>
                <a:gd name="T1" fmla="*/ 2147483647 h 28"/>
                <a:gd name="T2" fmla="*/ 2147483647 w 18"/>
                <a:gd name="T3" fmla="*/ 2147483647 h 28"/>
                <a:gd name="T4" fmla="*/ 2147483647 w 18"/>
                <a:gd name="T5" fmla="*/ 2147483647 h 28"/>
                <a:gd name="T6" fmla="*/ 2147483647 w 18"/>
                <a:gd name="T7" fmla="*/ 2147483647 h 28"/>
                <a:gd name="T8" fmla="*/ 2147483647 w 18"/>
                <a:gd name="T9" fmla="*/ 2147483647 h 28"/>
                <a:gd name="T10" fmla="*/ 2147483647 w 18"/>
                <a:gd name="T11" fmla="*/ 2147483647 h 28"/>
                <a:gd name="T12" fmla="*/ 2147483647 w 18"/>
                <a:gd name="T13" fmla="*/ 2147483647 h 2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8"/>
                <a:gd name="T23" fmla="*/ 18 w 18"/>
                <a:gd name="T24" fmla="*/ 28 h 2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8">
                  <a:moveTo>
                    <a:pt x="17" y="21"/>
                  </a:moveTo>
                  <a:cubicBezTo>
                    <a:pt x="16" y="24"/>
                    <a:pt x="12" y="28"/>
                    <a:pt x="7" y="28"/>
                  </a:cubicBezTo>
                  <a:cubicBezTo>
                    <a:pt x="3" y="28"/>
                    <a:pt x="2" y="28"/>
                    <a:pt x="2" y="26"/>
                  </a:cubicBezTo>
                  <a:cubicBezTo>
                    <a:pt x="1" y="24"/>
                    <a:pt x="1" y="18"/>
                    <a:pt x="1" y="18"/>
                  </a:cubicBezTo>
                  <a:cubicBezTo>
                    <a:pt x="0" y="13"/>
                    <a:pt x="2" y="2"/>
                    <a:pt x="3" y="1"/>
                  </a:cubicBezTo>
                  <a:cubicBezTo>
                    <a:pt x="4" y="0"/>
                    <a:pt x="10" y="4"/>
                    <a:pt x="10" y="7"/>
                  </a:cubicBezTo>
                  <a:cubicBezTo>
                    <a:pt x="11" y="11"/>
                    <a:pt x="18" y="18"/>
                    <a:pt x="17" y="2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75" name="Freeform 429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7990916" y="3542247"/>
              <a:ext cx="59685" cy="69500"/>
            </a:xfrm>
            <a:custGeom>
              <a:avLst/>
              <a:gdLst>
                <a:gd name="T0" fmla="*/ 0 w 17"/>
                <a:gd name="T1" fmla="*/ 2147483647 h 18"/>
                <a:gd name="T2" fmla="*/ 2147483647 w 17"/>
                <a:gd name="T3" fmla="*/ 0 h 18"/>
                <a:gd name="T4" fmla="*/ 2147483647 w 17"/>
                <a:gd name="T5" fmla="*/ 0 h 18"/>
                <a:gd name="T6" fmla="*/ 2147483647 w 17"/>
                <a:gd name="T7" fmla="*/ 2147483647 h 18"/>
                <a:gd name="T8" fmla="*/ 2147483647 w 17"/>
                <a:gd name="T9" fmla="*/ 2147483647 h 18"/>
                <a:gd name="T10" fmla="*/ 2147483647 w 17"/>
                <a:gd name="T11" fmla="*/ 2147483647 h 18"/>
                <a:gd name="T12" fmla="*/ 2147483647 w 17"/>
                <a:gd name="T13" fmla="*/ 2147483647 h 18"/>
                <a:gd name="T14" fmla="*/ 2147483647 w 17"/>
                <a:gd name="T15" fmla="*/ 2147483647 h 18"/>
                <a:gd name="T16" fmla="*/ 2147483647 w 17"/>
                <a:gd name="T17" fmla="*/ 2147483647 h 18"/>
                <a:gd name="T18" fmla="*/ 2147483647 w 17"/>
                <a:gd name="T19" fmla="*/ 2147483647 h 18"/>
                <a:gd name="T20" fmla="*/ 0 w 17"/>
                <a:gd name="T21" fmla="*/ 2147483647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"/>
                <a:gd name="T34" fmla="*/ 0 h 18"/>
                <a:gd name="T35" fmla="*/ 17 w 17"/>
                <a:gd name="T36" fmla="*/ 18 h 1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" h="18">
                  <a:moveTo>
                    <a:pt x="0" y="4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1" y="0"/>
                    <a:pt x="16" y="2"/>
                    <a:pt x="17" y="3"/>
                  </a:cubicBezTo>
                  <a:cubicBezTo>
                    <a:pt x="17" y="5"/>
                    <a:pt x="17" y="9"/>
                    <a:pt x="16" y="10"/>
                  </a:cubicBezTo>
                  <a:cubicBezTo>
                    <a:pt x="15" y="11"/>
                    <a:pt x="12" y="17"/>
                    <a:pt x="11" y="17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5" y="15"/>
                    <a:pt x="3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3" y="12"/>
                    <a:pt x="2" y="12"/>
                  </a:cubicBezTo>
                  <a:cubicBezTo>
                    <a:pt x="1" y="10"/>
                    <a:pt x="0" y="5"/>
                    <a:pt x="0" y="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76" name="Freeform 430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8812102" y="4035936"/>
              <a:ext cx="72034" cy="57517"/>
            </a:xfrm>
            <a:custGeom>
              <a:avLst/>
              <a:gdLst>
                <a:gd name="T0" fmla="*/ 2147483647 w 21"/>
                <a:gd name="T1" fmla="*/ 2147483647 h 16"/>
                <a:gd name="T2" fmla="*/ 2147483647 w 21"/>
                <a:gd name="T3" fmla="*/ 2147483647 h 16"/>
                <a:gd name="T4" fmla="*/ 2147483647 w 21"/>
                <a:gd name="T5" fmla="*/ 2147483647 h 16"/>
                <a:gd name="T6" fmla="*/ 2147483647 w 21"/>
                <a:gd name="T7" fmla="*/ 2147483647 h 16"/>
                <a:gd name="T8" fmla="*/ 2147483647 w 21"/>
                <a:gd name="T9" fmla="*/ 2147483647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16"/>
                <a:gd name="T17" fmla="*/ 21 w 21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16">
                  <a:moveTo>
                    <a:pt x="11" y="13"/>
                  </a:moveTo>
                  <a:cubicBezTo>
                    <a:pt x="9" y="16"/>
                    <a:pt x="6" y="12"/>
                    <a:pt x="3" y="10"/>
                  </a:cubicBezTo>
                  <a:cubicBezTo>
                    <a:pt x="0" y="7"/>
                    <a:pt x="5" y="3"/>
                    <a:pt x="7" y="1"/>
                  </a:cubicBezTo>
                  <a:cubicBezTo>
                    <a:pt x="7" y="1"/>
                    <a:pt x="19" y="0"/>
                    <a:pt x="20" y="1"/>
                  </a:cubicBezTo>
                  <a:cubicBezTo>
                    <a:pt x="21" y="3"/>
                    <a:pt x="12" y="10"/>
                    <a:pt x="11" y="1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77" name="Freeform 431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7756292" y="3302593"/>
              <a:ext cx="294310" cy="131810"/>
            </a:xfrm>
            <a:custGeom>
              <a:avLst/>
              <a:gdLst>
                <a:gd name="T0" fmla="*/ 2147483647 w 84"/>
                <a:gd name="T1" fmla="*/ 2147483647 h 36"/>
                <a:gd name="T2" fmla="*/ 0 w 84"/>
                <a:gd name="T3" fmla="*/ 2147483647 h 36"/>
                <a:gd name="T4" fmla="*/ 2147483647 w 84"/>
                <a:gd name="T5" fmla="*/ 2147483647 h 36"/>
                <a:gd name="T6" fmla="*/ 2147483647 w 84"/>
                <a:gd name="T7" fmla="*/ 2147483647 h 36"/>
                <a:gd name="T8" fmla="*/ 2147483647 w 84"/>
                <a:gd name="T9" fmla="*/ 2147483647 h 36"/>
                <a:gd name="T10" fmla="*/ 2147483647 w 84"/>
                <a:gd name="T11" fmla="*/ 2147483647 h 36"/>
                <a:gd name="T12" fmla="*/ 2147483647 w 84"/>
                <a:gd name="T13" fmla="*/ 2147483647 h 36"/>
                <a:gd name="T14" fmla="*/ 2147483647 w 84"/>
                <a:gd name="T15" fmla="*/ 2147483647 h 36"/>
                <a:gd name="T16" fmla="*/ 2147483647 w 84"/>
                <a:gd name="T17" fmla="*/ 2147483647 h 36"/>
                <a:gd name="T18" fmla="*/ 2147483647 w 84"/>
                <a:gd name="T19" fmla="*/ 2147483647 h 36"/>
                <a:gd name="T20" fmla="*/ 2147483647 w 84"/>
                <a:gd name="T21" fmla="*/ 2147483647 h 36"/>
                <a:gd name="T22" fmla="*/ 2147483647 w 84"/>
                <a:gd name="T23" fmla="*/ 2147483647 h 36"/>
                <a:gd name="T24" fmla="*/ 2147483647 w 84"/>
                <a:gd name="T25" fmla="*/ 2147483647 h 36"/>
                <a:gd name="T26" fmla="*/ 2147483647 w 84"/>
                <a:gd name="T27" fmla="*/ 2147483647 h 36"/>
                <a:gd name="T28" fmla="*/ 2147483647 w 84"/>
                <a:gd name="T29" fmla="*/ 2147483647 h 36"/>
                <a:gd name="T30" fmla="*/ 2147483647 w 84"/>
                <a:gd name="T31" fmla="*/ 0 h 36"/>
                <a:gd name="T32" fmla="*/ 2147483647 w 84"/>
                <a:gd name="T33" fmla="*/ 2147483647 h 36"/>
                <a:gd name="T34" fmla="*/ 2147483647 w 84"/>
                <a:gd name="T35" fmla="*/ 2147483647 h 36"/>
                <a:gd name="T36" fmla="*/ 2147483647 w 84"/>
                <a:gd name="T37" fmla="*/ 2147483647 h 36"/>
                <a:gd name="T38" fmla="*/ 2147483647 w 84"/>
                <a:gd name="T39" fmla="*/ 2147483647 h 36"/>
                <a:gd name="T40" fmla="*/ 2147483647 w 84"/>
                <a:gd name="T41" fmla="*/ 2147483647 h 36"/>
                <a:gd name="T42" fmla="*/ 2147483647 w 84"/>
                <a:gd name="T43" fmla="*/ 2147483647 h 36"/>
                <a:gd name="T44" fmla="*/ 2147483647 w 84"/>
                <a:gd name="T45" fmla="*/ 2147483647 h 36"/>
                <a:gd name="T46" fmla="*/ 2147483647 w 84"/>
                <a:gd name="T47" fmla="*/ 2147483647 h 36"/>
                <a:gd name="T48" fmla="*/ 2147483647 w 84"/>
                <a:gd name="T49" fmla="*/ 2147483647 h 36"/>
                <a:gd name="T50" fmla="*/ 2147483647 w 84"/>
                <a:gd name="T51" fmla="*/ 2147483647 h 36"/>
                <a:gd name="T52" fmla="*/ 2147483647 w 84"/>
                <a:gd name="T53" fmla="*/ 2147483647 h 36"/>
                <a:gd name="T54" fmla="*/ 2147483647 w 84"/>
                <a:gd name="T55" fmla="*/ 2147483647 h 36"/>
                <a:gd name="T56" fmla="*/ 2147483647 w 84"/>
                <a:gd name="T57" fmla="*/ 2147483647 h 36"/>
                <a:gd name="T58" fmla="*/ 2147483647 w 84"/>
                <a:gd name="T59" fmla="*/ 2147483647 h 36"/>
                <a:gd name="T60" fmla="*/ 2147483647 w 84"/>
                <a:gd name="T61" fmla="*/ 2147483647 h 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84"/>
                <a:gd name="T94" fmla="*/ 0 h 36"/>
                <a:gd name="T95" fmla="*/ 84 w 84"/>
                <a:gd name="T96" fmla="*/ 36 h 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84" h="36">
                  <a:moveTo>
                    <a:pt x="8" y="35"/>
                  </a:moveTo>
                  <a:cubicBezTo>
                    <a:pt x="7" y="35"/>
                    <a:pt x="0" y="36"/>
                    <a:pt x="0" y="35"/>
                  </a:cubicBezTo>
                  <a:cubicBezTo>
                    <a:pt x="0" y="34"/>
                    <a:pt x="0" y="32"/>
                    <a:pt x="1" y="30"/>
                  </a:cubicBezTo>
                  <a:cubicBezTo>
                    <a:pt x="2" y="29"/>
                    <a:pt x="6" y="29"/>
                    <a:pt x="7" y="29"/>
                  </a:cubicBezTo>
                  <a:cubicBezTo>
                    <a:pt x="8" y="29"/>
                    <a:pt x="9" y="28"/>
                    <a:pt x="10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8" y="27"/>
                    <a:pt x="21" y="26"/>
                    <a:pt x="22" y="25"/>
                  </a:cubicBezTo>
                  <a:cubicBezTo>
                    <a:pt x="24" y="24"/>
                    <a:pt x="29" y="24"/>
                    <a:pt x="29" y="22"/>
                  </a:cubicBezTo>
                  <a:cubicBezTo>
                    <a:pt x="29" y="21"/>
                    <a:pt x="24" y="19"/>
                    <a:pt x="22" y="19"/>
                  </a:cubicBezTo>
                  <a:cubicBezTo>
                    <a:pt x="20" y="18"/>
                    <a:pt x="14" y="19"/>
                    <a:pt x="12" y="18"/>
                  </a:cubicBezTo>
                  <a:cubicBezTo>
                    <a:pt x="12" y="17"/>
                    <a:pt x="10" y="16"/>
                    <a:pt x="10" y="16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2" y="6"/>
                    <a:pt x="14" y="3"/>
                    <a:pt x="15" y="3"/>
                  </a:cubicBezTo>
                  <a:cubicBezTo>
                    <a:pt x="16" y="3"/>
                    <a:pt x="30" y="7"/>
                    <a:pt x="31" y="7"/>
                  </a:cubicBezTo>
                  <a:cubicBezTo>
                    <a:pt x="32" y="7"/>
                    <a:pt x="32" y="0"/>
                    <a:pt x="35" y="0"/>
                  </a:cubicBezTo>
                  <a:cubicBezTo>
                    <a:pt x="38" y="0"/>
                    <a:pt x="45" y="3"/>
                    <a:pt x="47" y="3"/>
                  </a:cubicBezTo>
                  <a:cubicBezTo>
                    <a:pt x="48" y="3"/>
                    <a:pt x="61" y="3"/>
                    <a:pt x="65" y="3"/>
                  </a:cubicBezTo>
                  <a:cubicBezTo>
                    <a:pt x="68" y="3"/>
                    <a:pt x="76" y="5"/>
                    <a:pt x="77" y="6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10"/>
                    <a:pt x="84" y="10"/>
                    <a:pt x="83" y="11"/>
                  </a:cubicBezTo>
                  <a:cubicBezTo>
                    <a:pt x="82" y="13"/>
                    <a:pt x="72" y="18"/>
                    <a:pt x="69" y="19"/>
                  </a:cubicBezTo>
                  <a:cubicBezTo>
                    <a:pt x="66" y="20"/>
                    <a:pt x="60" y="20"/>
                    <a:pt x="58" y="20"/>
                  </a:cubicBezTo>
                  <a:cubicBezTo>
                    <a:pt x="56" y="20"/>
                    <a:pt x="58" y="26"/>
                    <a:pt x="56" y="27"/>
                  </a:cubicBezTo>
                  <a:cubicBezTo>
                    <a:pt x="54" y="28"/>
                    <a:pt x="51" y="28"/>
                    <a:pt x="50" y="27"/>
                  </a:cubicBezTo>
                  <a:cubicBezTo>
                    <a:pt x="49" y="27"/>
                    <a:pt x="49" y="24"/>
                    <a:pt x="47" y="24"/>
                  </a:cubicBezTo>
                  <a:cubicBezTo>
                    <a:pt x="45" y="24"/>
                    <a:pt x="36" y="31"/>
                    <a:pt x="34" y="33"/>
                  </a:cubicBezTo>
                  <a:cubicBezTo>
                    <a:pt x="33" y="33"/>
                    <a:pt x="33" y="34"/>
                    <a:pt x="33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6" y="35"/>
                    <a:pt x="10" y="35"/>
                    <a:pt x="8" y="3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78" name="Freeform 432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7731594" y="3554230"/>
              <a:ext cx="775907" cy="824412"/>
            </a:xfrm>
            <a:custGeom>
              <a:avLst/>
              <a:gdLst>
                <a:gd name="T0" fmla="*/ 2147483647 w 221"/>
                <a:gd name="T1" fmla="*/ 2147483647 h 223"/>
                <a:gd name="T2" fmla="*/ 2147483647 w 221"/>
                <a:gd name="T3" fmla="*/ 2147483647 h 223"/>
                <a:gd name="T4" fmla="*/ 2147483647 w 221"/>
                <a:gd name="T5" fmla="*/ 2147483647 h 223"/>
                <a:gd name="T6" fmla="*/ 2147483647 w 221"/>
                <a:gd name="T7" fmla="*/ 2147483647 h 223"/>
                <a:gd name="T8" fmla="*/ 2147483647 w 221"/>
                <a:gd name="T9" fmla="*/ 2147483647 h 223"/>
                <a:gd name="T10" fmla="*/ 2147483647 w 221"/>
                <a:gd name="T11" fmla="*/ 2147483647 h 223"/>
                <a:gd name="T12" fmla="*/ 2147483647 w 221"/>
                <a:gd name="T13" fmla="*/ 2147483647 h 223"/>
                <a:gd name="T14" fmla="*/ 2147483647 w 221"/>
                <a:gd name="T15" fmla="*/ 2147483647 h 223"/>
                <a:gd name="T16" fmla="*/ 2147483647 w 221"/>
                <a:gd name="T17" fmla="*/ 2147483647 h 223"/>
                <a:gd name="T18" fmla="*/ 2147483647 w 221"/>
                <a:gd name="T19" fmla="*/ 2147483647 h 223"/>
                <a:gd name="T20" fmla="*/ 2147483647 w 221"/>
                <a:gd name="T21" fmla="*/ 0 h 223"/>
                <a:gd name="T22" fmla="*/ 2147483647 w 221"/>
                <a:gd name="T23" fmla="*/ 2147483647 h 223"/>
                <a:gd name="T24" fmla="*/ 2147483647 w 221"/>
                <a:gd name="T25" fmla="*/ 2147483647 h 223"/>
                <a:gd name="T26" fmla="*/ 2147483647 w 221"/>
                <a:gd name="T27" fmla="*/ 2147483647 h 223"/>
                <a:gd name="T28" fmla="*/ 2147483647 w 221"/>
                <a:gd name="T29" fmla="*/ 2147483647 h 223"/>
                <a:gd name="T30" fmla="*/ 2147483647 w 221"/>
                <a:gd name="T31" fmla="*/ 2147483647 h 223"/>
                <a:gd name="T32" fmla="*/ 2147483647 w 221"/>
                <a:gd name="T33" fmla="*/ 2147483647 h 223"/>
                <a:gd name="T34" fmla="*/ 2147483647 w 221"/>
                <a:gd name="T35" fmla="*/ 2147483647 h 223"/>
                <a:gd name="T36" fmla="*/ 2147483647 w 221"/>
                <a:gd name="T37" fmla="*/ 2147483647 h 223"/>
                <a:gd name="T38" fmla="*/ 2147483647 w 221"/>
                <a:gd name="T39" fmla="*/ 2147483647 h 223"/>
                <a:gd name="T40" fmla="*/ 2147483647 w 221"/>
                <a:gd name="T41" fmla="*/ 2147483647 h 223"/>
                <a:gd name="T42" fmla="*/ 2147483647 w 221"/>
                <a:gd name="T43" fmla="*/ 2147483647 h 223"/>
                <a:gd name="T44" fmla="*/ 2147483647 w 221"/>
                <a:gd name="T45" fmla="*/ 2147483647 h 223"/>
                <a:gd name="T46" fmla="*/ 2147483647 w 221"/>
                <a:gd name="T47" fmla="*/ 2147483647 h 223"/>
                <a:gd name="T48" fmla="*/ 2147483647 w 221"/>
                <a:gd name="T49" fmla="*/ 2147483647 h 223"/>
                <a:gd name="T50" fmla="*/ 2147483647 w 221"/>
                <a:gd name="T51" fmla="*/ 2147483647 h 223"/>
                <a:gd name="T52" fmla="*/ 2147483647 w 221"/>
                <a:gd name="T53" fmla="*/ 2147483647 h 223"/>
                <a:gd name="T54" fmla="*/ 2147483647 w 221"/>
                <a:gd name="T55" fmla="*/ 2147483647 h 223"/>
                <a:gd name="T56" fmla="*/ 2147483647 w 221"/>
                <a:gd name="T57" fmla="*/ 2147483647 h 223"/>
                <a:gd name="T58" fmla="*/ 2147483647 w 221"/>
                <a:gd name="T59" fmla="*/ 2147483647 h 223"/>
                <a:gd name="T60" fmla="*/ 2147483647 w 221"/>
                <a:gd name="T61" fmla="*/ 2147483647 h 223"/>
                <a:gd name="T62" fmla="*/ 2147483647 w 221"/>
                <a:gd name="T63" fmla="*/ 2147483647 h 223"/>
                <a:gd name="T64" fmla="*/ 2147483647 w 221"/>
                <a:gd name="T65" fmla="*/ 2147483647 h 223"/>
                <a:gd name="T66" fmla="*/ 2147483647 w 221"/>
                <a:gd name="T67" fmla="*/ 2147483647 h 223"/>
                <a:gd name="T68" fmla="*/ 2147483647 w 221"/>
                <a:gd name="T69" fmla="*/ 2147483647 h 223"/>
                <a:gd name="T70" fmla="*/ 2147483647 w 221"/>
                <a:gd name="T71" fmla="*/ 2147483647 h 223"/>
                <a:gd name="T72" fmla="*/ 2147483647 w 221"/>
                <a:gd name="T73" fmla="*/ 2147483647 h 223"/>
                <a:gd name="T74" fmla="*/ 2147483647 w 221"/>
                <a:gd name="T75" fmla="*/ 2147483647 h 223"/>
                <a:gd name="T76" fmla="*/ 2147483647 w 221"/>
                <a:gd name="T77" fmla="*/ 2147483647 h 223"/>
                <a:gd name="T78" fmla="*/ 2147483647 w 221"/>
                <a:gd name="T79" fmla="*/ 2147483647 h 223"/>
                <a:gd name="T80" fmla="*/ 2147483647 w 221"/>
                <a:gd name="T81" fmla="*/ 2147483647 h 223"/>
                <a:gd name="T82" fmla="*/ 2147483647 w 221"/>
                <a:gd name="T83" fmla="*/ 2147483647 h 223"/>
                <a:gd name="T84" fmla="*/ 2147483647 w 221"/>
                <a:gd name="T85" fmla="*/ 2147483647 h 223"/>
                <a:gd name="T86" fmla="*/ 2147483647 w 221"/>
                <a:gd name="T87" fmla="*/ 2147483647 h 223"/>
                <a:gd name="T88" fmla="*/ 2147483647 w 221"/>
                <a:gd name="T89" fmla="*/ 2147483647 h 223"/>
                <a:gd name="T90" fmla="*/ 2147483647 w 221"/>
                <a:gd name="T91" fmla="*/ 2147483647 h 223"/>
                <a:gd name="T92" fmla="*/ 2147483647 w 221"/>
                <a:gd name="T93" fmla="*/ 2147483647 h 223"/>
                <a:gd name="T94" fmla="*/ 2147483647 w 221"/>
                <a:gd name="T95" fmla="*/ 2147483647 h 223"/>
                <a:gd name="T96" fmla="*/ 2147483647 w 221"/>
                <a:gd name="T97" fmla="*/ 2147483647 h 223"/>
                <a:gd name="T98" fmla="*/ 2147483647 w 221"/>
                <a:gd name="T99" fmla="*/ 2147483647 h 223"/>
                <a:gd name="T100" fmla="*/ 2147483647 w 221"/>
                <a:gd name="T101" fmla="*/ 2147483647 h 223"/>
                <a:gd name="T102" fmla="*/ 2147483647 w 221"/>
                <a:gd name="T103" fmla="*/ 2147483647 h 22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21"/>
                <a:gd name="T157" fmla="*/ 0 h 223"/>
                <a:gd name="T158" fmla="*/ 221 w 221"/>
                <a:gd name="T159" fmla="*/ 223 h 22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21" h="223">
                  <a:moveTo>
                    <a:pt x="18" y="123"/>
                  </a:moveTo>
                  <a:cubicBezTo>
                    <a:pt x="16" y="121"/>
                    <a:pt x="5" y="113"/>
                    <a:pt x="5" y="111"/>
                  </a:cubicBezTo>
                  <a:cubicBezTo>
                    <a:pt x="5" y="109"/>
                    <a:pt x="15" y="108"/>
                    <a:pt x="15" y="107"/>
                  </a:cubicBezTo>
                  <a:cubicBezTo>
                    <a:pt x="15" y="105"/>
                    <a:pt x="7" y="104"/>
                    <a:pt x="5" y="103"/>
                  </a:cubicBezTo>
                  <a:cubicBezTo>
                    <a:pt x="3" y="102"/>
                    <a:pt x="3" y="102"/>
                    <a:pt x="0" y="100"/>
                  </a:cubicBezTo>
                  <a:cubicBezTo>
                    <a:pt x="4" y="95"/>
                    <a:pt x="4" y="95"/>
                    <a:pt x="4" y="95"/>
                  </a:cubicBezTo>
                  <a:cubicBezTo>
                    <a:pt x="5" y="94"/>
                    <a:pt x="17" y="95"/>
                    <a:pt x="19" y="94"/>
                  </a:cubicBezTo>
                  <a:cubicBezTo>
                    <a:pt x="21" y="93"/>
                    <a:pt x="19" y="86"/>
                    <a:pt x="17" y="83"/>
                  </a:cubicBezTo>
                  <a:cubicBezTo>
                    <a:pt x="15" y="81"/>
                    <a:pt x="7" y="75"/>
                    <a:pt x="8" y="73"/>
                  </a:cubicBezTo>
                  <a:cubicBezTo>
                    <a:pt x="9" y="71"/>
                    <a:pt x="15" y="64"/>
                    <a:pt x="16" y="64"/>
                  </a:cubicBezTo>
                  <a:cubicBezTo>
                    <a:pt x="18" y="64"/>
                    <a:pt x="19" y="67"/>
                    <a:pt x="21" y="67"/>
                  </a:cubicBezTo>
                  <a:cubicBezTo>
                    <a:pt x="22" y="67"/>
                    <a:pt x="26" y="65"/>
                    <a:pt x="27" y="65"/>
                  </a:cubicBezTo>
                  <a:cubicBezTo>
                    <a:pt x="28" y="64"/>
                    <a:pt x="36" y="52"/>
                    <a:pt x="37" y="50"/>
                  </a:cubicBezTo>
                  <a:cubicBezTo>
                    <a:pt x="38" y="49"/>
                    <a:pt x="46" y="41"/>
                    <a:pt x="46" y="39"/>
                  </a:cubicBezTo>
                  <a:cubicBezTo>
                    <a:pt x="47" y="37"/>
                    <a:pt x="47" y="35"/>
                    <a:pt x="47" y="34"/>
                  </a:cubicBezTo>
                  <a:cubicBezTo>
                    <a:pt x="47" y="33"/>
                    <a:pt x="54" y="33"/>
                    <a:pt x="54" y="28"/>
                  </a:cubicBezTo>
                  <a:cubicBezTo>
                    <a:pt x="54" y="24"/>
                    <a:pt x="46" y="24"/>
                    <a:pt x="46" y="23"/>
                  </a:cubicBezTo>
                  <a:cubicBezTo>
                    <a:pt x="45" y="22"/>
                    <a:pt x="41" y="10"/>
                    <a:pt x="43" y="9"/>
                  </a:cubicBezTo>
                  <a:cubicBezTo>
                    <a:pt x="44" y="8"/>
                    <a:pt x="53" y="10"/>
                    <a:pt x="55" y="10"/>
                  </a:cubicBezTo>
                  <a:cubicBezTo>
                    <a:pt x="57" y="10"/>
                    <a:pt x="68" y="5"/>
                    <a:pt x="69" y="5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0"/>
                    <a:pt x="74" y="1"/>
                  </a:cubicBezTo>
                  <a:cubicBezTo>
                    <a:pt x="74" y="2"/>
                    <a:pt x="75" y="7"/>
                    <a:pt x="76" y="9"/>
                  </a:cubicBezTo>
                  <a:cubicBezTo>
                    <a:pt x="77" y="9"/>
                    <a:pt x="76" y="8"/>
                    <a:pt x="76" y="8"/>
                  </a:cubicBezTo>
                  <a:cubicBezTo>
                    <a:pt x="76" y="8"/>
                    <a:pt x="76" y="8"/>
                    <a:pt x="77" y="9"/>
                  </a:cubicBezTo>
                  <a:cubicBezTo>
                    <a:pt x="79" y="12"/>
                    <a:pt x="80" y="15"/>
                    <a:pt x="80" y="15"/>
                  </a:cubicBezTo>
                  <a:cubicBezTo>
                    <a:pt x="80" y="15"/>
                    <a:pt x="85" y="23"/>
                    <a:pt x="85" y="24"/>
                  </a:cubicBezTo>
                  <a:cubicBezTo>
                    <a:pt x="84" y="25"/>
                    <a:pt x="77" y="26"/>
                    <a:pt x="77" y="26"/>
                  </a:cubicBezTo>
                  <a:cubicBezTo>
                    <a:pt x="77" y="26"/>
                    <a:pt x="80" y="34"/>
                    <a:pt x="80" y="35"/>
                  </a:cubicBezTo>
                  <a:cubicBezTo>
                    <a:pt x="80" y="36"/>
                    <a:pt x="92" y="43"/>
                    <a:pt x="95" y="45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89" y="55"/>
                    <a:pt x="89" y="56"/>
                  </a:cubicBezTo>
                  <a:cubicBezTo>
                    <a:pt x="89" y="57"/>
                    <a:pt x="90" y="59"/>
                    <a:pt x="91" y="59"/>
                  </a:cubicBezTo>
                  <a:cubicBezTo>
                    <a:pt x="92" y="60"/>
                    <a:pt x="102" y="64"/>
                    <a:pt x="104" y="65"/>
                  </a:cubicBezTo>
                  <a:cubicBezTo>
                    <a:pt x="106" y="66"/>
                    <a:pt x="111" y="68"/>
                    <a:pt x="114" y="68"/>
                  </a:cubicBezTo>
                  <a:cubicBezTo>
                    <a:pt x="117" y="68"/>
                    <a:pt x="122" y="67"/>
                    <a:pt x="123" y="68"/>
                  </a:cubicBezTo>
                  <a:cubicBezTo>
                    <a:pt x="125" y="68"/>
                    <a:pt x="125" y="71"/>
                    <a:pt x="126" y="73"/>
                  </a:cubicBezTo>
                  <a:cubicBezTo>
                    <a:pt x="127" y="74"/>
                    <a:pt x="135" y="75"/>
                    <a:pt x="137" y="75"/>
                  </a:cubicBezTo>
                  <a:cubicBezTo>
                    <a:pt x="138" y="76"/>
                    <a:pt x="145" y="76"/>
                    <a:pt x="148" y="76"/>
                  </a:cubicBezTo>
                  <a:cubicBezTo>
                    <a:pt x="150" y="76"/>
                    <a:pt x="149" y="65"/>
                    <a:pt x="149" y="65"/>
                  </a:cubicBezTo>
                  <a:cubicBezTo>
                    <a:pt x="153" y="65"/>
                    <a:pt x="152" y="62"/>
                    <a:pt x="155" y="62"/>
                  </a:cubicBezTo>
                  <a:cubicBezTo>
                    <a:pt x="157" y="63"/>
                    <a:pt x="155" y="67"/>
                    <a:pt x="157" y="68"/>
                  </a:cubicBezTo>
                  <a:cubicBezTo>
                    <a:pt x="158" y="71"/>
                    <a:pt x="158" y="71"/>
                    <a:pt x="158" y="71"/>
                  </a:cubicBezTo>
                  <a:cubicBezTo>
                    <a:pt x="158" y="71"/>
                    <a:pt x="159" y="73"/>
                    <a:pt x="161" y="73"/>
                  </a:cubicBezTo>
                  <a:cubicBezTo>
                    <a:pt x="163" y="73"/>
                    <a:pt x="172" y="74"/>
                    <a:pt x="174" y="74"/>
                  </a:cubicBezTo>
                  <a:cubicBezTo>
                    <a:pt x="176" y="74"/>
                    <a:pt x="179" y="74"/>
                    <a:pt x="180" y="74"/>
                  </a:cubicBezTo>
                  <a:cubicBezTo>
                    <a:pt x="181" y="74"/>
                    <a:pt x="180" y="71"/>
                    <a:pt x="180" y="71"/>
                  </a:cubicBezTo>
                  <a:cubicBezTo>
                    <a:pt x="181" y="65"/>
                    <a:pt x="181" y="65"/>
                    <a:pt x="181" y="65"/>
                  </a:cubicBezTo>
                  <a:cubicBezTo>
                    <a:pt x="183" y="64"/>
                    <a:pt x="188" y="61"/>
                    <a:pt x="190" y="61"/>
                  </a:cubicBezTo>
                  <a:cubicBezTo>
                    <a:pt x="193" y="60"/>
                    <a:pt x="197" y="55"/>
                    <a:pt x="199" y="54"/>
                  </a:cubicBezTo>
                  <a:cubicBezTo>
                    <a:pt x="201" y="53"/>
                    <a:pt x="202" y="53"/>
                    <a:pt x="204" y="54"/>
                  </a:cubicBezTo>
                  <a:cubicBezTo>
                    <a:pt x="206" y="55"/>
                    <a:pt x="211" y="52"/>
                    <a:pt x="212" y="53"/>
                  </a:cubicBezTo>
                  <a:cubicBezTo>
                    <a:pt x="214" y="54"/>
                    <a:pt x="212" y="60"/>
                    <a:pt x="213" y="61"/>
                  </a:cubicBezTo>
                  <a:cubicBezTo>
                    <a:pt x="214" y="62"/>
                    <a:pt x="218" y="62"/>
                    <a:pt x="220" y="62"/>
                  </a:cubicBezTo>
                  <a:cubicBezTo>
                    <a:pt x="221" y="66"/>
                    <a:pt x="221" y="66"/>
                    <a:pt x="221" y="66"/>
                  </a:cubicBezTo>
                  <a:cubicBezTo>
                    <a:pt x="221" y="66"/>
                    <a:pt x="219" y="70"/>
                    <a:pt x="218" y="71"/>
                  </a:cubicBezTo>
                  <a:cubicBezTo>
                    <a:pt x="217" y="72"/>
                    <a:pt x="214" y="70"/>
                    <a:pt x="213" y="70"/>
                  </a:cubicBezTo>
                  <a:cubicBezTo>
                    <a:pt x="212" y="70"/>
                    <a:pt x="206" y="75"/>
                    <a:pt x="205" y="76"/>
                  </a:cubicBezTo>
                  <a:cubicBezTo>
                    <a:pt x="203" y="76"/>
                    <a:pt x="204" y="80"/>
                    <a:pt x="204" y="82"/>
                  </a:cubicBezTo>
                  <a:cubicBezTo>
                    <a:pt x="204" y="83"/>
                    <a:pt x="198" y="97"/>
                    <a:pt x="197" y="97"/>
                  </a:cubicBezTo>
                  <a:cubicBezTo>
                    <a:pt x="196" y="97"/>
                    <a:pt x="192" y="96"/>
                    <a:pt x="192" y="97"/>
                  </a:cubicBezTo>
                  <a:cubicBezTo>
                    <a:pt x="191" y="98"/>
                    <a:pt x="189" y="112"/>
                    <a:pt x="189" y="112"/>
                  </a:cubicBezTo>
                  <a:cubicBezTo>
                    <a:pt x="185" y="113"/>
                    <a:pt x="185" y="113"/>
                    <a:pt x="185" y="113"/>
                  </a:cubicBezTo>
                  <a:cubicBezTo>
                    <a:pt x="184" y="108"/>
                    <a:pt x="183" y="101"/>
                    <a:pt x="183" y="101"/>
                  </a:cubicBezTo>
                  <a:cubicBezTo>
                    <a:pt x="182" y="101"/>
                    <a:pt x="181" y="102"/>
                    <a:pt x="180" y="102"/>
                  </a:cubicBezTo>
                  <a:cubicBezTo>
                    <a:pt x="178" y="102"/>
                    <a:pt x="176" y="100"/>
                    <a:pt x="175" y="98"/>
                  </a:cubicBezTo>
                  <a:cubicBezTo>
                    <a:pt x="174" y="97"/>
                    <a:pt x="178" y="95"/>
                    <a:pt x="179" y="94"/>
                  </a:cubicBezTo>
                  <a:cubicBezTo>
                    <a:pt x="180" y="94"/>
                    <a:pt x="184" y="89"/>
                    <a:pt x="183" y="88"/>
                  </a:cubicBezTo>
                  <a:cubicBezTo>
                    <a:pt x="182" y="87"/>
                    <a:pt x="166" y="87"/>
                    <a:pt x="164" y="87"/>
                  </a:cubicBezTo>
                  <a:cubicBezTo>
                    <a:pt x="163" y="87"/>
                    <a:pt x="164" y="81"/>
                    <a:pt x="163" y="81"/>
                  </a:cubicBezTo>
                  <a:cubicBezTo>
                    <a:pt x="163" y="80"/>
                    <a:pt x="156" y="77"/>
                    <a:pt x="155" y="78"/>
                  </a:cubicBezTo>
                  <a:cubicBezTo>
                    <a:pt x="154" y="78"/>
                    <a:pt x="152" y="82"/>
                    <a:pt x="152" y="82"/>
                  </a:cubicBezTo>
                  <a:cubicBezTo>
                    <a:pt x="151" y="83"/>
                    <a:pt x="156" y="86"/>
                    <a:pt x="156" y="87"/>
                  </a:cubicBezTo>
                  <a:cubicBezTo>
                    <a:pt x="156" y="88"/>
                    <a:pt x="149" y="90"/>
                    <a:pt x="149" y="92"/>
                  </a:cubicBezTo>
                  <a:cubicBezTo>
                    <a:pt x="149" y="93"/>
                    <a:pt x="154" y="94"/>
                    <a:pt x="154" y="96"/>
                  </a:cubicBezTo>
                  <a:cubicBezTo>
                    <a:pt x="154" y="98"/>
                    <a:pt x="154" y="100"/>
                    <a:pt x="155" y="102"/>
                  </a:cubicBezTo>
                  <a:cubicBezTo>
                    <a:pt x="156" y="103"/>
                    <a:pt x="157" y="107"/>
                    <a:pt x="157" y="109"/>
                  </a:cubicBezTo>
                  <a:cubicBezTo>
                    <a:pt x="157" y="115"/>
                    <a:pt x="157" y="115"/>
                    <a:pt x="157" y="115"/>
                  </a:cubicBezTo>
                  <a:cubicBezTo>
                    <a:pt x="157" y="115"/>
                    <a:pt x="157" y="115"/>
                    <a:pt x="157" y="115"/>
                  </a:cubicBezTo>
                  <a:cubicBezTo>
                    <a:pt x="155" y="115"/>
                    <a:pt x="152" y="115"/>
                    <a:pt x="151" y="114"/>
                  </a:cubicBezTo>
                  <a:cubicBezTo>
                    <a:pt x="149" y="114"/>
                    <a:pt x="140" y="116"/>
                    <a:pt x="140" y="119"/>
                  </a:cubicBezTo>
                  <a:cubicBezTo>
                    <a:pt x="140" y="122"/>
                    <a:pt x="143" y="123"/>
                    <a:pt x="142" y="124"/>
                  </a:cubicBezTo>
                  <a:cubicBezTo>
                    <a:pt x="141" y="126"/>
                    <a:pt x="131" y="130"/>
                    <a:pt x="130" y="133"/>
                  </a:cubicBezTo>
                  <a:cubicBezTo>
                    <a:pt x="128" y="135"/>
                    <a:pt x="121" y="141"/>
                    <a:pt x="119" y="144"/>
                  </a:cubicBezTo>
                  <a:cubicBezTo>
                    <a:pt x="116" y="146"/>
                    <a:pt x="109" y="150"/>
                    <a:pt x="108" y="152"/>
                  </a:cubicBezTo>
                  <a:cubicBezTo>
                    <a:pt x="107" y="153"/>
                    <a:pt x="107" y="157"/>
                    <a:pt x="105" y="157"/>
                  </a:cubicBezTo>
                  <a:cubicBezTo>
                    <a:pt x="102" y="157"/>
                    <a:pt x="91" y="161"/>
                    <a:pt x="90" y="164"/>
                  </a:cubicBezTo>
                  <a:cubicBezTo>
                    <a:pt x="90" y="167"/>
                    <a:pt x="92" y="182"/>
                    <a:pt x="91" y="183"/>
                  </a:cubicBezTo>
                  <a:cubicBezTo>
                    <a:pt x="90" y="185"/>
                    <a:pt x="87" y="192"/>
                    <a:pt x="87" y="194"/>
                  </a:cubicBezTo>
                  <a:cubicBezTo>
                    <a:pt x="88" y="196"/>
                    <a:pt x="89" y="203"/>
                    <a:pt x="88" y="204"/>
                  </a:cubicBezTo>
                  <a:cubicBezTo>
                    <a:pt x="88" y="205"/>
                    <a:pt x="85" y="205"/>
                    <a:pt x="83" y="207"/>
                  </a:cubicBezTo>
                  <a:cubicBezTo>
                    <a:pt x="82" y="208"/>
                    <a:pt x="80" y="212"/>
                    <a:pt x="80" y="213"/>
                  </a:cubicBezTo>
                  <a:cubicBezTo>
                    <a:pt x="80" y="214"/>
                    <a:pt x="75" y="214"/>
                    <a:pt x="75" y="216"/>
                  </a:cubicBezTo>
                  <a:cubicBezTo>
                    <a:pt x="75" y="218"/>
                    <a:pt x="75" y="223"/>
                    <a:pt x="71" y="223"/>
                  </a:cubicBezTo>
                  <a:cubicBezTo>
                    <a:pt x="67" y="223"/>
                    <a:pt x="66" y="222"/>
                    <a:pt x="65" y="218"/>
                  </a:cubicBezTo>
                  <a:cubicBezTo>
                    <a:pt x="64" y="214"/>
                    <a:pt x="60" y="206"/>
                    <a:pt x="57" y="200"/>
                  </a:cubicBezTo>
                  <a:cubicBezTo>
                    <a:pt x="54" y="193"/>
                    <a:pt x="50" y="189"/>
                    <a:pt x="49" y="182"/>
                  </a:cubicBezTo>
                  <a:cubicBezTo>
                    <a:pt x="48" y="176"/>
                    <a:pt x="46" y="172"/>
                    <a:pt x="43" y="168"/>
                  </a:cubicBezTo>
                  <a:cubicBezTo>
                    <a:pt x="40" y="164"/>
                    <a:pt x="36" y="152"/>
                    <a:pt x="36" y="147"/>
                  </a:cubicBezTo>
                  <a:cubicBezTo>
                    <a:pt x="35" y="141"/>
                    <a:pt x="34" y="118"/>
                    <a:pt x="33" y="115"/>
                  </a:cubicBezTo>
                  <a:cubicBezTo>
                    <a:pt x="33" y="113"/>
                    <a:pt x="32" y="111"/>
                    <a:pt x="31" y="111"/>
                  </a:cubicBezTo>
                  <a:cubicBezTo>
                    <a:pt x="30" y="111"/>
                    <a:pt x="29" y="118"/>
                    <a:pt x="28" y="118"/>
                  </a:cubicBezTo>
                  <a:cubicBezTo>
                    <a:pt x="27" y="119"/>
                    <a:pt x="20" y="124"/>
                    <a:pt x="18" y="12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79" name="Freeform 433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7700723" y="3381679"/>
              <a:ext cx="205811" cy="129413"/>
            </a:xfrm>
            <a:custGeom>
              <a:avLst/>
              <a:gdLst>
                <a:gd name="T0" fmla="*/ 2147483647 w 59"/>
                <a:gd name="T1" fmla="*/ 2147483647 h 35"/>
                <a:gd name="T2" fmla="*/ 2147483647 w 59"/>
                <a:gd name="T3" fmla="*/ 2147483647 h 35"/>
                <a:gd name="T4" fmla="*/ 2147483647 w 59"/>
                <a:gd name="T5" fmla="*/ 2147483647 h 35"/>
                <a:gd name="T6" fmla="*/ 2147483647 w 59"/>
                <a:gd name="T7" fmla="*/ 2147483647 h 35"/>
                <a:gd name="T8" fmla="*/ 2147483647 w 59"/>
                <a:gd name="T9" fmla="*/ 0 h 35"/>
                <a:gd name="T10" fmla="*/ 2147483647 w 59"/>
                <a:gd name="T11" fmla="*/ 2147483647 h 35"/>
                <a:gd name="T12" fmla="*/ 2147483647 w 59"/>
                <a:gd name="T13" fmla="*/ 2147483647 h 35"/>
                <a:gd name="T14" fmla="*/ 2147483647 w 59"/>
                <a:gd name="T15" fmla="*/ 2147483647 h 35"/>
                <a:gd name="T16" fmla="*/ 2147483647 w 59"/>
                <a:gd name="T17" fmla="*/ 2147483647 h 35"/>
                <a:gd name="T18" fmla="*/ 2147483647 w 59"/>
                <a:gd name="T19" fmla="*/ 2147483647 h 35"/>
                <a:gd name="T20" fmla="*/ 2147483647 w 59"/>
                <a:gd name="T21" fmla="*/ 2147483647 h 35"/>
                <a:gd name="T22" fmla="*/ 2147483647 w 59"/>
                <a:gd name="T23" fmla="*/ 2147483647 h 35"/>
                <a:gd name="T24" fmla="*/ 2147483647 w 59"/>
                <a:gd name="T25" fmla="*/ 2147483647 h 35"/>
                <a:gd name="T26" fmla="*/ 2147483647 w 59"/>
                <a:gd name="T27" fmla="*/ 2147483647 h 35"/>
                <a:gd name="T28" fmla="*/ 2147483647 w 59"/>
                <a:gd name="T29" fmla="*/ 2147483647 h 35"/>
                <a:gd name="T30" fmla="*/ 2147483647 w 59"/>
                <a:gd name="T31" fmla="*/ 2147483647 h 35"/>
                <a:gd name="T32" fmla="*/ 2147483647 w 59"/>
                <a:gd name="T33" fmla="*/ 2147483647 h 35"/>
                <a:gd name="T34" fmla="*/ 2147483647 w 59"/>
                <a:gd name="T35" fmla="*/ 2147483647 h 35"/>
                <a:gd name="T36" fmla="*/ 2147483647 w 59"/>
                <a:gd name="T37" fmla="*/ 2147483647 h 35"/>
                <a:gd name="T38" fmla="*/ 2147483647 w 59"/>
                <a:gd name="T39" fmla="*/ 2147483647 h 35"/>
                <a:gd name="T40" fmla="*/ 2147483647 w 59"/>
                <a:gd name="T41" fmla="*/ 2147483647 h 35"/>
                <a:gd name="T42" fmla="*/ 2147483647 w 59"/>
                <a:gd name="T43" fmla="*/ 2147483647 h 35"/>
                <a:gd name="T44" fmla="*/ 2147483647 w 59"/>
                <a:gd name="T45" fmla="*/ 2147483647 h 35"/>
                <a:gd name="T46" fmla="*/ 2147483647 w 59"/>
                <a:gd name="T47" fmla="*/ 2147483647 h 35"/>
                <a:gd name="T48" fmla="*/ 2147483647 w 59"/>
                <a:gd name="T49" fmla="*/ 2147483647 h 35"/>
                <a:gd name="T50" fmla="*/ 2147483647 w 59"/>
                <a:gd name="T51" fmla="*/ 2147483647 h 35"/>
                <a:gd name="T52" fmla="*/ 2147483647 w 59"/>
                <a:gd name="T53" fmla="*/ 2147483647 h 3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59"/>
                <a:gd name="T82" fmla="*/ 0 h 35"/>
                <a:gd name="T83" fmla="*/ 59 w 59"/>
                <a:gd name="T84" fmla="*/ 35 h 3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59" h="35">
                  <a:moveTo>
                    <a:pt x="9" y="24"/>
                  </a:moveTo>
                  <a:cubicBezTo>
                    <a:pt x="8" y="22"/>
                    <a:pt x="0" y="15"/>
                    <a:pt x="2" y="13"/>
                  </a:cubicBezTo>
                  <a:cubicBezTo>
                    <a:pt x="3" y="11"/>
                    <a:pt x="8" y="11"/>
                    <a:pt x="9" y="9"/>
                  </a:cubicBezTo>
                  <a:cubicBezTo>
                    <a:pt x="10" y="8"/>
                    <a:pt x="15" y="3"/>
                    <a:pt x="16" y="2"/>
                  </a:cubicBezTo>
                  <a:cubicBezTo>
                    <a:pt x="18" y="2"/>
                    <a:pt x="23" y="0"/>
                    <a:pt x="23" y="0"/>
                  </a:cubicBezTo>
                  <a:cubicBezTo>
                    <a:pt x="23" y="0"/>
                    <a:pt x="26" y="2"/>
                    <a:pt x="26" y="3"/>
                  </a:cubicBezTo>
                  <a:cubicBezTo>
                    <a:pt x="26" y="4"/>
                    <a:pt x="26" y="4"/>
                    <a:pt x="26" y="5"/>
                  </a:cubicBezTo>
                  <a:cubicBezTo>
                    <a:pt x="25" y="6"/>
                    <a:pt x="24" y="7"/>
                    <a:pt x="23" y="7"/>
                  </a:cubicBezTo>
                  <a:cubicBezTo>
                    <a:pt x="22" y="7"/>
                    <a:pt x="18" y="7"/>
                    <a:pt x="17" y="8"/>
                  </a:cubicBezTo>
                  <a:cubicBezTo>
                    <a:pt x="16" y="10"/>
                    <a:pt x="16" y="12"/>
                    <a:pt x="16" y="13"/>
                  </a:cubicBezTo>
                  <a:cubicBezTo>
                    <a:pt x="16" y="14"/>
                    <a:pt x="23" y="13"/>
                    <a:pt x="24" y="13"/>
                  </a:cubicBezTo>
                  <a:cubicBezTo>
                    <a:pt x="26" y="13"/>
                    <a:pt x="32" y="13"/>
                    <a:pt x="34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8" y="16"/>
                    <a:pt x="49" y="19"/>
                    <a:pt x="51" y="20"/>
                  </a:cubicBezTo>
                  <a:cubicBezTo>
                    <a:pt x="53" y="21"/>
                    <a:pt x="56" y="21"/>
                    <a:pt x="58" y="22"/>
                  </a:cubicBezTo>
                  <a:cubicBezTo>
                    <a:pt x="59" y="22"/>
                    <a:pt x="59" y="26"/>
                    <a:pt x="59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45" y="30"/>
                    <a:pt x="43" y="31"/>
                  </a:cubicBezTo>
                  <a:cubicBezTo>
                    <a:pt x="41" y="32"/>
                    <a:pt x="36" y="34"/>
                    <a:pt x="34" y="34"/>
                  </a:cubicBezTo>
                  <a:cubicBezTo>
                    <a:pt x="32" y="35"/>
                    <a:pt x="34" y="25"/>
                    <a:pt x="33" y="25"/>
                  </a:cubicBezTo>
                  <a:cubicBezTo>
                    <a:pt x="33" y="24"/>
                    <a:pt x="29" y="20"/>
                    <a:pt x="27" y="21"/>
                  </a:cubicBezTo>
                  <a:cubicBezTo>
                    <a:pt x="26" y="22"/>
                    <a:pt x="23" y="27"/>
                    <a:pt x="22" y="29"/>
                  </a:cubicBezTo>
                  <a:cubicBezTo>
                    <a:pt x="21" y="30"/>
                    <a:pt x="10" y="34"/>
                    <a:pt x="8" y="35"/>
                  </a:cubicBezTo>
                  <a:cubicBezTo>
                    <a:pt x="7" y="35"/>
                    <a:pt x="4" y="32"/>
                    <a:pt x="2" y="32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7" y="26"/>
                    <a:pt x="9" y="26"/>
                    <a:pt x="9" y="2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80" name="Freeform 434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7538132" y="3511092"/>
              <a:ext cx="438377" cy="414602"/>
            </a:xfrm>
            <a:custGeom>
              <a:avLst/>
              <a:gdLst>
                <a:gd name="T0" fmla="*/ 2147483647 w 125"/>
                <a:gd name="T1" fmla="*/ 2147483647 h 112"/>
                <a:gd name="T2" fmla="*/ 2147483647 w 125"/>
                <a:gd name="T3" fmla="*/ 2147483647 h 112"/>
                <a:gd name="T4" fmla="*/ 2147483647 w 125"/>
                <a:gd name="T5" fmla="*/ 2147483647 h 112"/>
                <a:gd name="T6" fmla="*/ 2147483647 w 125"/>
                <a:gd name="T7" fmla="*/ 2147483647 h 112"/>
                <a:gd name="T8" fmla="*/ 2147483647 w 125"/>
                <a:gd name="T9" fmla="*/ 2147483647 h 112"/>
                <a:gd name="T10" fmla="*/ 2147483647 w 125"/>
                <a:gd name="T11" fmla="*/ 2147483647 h 112"/>
                <a:gd name="T12" fmla="*/ 2147483647 w 125"/>
                <a:gd name="T13" fmla="*/ 2147483647 h 112"/>
                <a:gd name="T14" fmla="*/ 0 w 125"/>
                <a:gd name="T15" fmla="*/ 2147483647 h 112"/>
                <a:gd name="T16" fmla="*/ 2147483647 w 125"/>
                <a:gd name="T17" fmla="*/ 2147483647 h 112"/>
                <a:gd name="T18" fmla="*/ 2147483647 w 125"/>
                <a:gd name="T19" fmla="*/ 2147483647 h 112"/>
                <a:gd name="T20" fmla="*/ 2147483647 w 125"/>
                <a:gd name="T21" fmla="*/ 2147483647 h 112"/>
                <a:gd name="T22" fmla="*/ 2147483647 w 125"/>
                <a:gd name="T23" fmla="*/ 2147483647 h 112"/>
                <a:gd name="T24" fmla="*/ 2147483647 w 125"/>
                <a:gd name="T25" fmla="*/ 2147483647 h 112"/>
                <a:gd name="T26" fmla="*/ 2147483647 w 125"/>
                <a:gd name="T27" fmla="*/ 2147483647 h 112"/>
                <a:gd name="T28" fmla="*/ 2147483647 w 125"/>
                <a:gd name="T29" fmla="*/ 2147483647 h 112"/>
                <a:gd name="T30" fmla="*/ 2147483647 w 125"/>
                <a:gd name="T31" fmla="*/ 2147483647 h 112"/>
                <a:gd name="T32" fmla="*/ 2147483647 w 125"/>
                <a:gd name="T33" fmla="*/ 2147483647 h 112"/>
                <a:gd name="T34" fmla="*/ 2147483647 w 125"/>
                <a:gd name="T35" fmla="*/ 2147483647 h 112"/>
                <a:gd name="T36" fmla="*/ 2147483647 w 125"/>
                <a:gd name="T37" fmla="*/ 2147483647 h 112"/>
                <a:gd name="T38" fmla="*/ 2147483647 w 125"/>
                <a:gd name="T39" fmla="*/ 2147483647 h 112"/>
                <a:gd name="T40" fmla="*/ 2147483647 w 125"/>
                <a:gd name="T41" fmla="*/ 2147483647 h 112"/>
                <a:gd name="T42" fmla="*/ 2147483647 w 125"/>
                <a:gd name="T43" fmla="*/ 2147483647 h 112"/>
                <a:gd name="T44" fmla="*/ 2147483647 w 125"/>
                <a:gd name="T45" fmla="*/ 2147483647 h 112"/>
                <a:gd name="T46" fmla="*/ 2147483647 w 125"/>
                <a:gd name="T47" fmla="*/ 2147483647 h 112"/>
                <a:gd name="T48" fmla="*/ 2147483647 w 125"/>
                <a:gd name="T49" fmla="*/ 2147483647 h 112"/>
                <a:gd name="T50" fmla="*/ 2147483647 w 125"/>
                <a:gd name="T51" fmla="*/ 0 h 112"/>
                <a:gd name="T52" fmla="*/ 2147483647 w 125"/>
                <a:gd name="T53" fmla="*/ 2147483647 h 112"/>
                <a:gd name="T54" fmla="*/ 2147483647 w 125"/>
                <a:gd name="T55" fmla="*/ 2147483647 h 112"/>
                <a:gd name="T56" fmla="*/ 2147483647 w 125"/>
                <a:gd name="T57" fmla="*/ 2147483647 h 112"/>
                <a:gd name="T58" fmla="*/ 2147483647 w 125"/>
                <a:gd name="T59" fmla="*/ 2147483647 h 112"/>
                <a:gd name="T60" fmla="*/ 2147483647 w 125"/>
                <a:gd name="T61" fmla="*/ 2147483647 h 112"/>
                <a:gd name="T62" fmla="*/ 2147483647 w 125"/>
                <a:gd name="T63" fmla="*/ 2147483647 h 112"/>
                <a:gd name="T64" fmla="*/ 2147483647 w 125"/>
                <a:gd name="T65" fmla="*/ 2147483647 h 112"/>
                <a:gd name="T66" fmla="*/ 2147483647 w 125"/>
                <a:gd name="T67" fmla="*/ 2147483647 h 112"/>
                <a:gd name="T68" fmla="*/ 2147483647 w 125"/>
                <a:gd name="T69" fmla="*/ 2147483647 h 112"/>
                <a:gd name="T70" fmla="*/ 2147483647 w 125"/>
                <a:gd name="T71" fmla="*/ 2147483647 h 112"/>
                <a:gd name="T72" fmla="*/ 2147483647 w 125"/>
                <a:gd name="T73" fmla="*/ 2147483647 h 112"/>
                <a:gd name="T74" fmla="*/ 2147483647 w 125"/>
                <a:gd name="T75" fmla="*/ 2147483647 h 112"/>
                <a:gd name="T76" fmla="*/ 2147483647 w 125"/>
                <a:gd name="T77" fmla="*/ 2147483647 h 112"/>
                <a:gd name="T78" fmla="*/ 2147483647 w 125"/>
                <a:gd name="T79" fmla="*/ 2147483647 h 112"/>
                <a:gd name="T80" fmla="*/ 2147483647 w 125"/>
                <a:gd name="T81" fmla="*/ 2147483647 h 112"/>
                <a:gd name="T82" fmla="*/ 2147483647 w 125"/>
                <a:gd name="T83" fmla="*/ 2147483647 h 112"/>
                <a:gd name="T84" fmla="*/ 2147483647 w 125"/>
                <a:gd name="T85" fmla="*/ 2147483647 h 112"/>
                <a:gd name="T86" fmla="*/ 2147483647 w 125"/>
                <a:gd name="T87" fmla="*/ 2147483647 h 112"/>
                <a:gd name="T88" fmla="*/ 2147483647 w 125"/>
                <a:gd name="T89" fmla="*/ 2147483647 h 112"/>
                <a:gd name="T90" fmla="*/ 2147483647 w 125"/>
                <a:gd name="T91" fmla="*/ 2147483647 h 112"/>
                <a:gd name="T92" fmla="*/ 2147483647 w 125"/>
                <a:gd name="T93" fmla="*/ 2147483647 h 112"/>
                <a:gd name="T94" fmla="*/ 2147483647 w 125"/>
                <a:gd name="T95" fmla="*/ 2147483647 h 112"/>
                <a:gd name="T96" fmla="*/ 2147483647 w 125"/>
                <a:gd name="T97" fmla="*/ 2147483647 h 112"/>
                <a:gd name="T98" fmla="*/ 2147483647 w 125"/>
                <a:gd name="T99" fmla="*/ 2147483647 h 112"/>
                <a:gd name="T100" fmla="*/ 2147483647 w 125"/>
                <a:gd name="T101" fmla="*/ 2147483647 h 112"/>
                <a:gd name="T102" fmla="*/ 2147483647 w 125"/>
                <a:gd name="T103" fmla="*/ 2147483647 h 11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25"/>
                <a:gd name="T157" fmla="*/ 0 h 112"/>
                <a:gd name="T158" fmla="*/ 125 w 125"/>
                <a:gd name="T159" fmla="*/ 112 h 11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25" h="112">
                  <a:moveTo>
                    <a:pt x="6" y="92"/>
                  </a:moveTo>
                  <a:cubicBezTo>
                    <a:pt x="6" y="92"/>
                    <a:pt x="7" y="90"/>
                    <a:pt x="9" y="89"/>
                  </a:cubicBezTo>
                  <a:cubicBezTo>
                    <a:pt x="10" y="89"/>
                    <a:pt x="14" y="89"/>
                    <a:pt x="15" y="88"/>
                  </a:cubicBezTo>
                  <a:cubicBezTo>
                    <a:pt x="16" y="87"/>
                    <a:pt x="17" y="83"/>
                    <a:pt x="17" y="82"/>
                  </a:cubicBezTo>
                  <a:cubicBezTo>
                    <a:pt x="17" y="81"/>
                    <a:pt x="13" y="81"/>
                    <a:pt x="13" y="80"/>
                  </a:cubicBezTo>
                  <a:cubicBezTo>
                    <a:pt x="13" y="79"/>
                    <a:pt x="12" y="74"/>
                    <a:pt x="12" y="73"/>
                  </a:cubicBezTo>
                  <a:cubicBezTo>
                    <a:pt x="11" y="72"/>
                    <a:pt x="6" y="71"/>
                    <a:pt x="4" y="71"/>
                  </a:cubicBezTo>
                  <a:cubicBezTo>
                    <a:pt x="3" y="71"/>
                    <a:pt x="1" y="67"/>
                    <a:pt x="0" y="64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8" y="64"/>
                    <a:pt x="27" y="63"/>
                    <a:pt x="29" y="63"/>
                  </a:cubicBezTo>
                  <a:cubicBezTo>
                    <a:pt x="31" y="63"/>
                    <a:pt x="37" y="61"/>
                    <a:pt x="38" y="60"/>
                  </a:cubicBezTo>
                  <a:cubicBezTo>
                    <a:pt x="40" y="59"/>
                    <a:pt x="39" y="51"/>
                    <a:pt x="41" y="50"/>
                  </a:cubicBezTo>
                  <a:cubicBezTo>
                    <a:pt x="44" y="49"/>
                    <a:pt x="52" y="45"/>
                    <a:pt x="54" y="45"/>
                  </a:cubicBezTo>
                  <a:cubicBezTo>
                    <a:pt x="55" y="44"/>
                    <a:pt x="57" y="47"/>
                    <a:pt x="58" y="46"/>
                  </a:cubicBezTo>
                  <a:cubicBezTo>
                    <a:pt x="60" y="46"/>
                    <a:pt x="63" y="44"/>
                    <a:pt x="63" y="42"/>
                  </a:cubicBezTo>
                  <a:cubicBezTo>
                    <a:pt x="63" y="40"/>
                    <a:pt x="62" y="37"/>
                    <a:pt x="63" y="35"/>
                  </a:cubicBezTo>
                  <a:cubicBezTo>
                    <a:pt x="65" y="34"/>
                    <a:pt x="66" y="32"/>
                    <a:pt x="67" y="32"/>
                  </a:cubicBezTo>
                  <a:cubicBezTo>
                    <a:pt x="69" y="31"/>
                    <a:pt x="65" y="26"/>
                    <a:pt x="66" y="25"/>
                  </a:cubicBezTo>
                  <a:cubicBezTo>
                    <a:pt x="67" y="24"/>
                    <a:pt x="69" y="23"/>
                    <a:pt x="70" y="23"/>
                  </a:cubicBezTo>
                  <a:cubicBezTo>
                    <a:pt x="71" y="23"/>
                    <a:pt x="74" y="26"/>
                    <a:pt x="76" y="25"/>
                  </a:cubicBezTo>
                  <a:cubicBezTo>
                    <a:pt x="77" y="24"/>
                    <a:pt x="79" y="19"/>
                    <a:pt x="79" y="17"/>
                  </a:cubicBezTo>
                  <a:cubicBezTo>
                    <a:pt x="79" y="15"/>
                    <a:pt x="77" y="10"/>
                    <a:pt x="78" y="9"/>
                  </a:cubicBezTo>
                  <a:cubicBezTo>
                    <a:pt x="79" y="8"/>
                    <a:pt x="84" y="6"/>
                    <a:pt x="85" y="5"/>
                  </a:cubicBezTo>
                  <a:cubicBezTo>
                    <a:pt x="87" y="4"/>
                    <a:pt x="89" y="3"/>
                    <a:pt x="92" y="3"/>
                  </a:cubicBezTo>
                  <a:cubicBezTo>
                    <a:pt x="95" y="3"/>
                    <a:pt x="97" y="3"/>
                    <a:pt x="99" y="3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7" y="1"/>
                    <a:pt x="111" y="3"/>
                    <a:pt x="113" y="6"/>
                  </a:cubicBezTo>
                  <a:cubicBezTo>
                    <a:pt x="115" y="9"/>
                    <a:pt x="117" y="9"/>
                    <a:pt x="120" y="11"/>
                  </a:cubicBezTo>
                  <a:cubicBezTo>
                    <a:pt x="121" y="12"/>
                    <a:pt x="123" y="12"/>
                    <a:pt x="125" y="12"/>
                  </a:cubicBezTo>
                  <a:cubicBezTo>
                    <a:pt x="125" y="12"/>
                    <a:pt x="125" y="12"/>
                    <a:pt x="125" y="12"/>
                  </a:cubicBezTo>
                  <a:cubicBezTo>
                    <a:pt x="124" y="17"/>
                    <a:pt x="124" y="17"/>
                    <a:pt x="124" y="17"/>
                  </a:cubicBezTo>
                  <a:cubicBezTo>
                    <a:pt x="123" y="17"/>
                    <a:pt x="112" y="22"/>
                    <a:pt x="110" y="22"/>
                  </a:cubicBezTo>
                  <a:cubicBezTo>
                    <a:pt x="108" y="22"/>
                    <a:pt x="99" y="20"/>
                    <a:pt x="98" y="21"/>
                  </a:cubicBezTo>
                  <a:cubicBezTo>
                    <a:pt x="96" y="22"/>
                    <a:pt x="100" y="34"/>
                    <a:pt x="101" y="35"/>
                  </a:cubicBezTo>
                  <a:cubicBezTo>
                    <a:pt x="101" y="36"/>
                    <a:pt x="109" y="36"/>
                    <a:pt x="109" y="40"/>
                  </a:cubicBezTo>
                  <a:cubicBezTo>
                    <a:pt x="109" y="45"/>
                    <a:pt x="102" y="45"/>
                    <a:pt x="102" y="46"/>
                  </a:cubicBezTo>
                  <a:cubicBezTo>
                    <a:pt x="102" y="47"/>
                    <a:pt x="102" y="49"/>
                    <a:pt x="101" y="51"/>
                  </a:cubicBezTo>
                  <a:cubicBezTo>
                    <a:pt x="101" y="53"/>
                    <a:pt x="93" y="61"/>
                    <a:pt x="92" y="62"/>
                  </a:cubicBezTo>
                  <a:cubicBezTo>
                    <a:pt x="91" y="64"/>
                    <a:pt x="83" y="76"/>
                    <a:pt x="82" y="77"/>
                  </a:cubicBezTo>
                  <a:cubicBezTo>
                    <a:pt x="81" y="77"/>
                    <a:pt x="77" y="79"/>
                    <a:pt x="76" y="79"/>
                  </a:cubicBezTo>
                  <a:cubicBezTo>
                    <a:pt x="74" y="79"/>
                    <a:pt x="73" y="76"/>
                    <a:pt x="71" y="76"/>
                  </a:cubicBezTo>
                  <a:cubicBezTo>
                    <a:pt x="70" y="76"/>
                    <a:pt x="64" y="83"/>
                    <a:pt x="63" y="85"/>
                  </a:cubicBezTo>
                  <a:cubicBezTo>
                    <a:pt x="62" y="87"/>
                    <a:pt x="70" y="93"/>
                    <a:pt x="72" y="95"/>
                  </a:cubicBezTo>
                  <a:cubicBezTo>
                    <a:pt x="74" y="98"/>
                    <a:pt x="76" y="105"/>
                    <a:pt x="74" y="106"/>
                  </a:cubicBezTo>
                  <a:cubicBezTo>
                    <a:pt x="72" y="107"/>
                    <a:pt x="60" y="106"/>
                    <a:pt x="59" y="107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3" y="110"/>
                    <a:pt x="50" y="109"/>
                    <a:pt x="48" y="107"/>
                  </a:cubicBezTo>
                  <a:cubicBezTo>
                    <a:pt x="45" y="104"/>
                    <a:pt x="43" y="99"/>
                    <a:pt x="41" y="97"/>
                  </a:cubicBezTo>
                  <a:cubicBezTo>
                    <a:pt x="39" y="96"/>
                    <a:pt x="33" y="97"/>
                    <a:pt x="28" y="98"/>
                  </a:cubicBezTo>
                  <a:cubicBezTo>
                    <a:pt x="23" y="98"/>
                    <a:pt x="10" y="99"/>
                    <a:pt x="4" y="99"/>
                  </a:cubicBezTo>
                  <a:cubicBezTo>
                    <a:pt x="3" y="98"/>
                    <a:pt x="2" y="98"/>
                    <a:pt x="1" y="98"/>
                  </a:cubicBezTo>
                  <a:lnTo>
                    <a:pt x="6" y="92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81" name="Freeform 435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7517551" y="3455972"/>
              <a:ext cx="395157" cy="289982"/>
            </a:xfrm>
            <a:custGeom>
              <a:avLst/>
              <a:gdLst>
                <a:gd name="T0" fmla="*/ 2147483647 w 112"/>
                <a:gd name="T1" fmla="*/ 2147483647 h 79"/>
                <a:gd name="T2" fmla="*/ 2147483647 w 112"/>
                <a:gd name="T3" fmla="*/ 2147483647 h 79"/>
                <a:gd name="T4" fmla="*/ 2147483647 w 112"/>
                <a:gd name="T5" fmla="*/ 2147483647 h 79"/>
                <a:gd name="T6" fmla="*/ 2147483647 w 112"/>
                <a:gd name="T7" fmla="*/ 2147483647 h 79"/>
                <a:gd name="T8" fmla="*/ 2147483647 w 112"/>
                <a:gd name="T9" fmla="*/ 2147483647 h 79"/>
                <a:gd name="T10" fmla="*/ 2147483647 w 112"/>
                <a:gd name="T11" fmla="*/ 2147483647 h 79"/>
                <a:gd name="T12" fmla="*/ 2147483647 w 112"/>
                <a:gd name="T13" fmla="*/ 2147483647 h 79"/>
                <a:gd name="T14" fmla="*/ 2147483647 w 112"/>
                <a:gd name="T15" fmla="*/ 2147483647 h 79"/>
                <a:gd name="T16" fmla="*/ 2147483647 w 112"/>
                <a:gd name="T17" fmla="*/ 2147483647 h 79"/>
                <a:gd name="T18" fmla="*/ 2147483647 w 112"/>
                <a:gd name="T19" fmla="*/ 2147483647 h 79"/>
                <a:gd name="T20" fmla="*/ 2147483647 w 112"/>
                <a:gd name="T21" fmla="*/ 2147483647 h 79"/>
                <a:gd name="T22" fmla="*/ 2147483647 w 112"/>
                <a:gd name="T23" fmla="*/ 2147483647 h 79"/>
                <a:gd name="T24" fmla="*/ 2147483647 w 112"/>
                <a:gd name="T25" fmla="*/ 2147483647 h 79"/>
                <a:gd name="T26" fmla="*/ 2147483647 w 112"/>
                <a:gd name="T27" fmla="*/ 2147483647 h 79"/>
                <a:gd name="T28" fmla="*/ 2147483647 w 112"/>
                <a:gd name="T29" fmla="*/ 2147483647 h 79"/>
                <a:gd name="T30" fmla="*/ 2147483647 w 112"/>
                <a:gd name="T31" fmla="*/ 2147483647 h 79"/>
                <a:gd name="T32" fmla="*/ 2147483647 w 112"/>
                <a:gd name="T33" fmla="*/ 2147483647 h 79"/>
                <a:gd name="T34" fmla="*/ 2147483647 w 112"/>
                <a:gd name="T35" fmla="*/ 2147483647 h 79"/>
                <a:gd name="T36" fmla="*/ 2147483647 w 112"/>
                <a:gd name="T37" fmla="*/ 2147483647 h 79"/>
                <a:gd name="T38" fmla="*/ 2147483647 w 112"/>
                <a:gd name="T39" fmla="*/ 2147483647 h 79"/>
                <a:gd name="T40" fmla="*/ 2147483647 w 112"/>
                <a:gd name="T41" fmla="*/ 2147483647 h 79"/>
                <a:gd name="T42" fmla="*/ 2147483647 w 112"/>
                <a:gd name="T43" fmla="*/ 2147483647 h 79"/>
                <a:gd name="T44" fmla="*/ 2147483647 w 112"/>
                <a:gd name="T45" fmla="*/ 2147483647 h 79"/>
                <a:gd name="T46" fmla="*/ 2147483647 w 112"/>
                <a:gd name="T47" fmla="*/ 2147483647 h 79"/>
                <a:gd name="T48" fmla="*/ 2147483647 w 112"/>
                <a:gd name="T49" fmla="*/ 2147483647 h 79"/>
                <a:gd name="T50" fmla="*/ 2147483647 w 112"/>
                <a:gd name="T51" fmla="*/ 2147483647 h 79"/>
                <a:gd name="T52" fmla="*/ 2147483647 w 112"/>
                <a:gd name="T53" fmla="*/ 2147483647 h 79"/>
                <a:gd name="T54" fmla="*/ 2147483647 w 112"/>
                <a:gd name="T55" fmla="*/ 2147483647 h 79"/>
                <a:gd name="T56" fmla="*/ 2147483647 w 112"/>
                <a:gd name="T57" fmla="*/ 2147483647 h 79"/>
                <a:gd name="T58" fmla="*/ 2147483647 w 112"/>
                <a:gd name="T59" fmla="*/ 2147483647 h 79"/>
                <a:gd name="T60" fmla="*/ 2147483647 w 112"/>
                <a:gd name="T61" fmla="*/ 2147483647 h 79"/>
                <a:gd name="T62" fmla="*/ 2147483647 w 112"/>
                <a:gd name="T63" fmla="*/ 2147483647 h 79"/>
                <a:gd name="T64" fmla="*/ 2147483647 w 112"/>
                <a:gd name="T65" fmla="*/ 2147483647 h 79"/>
                <a:gd name="T66" fmla="*/ 2147483647 w 112"/>
                <a:gd name="T67" fmla="*/ 2147483647 h 79"/>
                <a:gd name="T68" fmla="*/ 2147483647 w 112"/>
                <a:gd name="T69" fmla="*/ 2147483647 h 79"/>
                <a:gd name="T70" fmla="*/ 2147483647 w 112"/>
                <a:gd name="T71" fmla="*/ 2147483647 h 79"/>
                <a:gd name="T72" fmla="*/ 2147483647 w 112"/>
                <a:gd name="T73" fmla="*/ 2147483647 h 79"/>
                <a:gd name="T74" fmla="*/ 2147483647 w 112"/>
                <a:gd name="T75" fmla="*/ 2147483647 h 79"/>
                <a:gd name="T76" fmla="*/ 0 w 112"/>
                <a:gd name="T77" fmla="*/ 2147483647 h 79"/>
                <a:gd name="T78" fmla="*/ 2147483647 w 112"/>
                <a:gd name="T79" fmla="*/ 2147483647 h 79"/>
                <a:gd name="T80" fmla="*/ 2147483647 w 112"/>
                <a:gd name="T81" fmla="*/ 2147483647 h 79"/>
                <a:gd name="T82" fmla="*/ 2147483647 w 112"/>
                <a:gd name="T83" fmla="*/ 2147483647 h 7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12"/>
                <a:gd name="T127" fmla="*/ 0 h 79"/>
                <a:gd name="T128" fmla="*/ 112 w 112"/>
                <a:gd name="T129" fmla="*/ 79 h 7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12" h="79">
                  <a:moveTo>
                    <a:pt x="12" y="28"/>
                  </a:moveTo>
                  <a:cubicBezTo>
                    <a:pt x="14" y="28"/>
                    <a:pt x="16" y="30"/>
                    <a:pt x="19" y="29"/>
                  </a:cubicBezTo>
                  <a:cubicBezTo>
                    <a:pt x="22" y="27"/>
                    <a:pt x="27" y="23"/>
                    <a:pt x="29" y="22"/>
                  </a:cubicBezTo>
                  <a:cubicBezTo>
                    <a:pt x="31" y="21"/>
                    <a:pt x="31" y="14"/>
                    <a:pt x="34" y="13"/>
                  </a:cubicBezTo>
                  <a:cubicBezTo>
                    <a:pt x="35" y="12"/>
                    <a:pt x="41" y="12"/>
                    <a:pt x="46" y="12"/>
                  </a:cubicBezTo>
                  <a:cubicBezTo>
                    <a:pt x="50" y="12"/>
                    <a:pt x="54" y="12"/>
                    <a:pt x="54" y="12"/>
                  </a:cubicBezTo>
                  <a:cubicBezTo>
                    <a:pt x="56" y="12"/>
                    <a:pt x="59" y="15"/>
                    <a:pt x="60" y="15"/>
                  </a:cubicBezTo>
                  <a:cubicBezTo>
                    <a:pt x="62" y="14"/>
                    <a:pt x="73" y="10"/>
                    <a:pt x="74" y="9"/>
                  </a:cubicBezTo>
                  <a:cubicBezTo>
                    <a:pt x="75" y="7"/>
                    <a:pt x="78" y="2"/>
                    <a:pt x="79" y="1"/>
                  </a:cubicBezTo>
                  <a:cubicBezTo>
                    <a:pt x="81" y="0"/>
                    <a:pt x="85" y="4"/>
                    <a:pt x="85" y="5"/>
                  </a:cubicBezTo>
                  <a:cubicBezTo>
                    <a:pt x="86" y="5"/>
                    <a:pt x="84" y="15"/>
                    <a:pt x="86" y="14"/>
                  </a:cubicBezTo>
                  <a:cubicBezTo>
                    <a:pt x="88" y="14"/>
                    <a:pt x="93" y="12"/>
                    <a:pt x="95" y="11"/>
                  </a:cubicBezTo>
                  <a:cubicBezTo>
                    <a:pt x="97" y="10"/>
                    <a:pt x="105" y="10"/>
                    <a:pt x="105" y="10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11" y="10"/>
                    <a:pt x="111" y="11"/>
                    <a:pt x="111" y="11"/>
                  </a:cubicBezTo>
                  <a:cubicBezTo>
                    <a:pt x="111" y="15"/>
                    <a:pt x="110" y="15"/>
                    <a:pt x="112" y="15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3" y="18"/>
                    <a:pt x="101" y="18"/>
                    <a:pt x="98" y="18"/>
                  </a:cubicBezTo>
                  <a:cubicBezTo>
                    <a:pt x="95" y="18"/>
                    <a:pt x="93" y="19"/>
                    <a:pt x="91" y="20"/>
                  </a:cubicBezTo>
                  <a:cubicBezTo>
                    <a:pt x="90" y="21"/>
                    <a:pt x="85" y="23"/>
                    <a:pt x="84" y="24"/>
                  </a:cubicBezTo>
                  <a:cubicBezTo>
                    <a:pt x="83" y="25"/>
                    <a:pt x="85" y="30"/>
                    <a:pt x="85" y="32"/>
                  </a:cubicBezTo>
                  <a:cubicBezTo>
                    <a:pt x="85" y="34"/>
                    <a:pt x="83" y="39"/>
                    <a:pt x="82" y="40"/>
                  </a:cubicBezTo>
                  <a:cubicBezTo>
                    <a:pt x="80" y="41"/>
                    <a:pt x="77" y="38"/>
                    <a:pt x="76" y="38"/>
                  </a:cubicBezTo>
                  <a:cubicBezTo>
                    <a:pt x="75" y="38"/>
                    <a:pt x="73" y="39"/>
                    <a:pt x="72" y="40"/>
                  </a:cubicBezTo>
                  <a:cubicBezTo>
                    <a:pt x="71" y="41"/>
                    <a:pt x="75" y="46"/>
                    <a:pt x="73" y="47"/>
                  </a:cubicBezTo>
                  <a:cubicBezTo>
                    <a:pt x="72" y="47"/>
                    <a:pt x="71" y="49"/>
                    <a:pt x="69" y="50"/>
                  </a:cubicBezTo>
                  <a:cubicBezTo>
                    <a:pt x="68" y="52"/>
                    <a:pt x="69" y="55"/>
                    <a:pt x="69" y="57"/>
                  </a:cubicBezTo>
                  <a:cubicBezTo>
                    <a:pt x="69" y="59"/>
                    <a:pt x="66" y="61"/>
                    <a:pt x="64" y="61"/>
                  </a:cubicBezTo>
                  <a:cubicBezTo>
                    <a:pt x="63" y="62"/>
                    <a:pt x="61" y="59"/>
                    <a:pt x="60" y="60"/>
                  </a:cubicBezTo>
                  <a:cubicBezTo>
                    <a:pt x="58" y="60"/>
                    <a:pt x="50" y="64"/>
                    <a:pt x="47" y="65"/>
                  </a:cubicBezTo>
                  <a:cubicBezTo>
                    <a:pt x="45" y="66"/>
                    <a:pt x="46" y="74"/>
                    <a:pt x="44" y="75"/>
                  </a:cubicBezTo>
                  <a:cubicBezTo>
                    <a:pt x="43" y="76"/>
                    <a:pt x="37" y="78"/>
                    <a:pt x="35" y="78"/>
                  </a:cubicBezTo>
                  <a:cubicBezTo>
                    <a:pt x="33" y="78"/>
                    <a:pt x="14" y="79"/>
                    <a:pt x="12" y="79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77"/>
                    <a:pt x="4" y="76"/>
                    <a:pt x="4" y="76"/>
                  </a:cubicBezTo>
                  <a:cubicBezTo>
                    <a:pt x="3" y="74"/>
                    <a:pt x="10" y="70"/>
                    <a:pt x="11" y="69"/>
                  </a:cubicBezTo>
                  <a:cubicBezTo>
                    <a:pt x="11" y="67"/>
                    <a:pt x="11" y="65"/>
                    <a:pt x="11" y="63"/>
                  </a:cubicBezTo>
                  <a:cubicBezTo>
                    <a:pt x="10" y="61"/>
                    <a:pt x="3" y="62"/>
                    <a:pt x="3" y="61"/>
                  </a:cubicBezTo>
                  <a:cubicBezTo>
                    <a:pt x="3" y="59"/>
                    <a:pt x="1" y="42"/>
                    <a:pt x="0" y="41"/>
                  </a:cubicBezTo>
                  <a:cubicBezTo>
                    <a:pt x="0" y="39"/>
                    <a:pt x="4" y="37"/>
                    <a:pt x="5" y="35"/>
                  </a:cubicBezTo>
                  <a:cubicBezTo>
                    <a:pt x="5" y="33"/>
                    <a:pt x="6" y="30"/>
                    <a:pt x="6" y="27"/>
                  </a:cubicBezTo>
                  <a:lnTo>
                    <a:pt x="12" y="28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82" name="Freeform 436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7398180" y="3218713"/>
              <a:ext cx="461016" cy="280396"/>
            </a:xfrm>
            <a:custGeom>
              <a:avLst/>
              <a:gdLst>
                <a:gd name="T0" fmla="*/ 2147483647 w 131"/>
                <a:gd name="T1" fmla="*/ 2147483647 h 76"/>
                <a:gd name="T2" fmla="*/ 0 w 131"/>
                <a:gd name="T3" fmla="*/ 2147483647 h 76"/>
                <a:gd name="T4" fmla="*/ 0 w 131"/>
                <a:gd name="T5" fmla="*/ 2147483647 h 76"/>
                <a:gd name="T6" fmla="*/ 2147483647 w 131"/>
                <a:gd name="T7" fmla="*/ 0 h 76"/>
                <a:gd name="T8" fmla="*/ 2147483647 w 131"/>
                <a:gd name="T9" fmla="*/ 2147483647 h 76"/>
                <a:gd name="T10" fmla="*/ 2147483647 w 131"/>
                <a:gd name="T11" fmla="*/ 2147483647 h 76"/>
                <a:gd name="T12" fmla="*/ 2147483647 w 131"/>
                <a:gd name="T13" fmla="*/ 2147483647 h 76"/>
                <a:gd name="T14" fmla="*/ 2147483647 w 131"/>
                <a:gd name="T15" fmla="*/ 2147483647 h 76"/>
                <a:gd name="T16" fmla="*/ 2147483647 w 131"/>
                <a:gd name="T17" fmla="*/ 2147483647 h 76"/>
                <a:gd name="T18" fmla="*/ 2147483647 w 131"/>
                <a:gd name="T19" fmla="*/ 2147483647 h 76"/>
                <a:gd name="T20" fmla="*/ 2147483647 w 131"/>
                <a:gd name="T21" fmla="*/ 2147483647 h 76"/>
                <a:gd name="T22" fmla="*/ 2147483647 w 131"/>
                <a:gd name="T23" fmla="*/ 2147483647 h 76"/>
                <a:gd name="T24" fmla="*/ 2147483647 w 131"/>
                <a:gd name="T25" fmla="*/ 2147483647 h 76"/>
                <a:gd name="T26" fmla="*/ 2147483647 w 131"/>
                <a:gd name="T27" fmla="*/ 2147483647 h 76"/>
                <a:gd name="T28" fmla="*/ 2147483647 w 131"/>
                <a:gd name="T29" fmla="*/ 2147483647 h 76"/>
                <a:gd name="T30" fmla="*/ 2147483647 w 131"/>
                <a:gd name="T31" fmla="*/ 2147483647 h 76"/>
                <a:gd name="T32" fmla="*/ 2147483647 w 131"/>
                <a:gd name="T33" fmla="*/ 2147483647 h 76"/>
                <a:gd name="T34" fmla="*/ 2147483647 w 131"/>
                <a:gd name="T35" fmla="*/ 2147483647 h 76"/>
                <a:gd name="T36" fmla="*/ 2147483647 w 131"/>
                <a:gd name="T37" fmla="*/ 2147483647 h 76"/>
                <a:gd name="T38" fmla="*/ 2147483647 w 131"/>
                <a:gd name="T39" fmla="*/ 2147483647 h 76"/>
                <a:gd name="T40" fmla="*/ 2147483647 w 131"/>
                <a:gd name="T41" fmla="*/ 2147483647 h 76"/>
                <a:gd name="T42" fmla="*/ 2147483647 w 131"/>
                <a:gd name="T43" fmla="*/ 2147483647 h 76"/>
                <a:gd name="T44" fmla="*/ 2147483647 w 131"/>
                <a:gd name="T45" fmla="*/ 2147483647 h 76"/>
                <a:gd name="T46" fmla="*/ 2147483647 w 131"/>
                <a:gd name="T47" fmla="*/ 2147483647 h 76"/>
                <a:gd name="T48" fmla="*/ 2147483647 w 131"/>
                <a:gd name="T49" fmla="*/ 2147483647 h 76"/>
                <a:gd name="T50" fmla="*/ 2147483647 w 131"/>
                <a:gd name="T51" fmla="*/ 2147483647 h 76"/>
                <a:gd name="T52" fmla="*/ 2147483647 w 131"/>
                <a:gd name="T53" fmla="*/ 2147483647 h 76"/>
                <a:gd name="T54" fmla="*/ 2147483647 w 131"/>
                <a:gd name="T55" fmla="*/ 2147483647 h 76"/>
                <a:gd name="T56" fmla="*/ 2147483647 w 131"/>
                <a:gd name="T57" fmla="*/ 2147483647 h 76"/>
                <a:gd name="T58" fmla="*/ 2147483647 w 131"/>
                <a:gd name="T59" fmla="*/ 2147483647 h 76"/>
                <a:gd name="T60" fmla="*/ 2147483647 w 131"/>
                <a:gd name="T61" fmla="*/ 2147483647 h 76"/>
                <a:gd name="T62" fmla="*/ 2147483647 w 131"/>
                <a:gd name="T63" fmla="*/ 2147483647 h 76"/>
                <a:gd name="T64" fmla="*/ 2147483647 w 131"/>
                <a:gd name="T65" fmla="*/ 2147483647 h 76"/>
                <a:gd name="T66" fmla="*/ 2147483647 w 131"/>
                <a:gd name="T67" fmla="*/ 2147483647 h 76"/>
                <a:gd name="T68" fmla="*/ 2147483647 w 131"/>
                <a:gd name="T69" fmla="*/ 2147483647 h 76"/>
                <a:gd name="T70" fmla="*/ 2147483647 w 131"/>
                <a:gd name="T71" fmla="*/ 2147483647 h 76"/>
                <a:gd name="T72" fmla="*/ 2147483647 w 131"/>
                <a:gd name="T73" fmla="*/ 2147483647 h 76"/>
                <a:gd name="T74" fmla="*/ 2147483647 w 131"/>
                <a:gd name="T75" fmla="*/ 2147483647 h 76"/>
                <a:gd name="T76" fmla="*/ 2147483647 w 131"/>
                <a:gd name="T77" fmla="*/ 2147483647 h 76"/>
                <a:gd name="T78" fmla="*/ 2147483647 w 131"/>
                <a:gd name="T79" fmla="*/ 2147483647 h 76"/>
                <a:gd name="T80" fmla="*/ 2147483647 w 131"/>
                <a:gd name="T81" fmla="*/ 2147483647 h 76"/>
                <a:gd name="T82" fmla="*/ 2147483647 w 131"/>
                <a:gd name="T83" fmla="*/ 2147483647 h 7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31"/>
                <a:gd name="T127" fmla="*/ 0 h 76"/>
                <a:gd name="T128" fmla="*/ 131 w 131"/>
                <a:gd name="T129" fmla="*/ 76 h 7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31" h="76">
                  <a:moveTo>
                    <a:pt x="8" y="40"/>
                  </a:moveTo>
                  <a:cubicBezTo>
                    <a:pt x="7" y="40"/>
                    <a:pt x="3" y="40"/>
                    <a:pt x="0" y="4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9" y="2"/>
                    <a:pt x="19" y="4"/>
                    <a:pt x="18" y="6"/>
                  </a:cubicBezTo>
                  <a:cubicBezTo>
                    <a:pt x="16" y="10"/>
                    <a:pt x="19" y="13"/>
                    <a:pt x="21" y="14"/>
                  </a:cubicBezTo>
                  <a:cubicBezTo>
                    <a:pt x="21" y="14"/>
                    <a:pt x="26" y="16"/>
                    <a:pt x="29" y="16"/>
                  </a:cubicBezTo>
                  <a:cubicBezTo>
                    <a:pt x="31" y="16"/>
                    <a:pt x="33" y="14"/>
                    <a:pt x="36" y="11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14"/>
                    <a:pt x="45" y="20"/>
                    <a:pt x="46" y="20"/>
                  </a:cubicBezTo>
                  <a:cubicBezTo>
                    <a:pt x="47" y="20"/>
                    <a:pt x="69" y="17"/>
                    <a:pt x="70" y="17"/>
                  </a:cubicBezTo>
                  <a:cubicBezTo>
                    <a:pt x="71" y="18"/>
                    <a:pt x="77" y="32"/>
                    <a:pt x="77" y="33"/>
                  </a:cubicBezTo>
                  <a:cubicBezTo>
                    <a:pt x="76" y="34"/>
                    <a:pt x="81" y="35"/>
                    <a:pt x="82" y="35"/>
                  </a:cubicBezTo>
                  <a:cubicBezTo>
                    <a:pt x="82" y="35"/>
                    <a:pt x="81" y="41"/>
                    <a:pt x="82" y="41"/>
                  </a:cubicBezTo>
                  <a:cubicBezTo>
                    <a:pt x="83" y="41"/>
                    <a:pt x="95" y="42"/>
                    <a:pt x="96" y="42"/>
                  </a:cubicBezTo>
                  <a:cubicBezTo>
                    <a:pt x="97" y="42"/>
                    <a:pt x="108" y="33"/>
                    <a:pt x="110" y="32"/>
                  </a:cubicBezTo>
                  <a:cubicBezTo>
                    <a:pt x="111" y="31"/>
                    <a:pt x="111" y="31"/>
                    <a:pt x="112" y="30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4" y="39"/>
                    <a:pt x="114" y="40"/>
                  </a:cubicBezTo>
                  <a:cubicBezTo>
                    <a:pt x="116" y="41"/>
                    <a:pt x="122" y="40"/>
                    <a:pt x="124" y="41"/>
                  </a:cubicBezTo>
                  <a:cubicBezTo>
                    <a:pt x="126" y="41"/>
                    <a:pt x="131" y="43"/>
                    <a:pt x="131" y="44"/>
                  </a:cubicBezTo>
                  <a:cubicBezTo>
                    <a:pt x="131" y="46"/>
                    <a:pt x="126" y="46"/>
                    <a:pt x="124" y="47"/>
                  </a:cubicBezTo>
                  <a:cubicBezTo>
                    <a:pt x="123" y="48"/>
                    <a:pt x="120" y="49"/>
                    <a:pt x="118" y="49"/>
                  </a:cubicBezTo>
                  <a:cubicBezTo>
                    <a:pt x="112" y="49"/>
                    <a:pt x="112" y="49"/>
                    <a:pt x="112" y="49"/>
                  </a:cubicBezTo>
                  <a:cubicBezTo>
                    <a:pt x="112" y="48"/>
                    <a:pt x="112" y="48"/>
                    <a:pt x="112" y="47"/>
                  </a:cubicBezTo>
                  <a:cubicBezTo>
                    <a:pt x="112" y="46"/>
                    <a:pt x="109" y="44"/>
                    <a:pt x="109" y="44"/>
                  </a:cubicBezTo>
                  <a:cubicBezTo>
                    <a:pt x="109" y="44"/>
                    <a:pt x="104" y="46"/>
                    <a:pt x="102" y="46"/>
                  </a:cubicBezTo>
                  <a:cubicBezTo>
                    <a:pt x="101" y="47"/>
                    <a:pt x="96" y="52"/>
                    <a:pt x="95" y="53"/>
                  </a:cubicBezTo>
                  <a:cubicBezTo>
                    <a:pt x="94" y="55"/>
                    <a:pt x="89" y="55"/>
                    <a:pt x="88" y="57"/>
                  </a:cubicBezTo>
                  <a:cubicBezTo>
                    <a:pt x="86" y="59"/>
                    <a:pt x="94" y="66"/>
                    <a:pt x="95" y="68"/>
                  </a:cubicBezTo>
                  <a:cubicBezTo>
                    <a:pt x="95" y="70"/>
                    <a:pt x="93" y="70"/>
                    <a:pt x="92" y="71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6"/>
                    <a:pt x="84" y="76"/>
                    <a:pt x="80" y="76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80" y="69"/>
                    <a:pt x="51" y="52"/>
                    <a:pt x="50" y="52"/>
                  </a:cubicBezTo>
                  <a:cubicBezTo>
                    <a:pt x="48" y="51"/>
                    <a:pt x="46" y="42"/>
                    <a:pt x="44" y="41"/>
                  </a:cubicBezTo>
                  <a:cubicBezTo>
                    <a:pt x="42" y="40"/>
                    <a:pt x="34" y="40"/>
                    <a:pt x="32" y="40"/>
                  </a:cubicBezTo>
                  <a:cubicBezTo>
                    <a:pt x="31" y="39"/>
                    <a:pt x="31" y="32"/>
                    <a:pt x="30" y="32"/>
                  </a:cubicBezTo>
                  <a:cubicBezTo>
                    <a:pt x="29" y="31"/>
                    <a:pt x="22" y="27"/>
                    <a:pt x="20" y="27"/>
                  </a:cubicBezTo>
                  <a:cubicBezTo>
                    <a:pt x="19" y="27"/>
                    <a:pt x="15" y="30"/>
                    <a:pt x="11" y="31"/>
                  </a:cubicBezTo>
                  <a:cubicBezTo>
                    <a:pt x="7" y="32"/>
                    <a:pt x="9" y="40"/>
                    <a:pt x="8" y="4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83" name="Freeform 437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7303507" y="3319368"/>
              <a:ext cx="380750" cy="249241"/>
            </a:xfrm>
            <a:custGeom>
              <a:avLst/>
              <a:gdLst>
                <a:gd name="T0" fmla="*/ 2147483647 w 108"/>
                <a:gd name="T1" fmla="*/ 2147483647 h 67"/>
                <a:gd name="T2" fmla="*/ 2147483647 w 108"/>
                <a:gd name="T3" fmla="*/ 2147483647 h 67"/>
                <a:gd name="T4" fmla="*/ 2147483647 w 108"/>
                <a:gd name="T5" fmla="*/ 2147483647 h 67"/>
                <a:gd name="T6" fmla="*/ 2147483647 w 108"/>
                <a:gd name="T7" fmla="*/ 2147483647 h 67"/>
                <a:gd name="T8" fmla="*/ 2147483647 w 108"/>
                <a:gd name="T9" fmla="*/ 2147483647 h 67"/>
                <a:gd name="T10" fmla="*/ 2147483647 w 108"/>
                <a:gd name="T11" fmla="*/ 2147483647 h 67"/>
                <a:gd name="T12" fmla="*/ 2147483647 w 108"/>
                <a:gd name="T13" fmla="*/ 0 h 67"/>
                <a:gd name="T14" fmla="*/ 2147483647 w 108"/>
                <a:gd name="T15" fmla="*/ 2147483647 h 67"/>
                <a:gd name="T16" fmla="*/ 2147483647 w 108"/>
                <a:gd name="T17" fmla="*/ 2147483647 h 67"/>
                <a:gd name="T18" fmla="*/ 2147483647 w 108"/>
                <a:gd name="T19" fmla="*/ 2147483647 h 67"/>
                <a:gd name="T20" fmla="*/ 2147483647 w 108"/>
                <a:gd name="T21" fmla="*/ 2147483647 h 67"/>
                <a:gd name="T22" fmla="*/ 2147483647 w 108"/>
                <a:gd name="T23" fmla="*/ 2147483647 h 67"/>
                <a:gd name="T24" fmla="*/ 2147483647 w 108"/>
                <a:gd name="T25" fmla="*/ 2147483647 h 67"/>
                <a:gd name="T26" fmla="*/ 2147483647 w 108"/>
                <a:gd name="T27" fmla="*/ 2147483647 h 67"/>
                <a:gd name="T28" fmla="*/ 2147483647 w 108"/>
                <a:gd name="T29" fmla="*/ 2147483647 h 67"/>
                <a:gd name="T30" fmla="*/ 2147483647 w 108"/>
                <a:gd name="T31" fmla="*/ 2147483647 h 67"/>
                <a:gd name="T32" fmla="*/ 2147483647 w 108"/>
                <a:gd name="T33" fmla="*/ 2147483647 h 67"/>
                <a:gd name="T34" fmla="*/ 2147483647 w 108"/>
                <a:gd name="T35" fmla="*/ 2147483647 h 67"/>
                <a:gd name="T36" fmla="*/ 2147483647 w 108"/>
                <a:gd name="T37" fmla="*/ 2147483647 h 67"/>
                <a:gd name="T38" fmla="*/ 2147483647 w 108"/>
                <a:gd name="T39" fmla="*/ 2147483647 h 67"/>
                <a:gd name="T40" fmla="*/ 2147483647 w 108"/>
                <a:gd name="T41" fmla="*/ 2147483647 h 67"/>
                <a:gd name="T42" fmla="*/ 2147483647 w 108"/>
                <a:gd name="T43" fmla="*/ 2147483647 h 67"/>
                <a:gd name="T44" fmla="*/ 2147483647 w 108"/>
                <a:gd name="T45" fmla="*/ 2147483647 h 67"/>
                <a:gd name="T46" fmla="*/ 2147483647 w 108"/>
                <a:gd name="T47" fmla="*/ 2147483647 h 67"/>
                <a:gd name="T48" fmla="*/ 2147483647 w 108"/>
                <a:gd name="T49" fmla="*/ 2147483647 h 67"/>
                <a:gd name="T50" fmla="*/ 2147483647 w 108"/>
                <a:gd name="T51" fmla="*/ 2147483647 h 67"/>
                <a:gd name="T52" fmla="*/ 2147483647 w 108"/>
                <a:gd name="T53" fmla="*/ 2147483647 h 67"/>
                <a:gd name="T54" fmla="*/ 2147483647 w 108"/>
                <a:gd name="T55" fmla="*/ 2147483647 h 67"/>
                <a:gd name="T56" fmla="*/ 0 w 108"/>
                <a:gd name="T57" fmla="*/ 2147483647 h 67"/>
                <a:gd name="T58" fmla="*/ 2147483647 w 108"/>
                <a:gd name="T59" fmla="*/ 2147483647 h 6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08"/>
                <a:gd name="T91" fmla="*/ 0 h 67"/>
                <a:gd name="T92" fmla="*/ 108 w 108"/>
                <a:gd name="T93" fmla="*/ 67 h 6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08" h="67">
                  <a:moveTo>
                    <a:pt x="6" y="5"/>
                  </a:moveTo>
                  <a:cubicBezTo>
                    <a:pt x="8" y="4"/>
                    <a:pt x="13" y="3"/>
                    <a:pt x="16" y="5"/>
                  </a:cubicBezTo>
                  <a:cubicBezTo>
                    <a:pt x="18" y="7"/>
                    <a:pt x="22" y="12"/>
                    <a:pt x="23" y="13"/>
                  </a:cubicBezTo>
                  <a:cubicBezTo>
                    <a:pt x="24" y="13"/>
                    <a:pt x="25" y="13"/>
                    <a:pt x="27" y="13"/>
                  </a:cubicBezTo>
                  <a:cubicBezTo>
                    <a:pt x="30" y="13"/>
                    <a:pt x="34" y="13"/>
                    <a:pt x="35" y="13"/>
                  </a:cubicBezTo>
                  <a:cubicBezTo>
                    <a:pt x="36" y="13"/>
                    <a:pt x="34" y="5"/>
                    <a:pt x="38" y="4"/>
                  </a:cubicBezTo>
                  <a:cubicBezTo>
                    <a:pt x="42" y="3"/>
                    <a:pt x="46" y="0"/>
                    <a:pt x="47" y="0"/>
                  </a:cubicBezTo>
                  <a:cubicBezTo>
                    <a:pt x="49" y="0"/>
                    <a:pt x="56" y="4"/>
                    <a:pt x="57" y="5"/>
                  </a:cubicBezTo>
                  <a:cubicBezTo>
                    <a:pt x="58" y="5"/>
                    <a:pt x="58" y="12"/>
                    <a:pt x="59" y="13"/>
                  </a:cubicBezTo>
                  <a:cubicBezTo>
                    <a:pt x="61" y="13"/>
                    <a:pt x="69" y="13"/>
                    <a:pt x="71" y="14"/>
                  </a:cubicBezTo>
                  <a:cubicBezTo>
                    <a:pt x="73" y="15"/>
                    <a:pt x="75" y="24"/>
                    <a:pt x="77" y="25"/>
                  </a:cubicBezTo>
                  <a:cubicBezTo>
                    <a:pt x="78" y="25"/>
                    <a:pt x="107" y="42"/>
                    <a:pt x="108" y="43"/>
                  </a:cubicBezTo>
                  <a:cubicBezTo>
                    <a:pt x="107" y="49"/>
                    <a:pt x="107" y="49"/>
                    <a:pt x="107" y="49"/>
                  </a:cubicBezTo>
                  <a:cubicBezTo>
                    <a:pt x="102" y="49"/>
                    <a:pt x="96" y="49"/>
                    <a:pt x="95" y="50"/>
                  </a:cubicBezTo>
                  <a:cubicBezTo>
                    <a:pt x="92" y="51"/>
                    <a:pt x="92" y="58"/>
                    <a:pt x="90" y="59"/>
                  </a:cubicBezTo>
                  <a:cubicBezTo>
                    <a:pt x="88" y="60"/>
                    <a:pt x="83" y="64"/>
                    <a:pt x="80" y="66"/>
                  </a:cubicBezTo>
                  <a:cubicBezTo>
                    <a:pt x="77" y="67"/>
                    <a:pt x="75" y="65"/>
                    <a:pt x="73" y="65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7" y="59"/>
                    <a:pt x="67" y="55"/>
                    <a:pt x="67" y="55"/>
                  </a:cubicBezTo>
                  <a:cubicBezTo>
                    <a:pt x="65" y="55"/>
                    <a:pt x="61" y="55"/>
                    <a:pt x="59" y="54"/>
                  </a:cubicBezTo>
                  <a:cubicBezTo>
                    <a:pt x="58" y="53"/>
                    <a:pt x="52" y="47"/>
                    <a:pt x="50" y="47"/>
                  </a:cubicBezTo>
                  <a:cubicBezTo>
                    <a:pt x="48" y="46"/>
                    <a:pt x="41" y="43"/>
                    <a:pt x="37" y="42"/>
                  </a:cubicBezTo>
                  <a:cubicBezTo>
                    <a:pt x="34" y="41"/>
                    <a:pt x="28" y="42"/>
                    <a:pt x="25" y="42"/>
                  </a:cubicBezTo>
                  <a:cubicBezTo>
                    <a:pt x="21" y="42"/>
                    <a:pt x="18" y="47"/>
                    <a:pt x="17" y="48"/>
                  </a:cubicBezTo>
                  <a:cubicBezTo>
                    <a:pt x="17" y="48"/>
                    <a:pt x="15" y="48"/>
                    <a:pt x="11" y="48"/>
                  </a:cubicBezTo>
                  <a:cubicBezTo>
                    <a:pt x="11" y="43"/>
                    <a:pt x="11" y="35"/>
                    <a:pt x="11" y="34"/>
                  </a:cubicBezTo>
                  <a:cubicBezTo>
                    <a:pt x="11" y="32"/>
                    <a:pt x="3" y="27"/>
                    <a:pt x="3" y="25"/>
                  </a:cubicBezTo>
                  <a:cubicBezTo>
                    <a:pt x="1" y="22"/>
                    <a:pt x="3" y="17"/>
                    <a:pt x="3" y="15"/>
                  </a:cubicBezTo>
                  <a:cubicBezTo>
                    <a:pt x="3" y="13"/>
                    <a:pt x="1" y="10"/>
                    <a:pt x="0" y="8"/>
                  </a:cubicBezTo>
                  <a:lnTo>
                    <a:pt x="6" y="5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84" name="Freeform 438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7299391" y="3834626"/>
              <a:ext cx="113196" cy="112638"/>
            </a:xfrm>
            <a:custGeom>
              <a:avLst/>
              <a:gdLst>
                <a:gd name="T0" fmla="*/ 2147483647 w 32"/>
                <a:gd name="T1" fmla="*/ 2147483647 h 30"/>
                <a:gd name="T2" fmla="*/ 0 w 32"/>
                <a:gd name="T3" fmla="*/ 2147483647 h 30"/>
                <a:gd name="T4" fmla="*/ 2147483647 w 32"/>
                <a:gd name="T5" fmla="*/ 2147483647 h 30"/>
                <a:gd name="T6" fmla="*/ 2147483647 w 32"/>
                <a:gd name="T7" fmla="*/ 2147483647 h 30"/>
                <a:gd name="T8" fmla="*/ 2147483647 w 32"/>
                <a:gd name="T9" fmla="*/ 2147483647 h 30"/>
                <a:gd name="T10" fmla="*/ 2147483647 w 32"/>
                <a:gd name="T11" fmla="*/ 2147483647 h 30"/>
                <a:gd name="T12" fmla="*/ 2147483647 w 32"/>
                <a:gd name="T13" fmla="*/ 2147483647 h 30"/>
                <a:gd name="T14" fmla="*/ 2147483647 w 32"/>
                <a:gd name="T15" fmla="*/ 2147483647 h 30"/>
                <a:gd name="T16" fmla="*/ 2147483647 w 32"/>
                <a:gd name="T17" fmla="*/ 2147483647 h 30"/>
                <a:gd name="T18" fmla="*/ 2147483647 w 32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"/>
                <a:gd name="T31" fmla="*/ 0 h 30"/>
                <a:gd name="T32" fmla="*/ 32 w 32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" h="30">
                  <a:moveTo>
                    <a:pt x="2" y="29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3" y="20"/>
                    <a:pt x="8" y="19"/>
                    <a:pt x="10" y="19"/>
                  </a:cubicBezTo>
                  <a:cubicBezTo>
                    <a:pt x="13" y="19"/>
                    <a:pt x="17" y="15"/>
                    <a:pt x="19" y="14"/>
                  </a:cubicBezTo>
                  <a:cubicBezTo>
                    <a:pt x="22" y="13"/>
                    <a:pt x="29" y="0"/>
                    <a:pt x="30" y="1"/>
                  </a:cubicBezTo>
                  <a:cubicBezTo>
                    <a:pt x="31" y="2"/>
                    <a:pt x="29" y="8"/>
                    <a:pt x="31" y="13"/>
                  </a:cubicBezTo>
                  <a:cubicBezTo>
                    <a:pt x="31" y="14"/>
                    <a:pt x="31" y="14"/>
                    <a:pt x="32" y="15"/>
                  </a:cubicBezTo>
                  <a:cubicBezTo>
                    <a:pt x="32" y="15"/>
                    <a:pt x="27" y="16"/>
                    <a:pt x="27" y="17"/>
                  </a:cubicBezTo>
                  <a:cubicBezTo>
                    <a:pt x="27" y="19"/>
                    <a:pt x="22" y="30"/>
                    <a:pt x="22" y="30"/>
                  </a:cubicBezTo>
                  <a:lnTo>
                    <a:pt x="2" y="29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85" name="Freeform 439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7289101" y="3892143"/>
              <a:ext cx="211985" cy="232465"/>
            </a:xfrm>
            <a:custGeom>
              <a:avLst/>
              <a:gdLst>
                <a:gd name="T0" fmla="*/ 0 w 60"/>
                <a:gd name="T1" fmla="*/ 2147483647 h 64"/>
                <a:gd name="T2" fmla="*/ 2147483647 w 60"/>
                <a:gd name="T3" fmla="*/ 2147483647 h 64"/>
                <a:gd name="T4" fmla="*/ 2147483647 w 60"/>
                <a:gd name="T5" fmla="*/ 2147483647 h 64"/>
                <a:gd name="T6" fmla="*/ 2147483647 w 60"/>
                <a:gd name="T7" fmla="*/ 2147483647 h 64"/>
                <a:gd name="T8" fmla="*/ 2147483647 w 60"/>
                <a:gd name="T9" fmla="*/ 2147483647 h 64"/>
                <a:gd name="T10" fmla="*/ 2147483647 w 60"/>
                <a:gd name="T11" fmla="*/ 0 h 64"/>
                <a:gd name="T12" fmla="*/ 2147483647 w 60"/>
                <a:gd name="T13" fmla="*/ 2147483647 h 64"/>
                <a:gd name="T14" fmla="*/ 2147483647 w 60"/>
                <a:gd name="T15" fmla="*/ 2147483647 h 64"/>
                <a:gd name="T16" fmla="*/ 2147483647 w 60"/>
                <a:gd name="T17" fmla="*/ 2147483647 h 64"/>
                <a:gd name="T18" fmla="*/ 2147483647 w 60"/>
                <a:gd name="T19" fmla="*/ 2147483647 h 64"/>
                <a:gd name="T20" fmla="*/ 2147483647 w 60"/>
                <a:gd name="T21" fmla="*/ 2147483647 h 64"/>
                <a:gd name="T22" fmla="*/ 2147483647 w 60"/>
                <a:gd name="T23" fmla="*/ 2147483647 h 64"/>
                <a:gd name="T24" fmla="*/ 2147483647 w 60"/>
                <a:gd name="T25" fmla="*/ 2147483647 h 64"/>
                <a:gd name="T26" fmla="*/ 2147483647 w 60"/>
                <a:gd name="T27" fmla="*/ 2147483647 h 64"/>
                <a:gd name="T28" fmla="*/ 2147483647 w 60"/>
                <a:gd name="T29" fmla="*/ 2147483647 h 64"/>
                <a:gd name="T30" fmla="*/ 2147483647 w 60"/>
                <a:gd name="T31" fmla="*/ 2147483647 h 64"/>
                <a:gd name="T32" fmla="*/ 2147483647 w 60"/>
                <a:gd name="T33" fmla="*/ 2147483647 h 64"/>
                <a:gd name="T34" fmla="*/ 2147483647 w 60"/>
                <a:gd name="T35" fmla="*/ 2147483647 h 64"/>
                <a:gd name="T36" fmla="*/ 0 w 60"/>
                <a:gd name="T37" fmla="*/ 2147483647 h 6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"/>
                <a:gd name="T58" fmla="*/ 0 h 64"/>
                <a:gd name="T59" fmla="*/ 60 w 60"/>
                <a:gd name="T60" fmla="*/ 64 h 6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" h="64">
                  <a:moveTo>
                    <a:pt x="0" y="44"/>
                  </a:moveTo>
                  <a:cubicBezTo>
                    <a:pt x="23" y="38"/>
                    <a:pt x="23" y="38"/>
                    <a:pt x="23" y="38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30" y="4"/>
                    <a:pt x="30" y="2"/>
                  </a:cubicBezTo>
                  <a:cubicBezTo>
                    <a:pt x="30" y="1"/>
                    <a:pt x="35" y="0"/>
                    <a:pt x="35" y="0"/>
                  </a:cubicBezTo>
                  <a:cubicBezTo>
                    <a:pt x="37" y="4"/>
                    <a:pt x="40" y="6"/>
                    <a:pt x="42" y="6"/>
                  </a:cubicBezTo>
                  <a:cubicBezTo>
                    <a:pt x="44" y="7"/>
                    <a:pt x="49" y="6"/>
                    <a:pt x="51" y="9"/>
                  </a:cubicBezTo>
                  <a:cubicBezTo>
                    <a:pt x="52" y="12"/>
                    <a:pt x="57" y="17"/>
                    <a:pt x="58" y="17"/>
                  </a:cubicBezTo>
                  <a:cubicBezTo>
                    <a:pt x="60" y="18"/>
                    <a:pt x="60" y="20"/>
                    <a:pt x="58" y="22"/>
                  </a:cubicBezTo>
                  <a:cubicBezTo>
                    <a:pt x="57" y="24"/>
                    <a:pt x="52" y="34"/>
                    <a:pt x="50" y="35"/>
                  </a:cubicBezTo>
                  <a:cubicBezTo>
                    <a:pt x="49" y="35"/>
                    <a:pt x="46" y="34"/>
                    <a:pt x="46" y="36"/>
                  </a:cubicBezTo>
                  <a:cubicBezTo>
                    <a:pt x="45" y="39"/>
                    <a:pt x="46" y="44"/>
                    <a:pt x="45" y="45"/>
                  </a:cubicBezTo>
                  <a:cubicBezTo>
                    <a:pt x="44" y="46"/>
                    <a:pt x="39" y="46"/>
                    <a:pt x="37" y="48"/>
                  </a:cubicBezTo>
                  <a:cubicBezTo>
                    <a:pt x="35" y="51"/>
                    <a:pt x="36" y="53"/>
                    <a:pt x="34" y="54"/>
                  </a:cubicBezTo>
                  <a:cubicBezTo>
                    <a:pt x="32" y="55"/>
                    <a:pt x="27" y="54"/>
                    <a:pt x="25" y="55"/>
                  </a:cubicBezTo>
                  <a:cubicBezTo>
                    <a:pt x="24" y="57"/>
                    <a:pt x="26" y="61"/>
                    <a:pt x="23" y="61"/>
                  </a:cubicBezTo>
                  <a:cubicBezTo>
                    <a:pt x="21" y="61"/>
                    <a:pt x="14" y="62"/>
                    <a:pt x="9" y="64"/>
                  </a:cubicBezTo>
                  <a:cubicBezTo>
                    <a:pt x="0" y="44"/>
                    <a:pt x="0" y="44"/>
                    <a:pt x="0" y="4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86" name="Freeform 440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7132684" y="3726781"/>
              <a:ext cx="59685" cy="50327"/>
            </a:xfrm>
            <a:custGeom>
              <a:avLst/>
              <a:gdLst>
                <a:gd name="T0" fmla="*/ 2147483647 w 17"/>
                <a:gd name="T1" fmla="*/ 2147483647 h 14"/>
                <a:gd name="T2" fmla="*/ 2147483647 w 17"/>
                <a:gd name="T3" fmla="*/ 2147483647 h 14"/>
                <a:gd name="T4" fmla="*/ 2147483647 w 17"/>
                <a:gd name="T5" fmla="*/ 2147483647 h 14"/>
                <a:gd name="T6" fmla="*/ 2147483647 w 17"/>
                <a:gd name="T7" fmla="*/ 2147483647 h 14"/>
                <a:gd name="T8" fmla="*/ 2147483647 w 17"/>
                <a:gd name="T9" fmla="*/ 2147483647 h 14"/>
                <a:gd name="T10" fmla="*/ 2147483647 w 17"/>
                <a:gd name="T11" fmla="*/ 2147483647 h 14"/>
                <a:gd name="T12" fmla="*/ 2147483647 w 17"/>
                <a:gd name="T13" fmla="*/ 2147483647 h 14"/>
                <a:gd name="T14" fmla="*/ 2147483647 w 17"/>
                <a:gd name="T15" fmla="*/ 2147483647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14"/>
                <a:gd name="T26" fmla="*/ 17 w 17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14">
                  <a:moveTo>
                    <a:pt x="9" y="11"/>
                  </a:moveTo>
                  <a:cubicBezTo>
                    <a:pt x="9" y="11"/>
                    <a:pt x="0" y="9"/>
                    <a:pt x="2" y="8"/>
                  </a:cubicBezTo>
                  <a:cubicBezTo>
                    <a:pt x="4" y="7"/>
                    <a:pt x="6" y="1"/>
                    <a:pt x="9" y="1"/>
                  </a:cubicBezTo>
                  <a:cubicBezTo>
                    <a:pt x="12" y="0"/>
                    <a:pt x="16" y="2"/>
                    <a:pt x="16" y="2"/>
                  </a:cubicBezTo>
                  <a:cubicBezTo>
                    <a:pt x="14" y="3"/>
                    <a:pt x="13" y="3"/>
                    <a:pt x="14" y="6"/>
                  </a:cubicBezTo>
                  <a:cubicBezTo>
                    <a:pt x="15" y="9"/>
                    <a:pt x="16" y="11"/>
                    <a:pt x="17" y="13"/>
                  </a:cubicBezTo>
                  <a:cubicBezTo>
                    <a:pt x="11" y="14"/>
                    <a:pt x="11" y="14"/>
                    <a:pt x="11" y="14"/>
                  </a:cubicBezTo>
                  <a:lnTo>
                    <a:pt x="9" y="11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87" name="Freeform 441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7048302" y="4946623"/>
              <a:ext cx="201695" cy="395430"/>
            </a:xfrm>
            <a:custGeom>
              <a:avLst/>
              <a:gdLst>
                <a:gd name="T0" fmla="*/ 2147483647 w 58"/>
                <a:gd name="T1" fmla="*/ 2147483647 h 107"/>
                <a:gd name="T2" fmla="*/ 2147483647 w 58"/>
                <a:gd name="T3" fmla="*/ 2147483647 h 107"/>
                <a:gd name="T4" fmla="*/ 2147483647 w 58"/>
                <a:gd name="T5" fmla="*/ 2147483647 h 107"/>
                <a:gd name="T6" fmla="*/ 2147483647 w 58"/>
                <a:gd name="T7" fmla="*/ 2147483647 h 107"/>
                <a:gd name="T8" fmla="*/ 2147483647 w 58"/>
                <a:gd name="T9" fmla="*/ 2147483647 h 107"/>
                <a:gd name="T10" fmla="*/ 2147483647 w 58"/>
                <a:gd name="T11" fmla="*/ 2147483647 h 107"/>
                <a:gd name="T12" fmla="*/ 2147483647 w 58"/>
                <a:gd name="T13" fmla="*/ 2147483647 h 107"/>
                <a:gd name="T14" fmla="*/ 2147483647 w 58"/>
                <a:gd name="T15" fmla="*/ 2147483647 h 107"/>
                <a:gd name="T16" fmla="*/ 2147483647 w 58"/>
                <a:gd name="T17" fmla="*/ 0 h 107"/>
                <a:gd name="T18" fmla="*/ 2147483647 w 58"/>
                <a:gd name="T19" fmla="*/ 2147483647 h 107"/>
                <a:gd name="T20" fmla="*/ 2147483647 w 58"/>
                <a:gd name="T21" fmla="*/ 2147483647 h 107"/>
                <a:gd name="T22" fmla="*/ 2147483647 w 58"/>
                <a:gd name="T23" fmla="*/ 2147483647 h 107"/>
                <a:gd name="T24" fmla="*/ 2147483647 w 58"/>
                <a:gd name="T25" fmla="*/ 2147483647 h 107"/>
                <a:gd name="T26" fmla="*/ 2147483647 w 58"/>
                <a:gd name="T27" fmla="*/ 2147483647 h 107"/>
                <a:gd name="T28" fmla="*/ 2147483647 w 58"/>
                <a:gd name="T29" fmla="*/ 2147483647 h 107"/>
                <a:gd name="T30" fmla="*/ 2147483647 w 58"/>
                <a:gd name="T31" fmla="*/ 2147483647 h 107"/>
                <a:gd name="T32" fmla="*/ 2147483647 w 58"/>
                <a:gd name="T33" fmla="*/ 2147483647 h 10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8"/>
                <a:gd name="T52" fmla="*/ 0 h 107"/>
                <a:gd name="T53" fmla="*/ 58 w 58"/>
                <a:gd name="T54" fmla="*/ 107 h 10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8" h="107">
                  <a:moveTo>
                    <a:pt x="6" y="91"/>
                  </a:moveTo>
                  <a:cubicBezTo>
                    <a:pt x="6" y="85"/>
                    <a:pt x="0" y="81"/>
                    <a:pt x="3" y="76"/>
                  </a:cubicBezTo>
                  <a:cubicBezTo>
                    <a:pt x="7" y="72"/>
                    <a:pt x="13" y="67"/>
                    <a:pt x="13" y="61"/>
                  </a:cubicBezTo>
                  <a:cubicBezTo>
                    <a:pt x="13" y="54"/>
                    <a:pt x="6" y="47"/>
                    <a:pt x="8" y="42"/>
                  </a:cubicBezTo>
                  <a:cubicBezTo>
                    <a:pt x="10" y="37"/>
                    <a:pt x="11" y="33"/>
                    <a:pt x="14" y="32"/>
                  </a:cubicBezTo>
                  <a:cubicBezTo>
                    <a:pt x="16" y="31"/>
                    <a:pt x="25" y="32"/>
                    <a:pt x="31" y="25"/>
                  </a:cubicBezTo>
                  <a:cubicBezTo>
                    <a:pt x="36" y="18"/>
                    <a:pt x="39" y="12"/>
                    <a:pt x="39" y="10"/>
                  </a:cubicBezTo>
                  <a:cubicBezTo>
                    <a:pt x="40" y="8"/>
                    <a:pt x="45" y="9"/>
                    <a:pt x="45" y="6"/>
                  </a:cubicBezTo>
                  <a:cubicBezTo>
                    <a:pt x="46" y="4"/>
                    <a:pt x="49" y="0"/>
                    <a:pt x="49" y="0"/>
                  </a:cubicBezTo>
                  <a:cubicBezTo>
                    <a:pt x="52" y="1"/>
                    <a:pt x="55" y="5"/>
                    <a:pt x="55" y="9"/>
                  </a:cubicBezTo>
                  <a:cubicBezTo>
                    <a:pt x="55" y="13"/>
                    <a:pt x="58" y="21"/>
                    <a:pt x="56" y="26"/>
                  </a:cubicBezTo>
                  <a:cubicBezTo>
                    <a:pt x="54" y="30"/>
                    <a:pt x="50" y="28"/>
                    <a:pt x="50" y="32"/>
                  </a:cubicBezTo>
                  <a:cubicBezTo>
                    <a:pt x="50" y="36"/>
                    <a:pt x="53" y="39"/>
                    <a:pt x="49" y="45"/>
                  </a:cubicBezTo>
                  <a:cubicBezTo>
                    <a:pt x="46" y="51"/>
                    <a:pt x="35" y="97"/>
                    <a:pt x="33" y="100"/>
                  </a:cubicBezTo>
                  <a:cubicBezTo>
                    <a:pt x="31" y="103"/>
                    <a:pt x="26" y="107"/>
                    <a:pt x="22" y="107"/>
                  </a:cubicBezTo>
                  <a:cubicBezTo>
                    <a:pt x="18" y="107"/>
                    <a:pt x="11" y="103"/>
                    <a:pt x="11" y="103"/>
                  </a:cubicBezTo>
                  <a:cubicBezTo>
                    <a:pt x="8" y="100"/>
                    <a:pt x="5" y="97"/>
                    <a:pt x="6" y="9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88" name="Freeform 442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7107987" y="3348127"/>
              <a:ext cx="142010" cy="115034"/>
            </a:xfrm>
            <a:custGeom>
              <a:avLst/>
              <a:gdLst>
                <a:gd name="T0" fmla="*/ 2147483647 w 41"/>
                <a:gd name="T1" fmla="*/ 2147483647 h 31"/>
                <a:gd name="T2" fmla="*/ 2147483647 w 41"/>
                <a:gd name="T3" fmla="*/ 2147483647 h 31"/>
                <a:gd name="T4" fmla="*/ 2147483647 w 41"/>
                <a:gd name="T5" fmla="*/ 2147483647 h 31"/>
                <a:gd name="T6" fmla="*/ 2147483647 w 41"/>
                <a:gd name="T7" fmla="*/ 2147483647 h 31"/>
                <a:gd name="T8" fmla="*/ 2147483647 w 41"/>
                <a:gd name="T9" fmla="*/ 2147483647 h 31"/>
                <a:gd name="T10" fmla="*/ 2147483647 w 41"/>
                <a:gd name="T11" fmla="*/ 0 h 31"/>
                <a:gd name="T12" fmla="*/ 2147483647 w 41"/>
                <a:gd name="T13" fmla="*/ 2147483647 h 31"/>
                <a:gd name="T14" fmla="*/ 2147483647 w 41"/>
                <a:gd name="T15" fmla="*/ 2147483647 h 31"/>
                <a:gd name="T16" fmla="*/ 2147483647 w 41"/>
                <a:gd name="T17" fmla="*/ 2147483647 h 31"/>
                <a:gd name="T18" fmla="*/ 2147483647 w 41"/>
                <a:gd name="T19" fmla="*/ 2147483647 h 31"/>
                <a:gd name="T20" fmla="*/ 2147483647 w 41"/>
                <a:gd name="T21" fmla="*/ 2147483647 h 31"/>
                <a:gd name="T22" fmla="*/ 2147483647 w 41"/>
                <a:gd name="T23" fmla="*/ 2147483647 h 31"/>
                <a:gd name="T24" fmla="*/ 2147483647 w 41"/>
                <a:gd name="T25" fmla="*/ 2147483647 h 31"/>
                <a:gd name="T26" fmla="*/ 2147483647 w 41"/>
                <a:gd name="T27" fmla="*/ 2147483647 h 31"/>
                <a:gd name="T28" fmla="*/ 2147483647 w 41"/>
                <a:gd name="T29" fmla="*/ 2147483647 h 31"/>
                <a:gd name="T30" fmla="*/ 2147483647 w 41"/>
                <a:gd name="T31" fmla="*/ 2147483647 h 31"/>
                <a:gd name="T32" fmla="*/ 2147483647 w 41"/>
                <a:gd name="T33" fmla="*/ 2147483647 h 31"/>
                <a:gd name="T34" fmla="*/ 2147483647 w 41"/>
                <a:gd name="T35" fmla="*/ 2147483647 h 31"/>
                <a:gd name="T36" fmla="*/ 2147483647 w 41"/>
                <a:gd name="T37" fmla="*/ 2147483647 h 31"/>
                <a:gd name="T38" fmla="*/ 2147483647 w 41"/>
                <a:gd name="T39" fmla="*/ 2147483647 h 31"/>
                <a:gd name="T40" fmla="*/ 0 w 41"/>
                <a:gd name="T41" fmla="*/ 2147483647 h 31"/>
                <a:gd name="T42" fmla="*/ 2147483647 w 41"/>
                <a:gd name="T43" fmla="*/ 2147483647 h 3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1"/>
                <a:gd name="T67" fmla="*/ 0 h 31"/>
                <a:gd name="T68" fmla="*/ 41 w 41"/>
                <a:gd name="T69" fmla="*/ 31 h 3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1" h="31">
                  <a:moveTo>
                    <a:pt x="2" y="4"/>
                  </a:moveTo>
                  <a:cubicBezTo>
                    <a:pt x="4" y="3"/>
                    <a:pt x="8" y="7"/>
                    <a:pt x="11" y="7"/>
                  </a:cubicBezTo>
                  <a:cubicBezTo>
                    <a:pt x="13" y="7"/>
                    <a:pt x="13" y="2"/>
                    <a:pt x="13" y="2"/>
                  </a:cubicBezTo>
                  <a:cubicBezTo>
                    <a:pt x="15" y="4"/>
                    <a:pt x="18" y="6"/>
                    <a:pt x="19" y="6"/>
                  </a:cubicBezTo>
                  <a:cubicBezTo>
                    <a:pt x="21" y="6"/>
                    <a:pt x="22" y="5"/>
                    <a:pt x="23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8" y="0"/>
                    <a:pt x="28" y="1"/>
                    <a:pt x="29" y="1"/>
                  </a:cubicBezTo>
                  <a:cubicBezTo>
                    <a:pt x="31" y="4"/>
                    <a:pt x="32" y="6"/>
                    <a:pt x="33" y="9"/>
                  </a:cubicBezTo>
                  <a:cubicBezTo>
                    <a:pt x="34" y="11"/>
                    <a:pt x="41" y="11"/>
                    <a:pt x="41" y="13"/>
                  </a:cubicBezTo>
                  <a:cubicBezTo>
                    <a:pt x="41" y="15"/>
                    <a:pt x="38" y="15"/>
                    <a:pt x="35" y="16"/>
                  </a:cubicBezTo>
                  <a:cubicBezTo>
                    <a:pt x="32" y="16"/>
                    <a:pt x="33" y="20"/>
                    <a:pt x="33" y="22"/>
                  </a:cubicBezTo>
                  <a:cubicBezTo>
                    <a:pt x="33" y="24"/>
                    <a:pt x="31" y="25"/>
                    <a:pt x="29" y="26"/>
                  </a:cubicBezTo>
                  <a:cubicBezTo>
                    <a:pt x="29" y="26"/>
                    <a:pt x="29" y="29"/>
                    <a:pt x="29" y="31"/>
                  </a:cubicBezTo>
                  <a:cubicBezTo>
                    <a:pt x="27" y="31"/>
                    <a:pt x="22" y="27"/>
                    <a:pt x="22" y="27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4"/>
                    <a:pt x="2" y="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89" name="Freeform 443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7081232" y="3420023"/>
              <a:ext cx="516585" cy="455344"/>
            </a:xfrm>
            <a:custGeom>
              <a:avLst/>
              <a:gdLst>
                <a:gd name="T0" fmla="*/ 2147483647 w 147"/>
                <a:gd name="T1" fmla="*/ 2147483647 h 123"/>
                <a:gd name="T2" fmla="*/ 2147483647 w 147"/>
                <a:gd name="T3" fmla="*/ 2147483647 h 123"/>
                <a:gd name="T4" fmla="*/ 0 w 147"/>
                <a:gd name="T5" fmla="*/ 2147483647 h 123"/>
                <a:gd name="T6" fmla="*/ 2147483647 w 147"/>
                <a:gd name="T7" fmla="*/ 2147483647 h 123"/>
                <a:gd name="T8" fmla="*/ 2147483647 w 147"/>
                <a:gd name="T9" fmla="*/ 2147483647 h 123"/>
                <a:gd name="T10" fmla="*/ 2147483647 w 147"/>
                <a:gd name="T11" fmla="*/ 2147483647 h 123"/>
                <a:gd name="T12" fmla="*/ 2147483647 w 147"/>
                <a:gd name="T13" fmla="*/ 0 h 123"/>
                <a:gd name="T14" fmla="*/ 2147483647 w 147"/>
                <a:gd name="T15" fmla="*/ 2147483647 h 123"/>
                <a:gd name="T16" fmla="*/ 2147483647 w 147"/>
                <a:gd name="T17" fmla="*/ 2147483647 h 123"/>
                <a:gd name="T18" fmla="*/ 2147483647 w 147"/>
                <a:gd name="T19" fmla="*/ 2147483647 h 123"/>
                <a:gd name="T20" fmla="*/ 2147483647 w 147"/>
                <a:gd name="T21" fmla="*/ 2147483647 h 123"/>
                <a:gd name="T22" fmla="*/ 2147483647 w 147"/>
                <a:gd name="T23" fmla="*/ 2147483647 h 123"/>
                <a:gd name="T24" fmla="*/ 2147483647 w 147"/>
                <a:gd name="T25" fmla="*/ 2147483647 h 123"/>
                <a:gd name="T26" fmla="*/ 2147483647 w 147"/>
                <a:gd name="T27" fmla="*/ 2147483647 h 123"/>
                <a:gd name="T28" fmla="*/ 2147483647 w 147"/>
                <a:gd name="T29" fmla="*/ 2147483647 h 123"/>
                <a:gd name="T30" fmla="*/ 2147483647 w 147"/>
                <a:gd name="T31" fmla="*/ 2147483647 h 123"/>
                <a:gd name="T32" fmla="*/ 2147483647 w 147"/>
                <a:gd name="T33" fmla="*/ 2147483647 h 123"/>
                <a:gd name="T34" fmla="*/ 2147483647 w 147"/>
                <a:gd name="T35" fmla="*/ 2147483647 h 123"/>
                <a:gd name="T36" fmla="*/ 2147483647 w 147"/>
                <a:gd name="T37" fmla="*/ 2147483647 h 123"/>
                <a:gd name="T38" fmla="*/ 2147483647 w 147"/>
                <a:gd name="T39" fmla="*/ 2147483647 h 123"/>
                <a:gd name="T40" fmla="*/ 2147483647 w 147"/>
                <a:gd name="T41" fmla="*/ 2147483647 h 123"/>
                <a:gd name="T42" fmla="*/ 2147483647 w 147"/>
                <a:gd name="T43" fmla="*/ 2147483647 h 123"/>
                <a:gd name="T44" fmla="*/ 2147483647 w 147"/>
                <a:gd name="T45" fmla="*/ 2147483647 h 123"/>
                <a:gd name="T46" fmla="*/ 2147483647 w 147"/>
                <a:gd name="T47" fmla="*/ 2147483647 h 123"/>
                <a:gd name="T48" fmla="*/ 2147483647 w 147"/>
                <a:gd name="T49" fmla="*/ 2147483647 h 123"/>
                <a:gd name="T50" fmla="*/ 2147483647 w 147"/>
                <a:gd name="T51" fmla="*/ 2147483647 h 123"/>
                <a:gd name="T52" fmla="*/ 2147483647 w 147"/>
                <a:gd name="T53" fmla="*/ 2147483647 h 123"/>
                <a:gd name="T54" fmla="*/ 2147483647 w 147"/>
                <a:gd name="T55" fmla="*/ 2147483647 h 123"/>
                <a:gd name="T56" fmla="*/ 2147483647 w 147"/>
                <a:gd name="T57" fmla="*/ 2147483647 h 123"/>
                <a:gd name="T58" fmla="*/ 2147483647 w 147"/>
                <a:gd name="T59" fmla="*/ 2147483647 h 123"/>
                <a:gd name="T60" fmla="*/ 2147483647 w 147"/>
                <a:gd name="T61" fmla="*/ 2147483647 h 123"/>
                <a:gd name="T62" fmla="*/ 2147483647 w 147"/>
                <a:gd name="T63" fmla="*/ 2147483647 h 123"/>
                <a:gd name="T64" fmla="*/ 2147483647 w 147"/>
                <a:gd name="T65" fmla="*/ 2147483647 h 123"/>
                <a:gd name="T66" fmla="*/ 2147483647 w 147"/>
                <a:gd name="T67" fmla="*/ 2147483647 h 123"/>
                <a:gd name="T68" fmla="*/ 2147483647 w 147"/>
                <a:gd name="T69" fmla="*/ 2147483647 h 123"/>
                <a:gd name="T70" fmla="*/ 2147483647 w 147"/>
                <a:gd name="T71" fmla="*/ 2147483647 h 123"/>
                <a:gd name="T72" fmla="*/ 2147483647 w 147"/>
                <a:gd name="T73" fmla="*/ 2147483647 h 123"/>
                <a:gd name="T74" fmla="*/ 2147483647 w 147"/>
                <a:gd name="T75" fmla="*/ 2147483647 h 123"/>
                <a:gd name="T76" fmla="*/ 2147483647 w 147"/>
                <a:gd name="T77" fmla="*/ 2147483647 h 123"/>
                <a:gd name="T78" fmla="*/ 2147483647 w 147"/>
                <a:gd name="T79" fmla="*/ 2147483647 h 123"/>
                <a:gd name="T80" fmla="*/ 2147483647 w 147"/>
                <a:gd name="T81" fmla="*/ 2147483647 h 123"/>
                <a:gd name="T82" fmla="*/ 2147483647 w 147"/>
                <a:gd name="T83" fmla="*/ 2147483647 h 123"/>
                <a:gd name="T84" fmla="*/ 2147483647 w 147"/>
                <a:gd name="T85" fmla="*/ 2147483647 h 123"/>
                <a:gd name="T86" fmla="*/ 2147483647 w 147"/>
                <a:gd name="T87" fmla="*/ 2147483647 h 123"/>
                <a:gd name="T88" fmla="*/ 2147483647 w 147"/>
                <a:gd name="T89" fmla="*/ 2147483647 h 123"/>
                <a:gd name="T90" fmla="*/ 2147483647 w 147"/>
                <a:gd name="T91" fmla="*/ 2147483647 h 123"/>
                <a:gd name="T92" fmla="*/ 2147483647 w 147"/>
                <a:gd name="T93" fmla="*/ 2147483647 h 123"/>
                <a:gd name="T94" fmla="*/ 2147483647 w 147"/>
                <a:gd name="T95" fmla="*/ 2147483647 h 123"/>
                <a:gd name="T96" fmla="*/ 2147483647 w 147"/>
                <a:gd name="T97" fmla="*/ 2147483647 h 123"/>
                <a:gd name="T98" fmla="*/ 2147483647 w 147"/>
                <a:gd name="T99" fmla="*/ 2147483647 h 123"/>
                <a:gd name="T100" fmla="*/ 2147483647 w 147"/>
                <a:gd name="T101" fmla="*/ 2147483647 h 123"/>
                <a:gd name="T102" fmla="*/ 2147483647 w 147"/>
                <a:gd name="T103" fmla="*/ 2147483647 h 123"/>
                <a:gd name="T104" fmla="*/ 2147483647 w 147"/>
                <a:gd name="T105" fmla="*/ 2147483647 h 123"/>
                <a:gd name="T106" fmla="*/ 2147483647 w 147"/>
                <a:gd name="T107" fmla="*/ 2147483647 h 123"/>
                <a:gd name="T108" fmla="*/ 2147483647 w 147"/>
                <a:gd name="T109" fmla="*/ 2147483647 h 123"/>
                <a:gd name="T110" fmla="*/ 2147483647 w 147"/>
                <a:gd name="T111" fmla="*/ 2147483647 h 123"/>
                <a:gd name="T112" fmla="*/ 2147483647 w 147"/>
                <a:gd name="T113" fmla="*/ 2147483647 h 123"/>
                <a:gd name="T114" fmla="*/ 2147483647 w 147"/>
                <a:gd name="T115" fmla="*/ 2147483647 h 12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47"/>
                <a:gd name="T175" fmla="*/ 0 h 123"/>
                <a:gd name="T176" fmla="*/ 147 w 147"/>
                <a:gd name="T177" fmla="*/ 123 h 12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47" h="123">
                  <a:moveTo>
                    <a:pt x="5" y="23"/>
                  </a:moveTo>
                  <a:cubicBezTo>
                    <a:pt x="3" y="19"/>
                    <a:pt x="2" y="19"/>
                    <a:pt x="2" y="16"/>
                  </a:cubicBezTo>
                  <a:cubicBezTo>
                    <a:pt x="2" y="13"/>
                    <a:pt x="1" y="8"/>
                    <a:pt x="0" y="6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6" y="2"/>
                    <a:pt x="8" y="7"/>
                    <a:pt x="9" y="9"/>
                  </a:cubicBezTo>
                  <a:cubicBezTo>
                    <a:pt x="12" y="11"/>
                    <a:pt x="18" y="6"/>
                    <a:pt x="18" y="6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34" y="12"/>
                    <a:pt x="36" y="12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6" y="14"/>
                    <a:pt x="36" y="17"/>
                    <a:pt x="38" y="19"/>
                  </a:cubicBezTo>
                  <a:cubicBezTo>
                    <a:pt x="40" y="20"/>
                    <a:pt x="47" y="20"/>
                    <a:pt x="47" y="22"/>
                  </a:cubicBezTo>
                  <a:cubicBezTo>
                    <a:pt x="47" y="24"/>
                    <a:pt x="55" y="28"/>
                    <a:pt x="60" y="28"/>
                  </a:cubicBezTo>
                  <a:cubicBezTo>
                    <a:pt x="64" y="28"/>
                    <a:pt x="74" y="26"/>
                    <a:pt x="74" y="24"/>
                  </a:cubicBezTo>
                  <a:cubicBezTo>
                    <a:pt x="74" y="24"/>
                    <a:pt x="74" y="22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8" y="21"/>
                    <a:pt x="80" y="21"/>
                    <a:pt x="80" y="21"/>
                  </a:cubicBezTo>
                  <a:cubicBezTo>
                    <a:pt x="81" y="20"/>
                    <a:pt x="84" y="15"/>
                    <a:pt x="88" y="15"/>
                  </a:cubicBezTo>
                  <a:cubicBezTo>
                    <a:pt x="91" y="15"/>
                    <a:pt x="97" y="14"/>
                    <a:pt x="100" y="15"/>
                  </a:cubicBezTo>
                  <a:cubicBezTo>
                    <a:pt x="104" y="16"/>
                    <a:pt x="111" y="19"/>
                    <a:pt x="113" y="20"/>
                  </a:cubicBezTo>
                  <a:cubicBezTo>
                    <a:pt x="115" y="20"/>
                    <a:pt x="121" y="26"/>
                    <a:pt x="122" y="27"/>
                  </a:cubicBezTo>
                  <a:cubicBezTo>
                    <a:pt x="124" y="28"/>
                    <a:pt x="128" y="28"/>
                    <a:pt x="130" y="28"/>
                  </a:cubicBezTo>
                  <a:cubicBezTo>
                    <a:pt x="130" y="28"/>
                    <a:pt x="130" y="32"/>
                    <a:pt x="130" y="37"/>
                  </a:cubicBezTo>
                  <a:cubicBezTo>
                    <a:pt x="130" y="40"/>
                    <a:pt x="129" y="43"/>
                    <a:pt x="129" y="45"/>
                  </a:cubicBezTo>
                  <a:cubicBezTo>
                    <a:pt x="128" y="47"/>
                    <a:pt x="124" y="49"/>
                    <a:pt x="124" y="51"/>
                  </a:cubicBezTo>
                  <a:cubicBezTo>
                    <a:pt x="125" y="52"/>
                    <a:pt x="127" y="69"/>
                    <a:pt x="127" y="71"/>
                  </a:cubicBezTo>
                  <a:cubicBezTo>
                    <a:pt x="127" y="72"/>
                    <a:pt x="134" y="71"/>
                    <a:pt x="135" y="73"/>
                  </a:cubicBezTo>
                  <a:cubicBezTo>
                    <a:pt x="135" y="75"/>
                    <a:pt x="135" y="77"/>
                    <a:pt x="135" y="79"/>
                  </a:cubicBezTo>
                  <a:cubicBezTo>
                    <a:pt x="134" y="80"/>
                    <a:pt x="127" y="84"/>
                    <a:pt x="128" y="86"/>
                  </a:cubicBezTo>
                  <a:cubicBezTo>
                    <a:pt x="128" y="86"/>
                    <a:pt x="129" y="87"/>
                    <a:pt x="130" y="89"/>
                  </a:cubicBezTo>
                  <a:cubicBezTo>
                    <a:pt x="131" y="92"/>
                    <a:pt x="133" y="96"/>
                    <a:pt x="134" y="96"/>
                  </a:cubicBezTo>
                  <a:cubicBezTo>
                    <a:pt x="136" y="96"/>
                    <a:pt x="141" y="97"/>
                    <a:pt x="142" y="98"/>
                  </a:cubicBezTo>
                  <a:cubicBezTo>
                    <a:pt x="142" y="99"/>
                    <a:pt x="143" y="104"/>
                    <a:pt x="143" y="105"/>
                  </a:cubicBezTo>
                  <a:cubicBezTo>
                    <a:pt x="143" y="106"/>
                    <a:pt x="147" y="106"/>
                    <a:pt x="147" y="107"/>
                  </a:cubicBezTo>
                  <a:cubicBezTo>
                    <a:pt x="147" y="108"/>
                    <a:pt x="146" y="112"/>
                    <a:pt x="145" y="113"/>
                  </a:cubicBezTo>
                  <a:cubicBezTo>
                    <a:pt x="144" y="114"/>
                    <a:pt x="140" y="114"/>
                    <a:pt x="139" y="114"/>
                  </a:cubicBezTo>
                  <a:cubicBezTo>
                    <a:pt x="137" y="115"/>
                    <a:pt x="136" y="117"/>
                    <a:pt x="136" y="117"/>
                  </a:cubicBezTo>
                  <a:cubicBezTo>
                    <a:pt x="131" y="123"/>
                    <a:pt x="131" y="123"/>
                    <a:pt x="131" y="123"/>
                  </a:cubicBezTo>
                  <a:cubicBezTo>
                    <a:pt x="125" y="123"/>
                    <a:pt x="113" y="122"/>
                    <a:pt x="109" y="120"/>
                  </a:cubicBezTo>
                  <a:cubicBezTo>
                    <a:pt x="105" y="119"/>
                    <a:pt x="102" y="119"/>
                    <a:pt x="101" y="116"/>
                  </a:cubicBezTo>
                  <a:cubicBezTo>
                    <a:pt x="100" y="114"/>
                    <a:pt x="99" y="107"/>
                    <a:pt x="96" y="107"/>
                  </a:cubicBezTo>
                  <a:cubicBezTo>
                    <a:pt x="94" y="107"/>
                    <a:pt x="87" y="110"/>
                    <a:pt x="85" y="110"/>
                  </a:cubicBezTo>
                  <a:cubicBezTo>
                    <a:pt x="83" y="111"/>
                    <a:pt x="74" y="112"/>
                    <a:pt x="71" y="110"/>
                  </a:cubicBezTo>
                  <a:cubicBezTo>
                    <a:pt x="69" y="107"/>
                    <a:pt x="65" y="103"/>
                    <a:pt x="63" y="103"/>
                  </a:cubicBezTo>
                  <a:cubicBezTo>
                    <a:pt x="61" y="102"/>
                    <a:pt x="58" y="104"/>
                    <a:pt x="55" y="101"/>
                  </a:cubicBezTo>
                  <a:cubicBezTo>
                    <a:pt x="52" y="98"/>
                    <a:pt x="47" y="83"/>
                    <a:pt x="45" y="82"/>
                  </a:cubicBezTo>
                  <a:cubicBezTo>
                    <a:pt x="43" y="81"/>
                    <a:pt x="41" y="83"/>
                    <a:pt x="38" y="83"/>
                  </a:cubicBezTo>
                  <a:cubicBezTo>
                    <a:pt x="36" y="83"/>
                    <a:pt x="35" y="83"/>
                    <a:pt x="33" y="84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0"/>
                    <a:pt x="28" y="69"/>
                  </a:cubicBezTo>
                  <a:cubicBezTo>
                    <a:pt x="28" y="68"/>
                    <a:pt x="26" y="66"/>
                    <a:pt x="25" y="64"/>
                  </a:cubicBezTo>
                  <a:cubicBezTo>
                    <a:pt x="23" y="62"/>
                    <a:pt x="17" y="60"/>
                    <a:pt x="15" y="59"/>
                  </a:cubicBezTo>
                  <a:cubicBezTo>
                    <a:pt x="14" y="58"/>
                    <a:pt x="10" y="51"/>
                    <a:pt x="10" y="49"/>
                  </a:cubicBezTo>
                  <a:cubicBezTo>
                    <a:pt x="10" y="47"/>
                    <a:pt x="12" y="43"/>
                    <a:pt x="14" y="42"/>
                  </a:cubicBezTo>
                  <a:cubicBezTo>
                    <a:pt x="15" y="41"/>
                    <a:pt x="16" y="37"/>
                    <a:pt x="16" y="36"/>
                  </a:cubicBezTo>
                  <a:cubicBezTo>
                    <a:pt x="16" y="34"/>
                    <a:pt x="11" y="33"/>
                    <a:pt x="9" y="33"/>
                  </a:cubicBezTo>
                  <a:cubicBezTo>
                    <a:pt x="7" y="32"/>
                    <a:pt x="7" y="27"/>
                    <a:pt x="5" y="2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90" name="Freeform 444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7042128" y="4052711"/>
              <a:ext cx="277845" cy="194120"/>
            </a:xfrm>
            <a:custGeom>
              <a:avLst/>
              <a:gdLst>
                <a:gd name="T0" fmla="*/ 2147483647 w 79"/>
                <a:gd name="T1" fmla="*/ 2147483647 h 52"/>
                <a:gd name="T2" fmla="*/ 2147483647 w 79"/>
                <a:gd name="T3" fmla="*/ 2147483647 h 52"/>
                <a:gd name="T4" fmla="*/ 2147483647 w 79"/>
                <a:gd name="T5" fmla="*/ 2147483647 h 52"/>
                <a:gd name="T6" fmla="*/ 2147483647 w 79"/>
                <a:gd name="T7" fmla="*/ 2147483647 h 52"/>
                <a:gd name="T8" fmla="*/ 2147483647 w 79"/>
                <a:gd name="T9" fmla="*/ 0 h 52"/>
                <a:gd name="T10" fmla="*/ 2147483647 w 79"/>
                <a:gd name="T11" fmla="*/ 2147483647 h 52"/>
                <a:gd name="T12" fmla="*/ 2147483647 w 79"/>
                <a:gd name="T13" fmla="*/ 2147483647 h 52"/>
                <a:gd name="T14" fmla="*/ 2147483647 w 79"/>
                <a:gd name="T15" fmla="*/ 2147483647 h 52"/>
                <a:gd name="T16" fmla="*/ 2147483647 w 79"/>
                <a:gd name="T17" fmla="*/ 2147483647 h 52"/>
                <a:gd name="T18" fmla="*/ 2147483647 w 79"/>
                <a:gd name="T19" fmla="*/ 2147483647 h 52"/>
                <a:gd name="T20" fmla="*/ 2147483647 w 79"/>
                <a:gd name="T21" fmla="*/ 2147483647 h 52"/>
                <a:gd name="T22" fmla="*/ 2147483647 w 79"/>
                <a:gd name="T23" fmla="*/ 2147483647 h 52"/>
                <a:gd name="T24" fmla="*/ 2147483647 w 79"/>
                <a:gd name="T25" fmla="*/ 2147483647 h 52"/>
                <a:gd name="T26" fmla="*/ 0 w 79"/>
                <a:gd name="T27" fmla="*/ 2147483647 h 52"/>
                <a:gd name="T28" fmla="*/ 2147483647 w 79"/>
                <a:gd name="T29" fmla="*/ 2147483647 h 5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79"/>
                <a:gd name="T46" fmla="*/ 0 h 52"/>
                <a:gd name="T47" fmla="*/ 79 w 79"/>
                <a:gd name="T48" fmla="*/ 52 h 5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79" h="52">
                  <a:moveTo>
                    <a:pt x="4" y="20"/>
                  </a:moveTo>
                  <a:cubicBezTo>
                    <a:pt x="5" y="19"/>
                    <a:pt x="4" y="13"/>
                    <a:pt x="6" y="13"/>
                  </a:cubicBezTo>
                  <a:cubicBezTo>
                    <a:pt x="8" y="12"/>
                    <a:pt x="29" y="24"/>
                    <a:pt x="29" y="24"/>
                  </a:cubicBezTo>
                  <a:cubicBezTo>
                    <a:pt x="30" y="24"/>
                    <a:pt x="46" y="8"/>
                    <a:pt x="46" y="8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6" y="20"/>
                    <a:pt x="74" y="21"/>
                    <a:pt x="73" y="22"/>
                  </a:cubicBezTo>
                  <a:cubicBezTo>
                    <a:pt x="72" y="24"/>
                    <a:pt x="73" y="28"/>
                    <a:pt x="73" y="29"/>
                  </a:cubicBezTo>
                  <a:cubicBezTo>
                    <a:pt x="73" y="29"/>
                    <a:pt x="52" y="36"/>
                    <a:pt x="49" y="37"/>
                  </a:cubicBezTo>
                  <a:cubicBezTo>
                    <a:pt x="46" y="39"/>
                    <a:pt x="38" y="43"/>
                    <a:pt x="35" y="44"/>
                  </a:cubicBezTo>
                  <a:cubicBezTo>
                    <a:pt x="31" y="45"/>
                    <a:pt x="26" y="45"/>
                    <a:pt x="24" y="46"/>
                  </a:cubicBezTo>
                  <a:cubicBezTo>
                    <a:pt x="21" y="47"/>
                    <a:pt x="9" y="52"/>
                    <a:pt x="7" y="50"/>
                  </a:cubicBezTo>
                  <a:cubicBezTo>
                    <a:pt x="6" y="47"/>
                    <a:pt x="3" y="37"/>
                    <a:pt x="3" y="34"/>
                  </a:cubicBezTo>
                  <a:cubicBezTo>
                    <a:pt x="3" y="31"/>
                    <a:pt x="2" y="26"/>
                    <a:pt x="0" y="22"/>
                  </a:cubicBezTo>
                  <a:cubicBezTo>
                    <a:pt x="0" y="22"/>
                    <a:pt x="3" y="21"/>
                    <a:pt x="4" y="2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91" name="Freeform 445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7064767" y="3367299"/>
              <a:ext cx="80266" cy="93465"/>
            </a:xfrm>
            <a:custGeom>
              <a:avLst/>
              <a:gdLst>
                <a:gd name="T0" fmla="*/ 2147483647 w 23"/>
                <a:gd name="T1" fmla="*/ 2147483647 h 25"/>
                <a:gd name="T2" fmla="*/ 2147483647 w 23"/>
                <a:gd name="T3" fmla="*/ 2147483647 h 25"/>
                <a:gd name="T4" fmla="*/ 0 w 23"/>
                <a:gd name="T5" fmla="*/ 2147483647 h 25"/>
                <a:gd name="T6" fmla="*/ 2147483647 w 23"/>
                <a:gd name="T7" fmla="*/ 0 h 25"/>
                <a:gd name="T8" fmla="*/ 2147483647 w 23"/>
                <a:gd name="T9" fmla="*/ 2147483647 h 25"/>
                <a:gd name="T10" fmla="*/ 2147483647 w 23"/>
                <a:gd name="T11" fmla="*/ 2147483647 h 25"/>
                <a:gd name="T12" fmla="*/ 2147483647 w 23"/>
                <a:gd name="T13" fmla="*/ 2147483647 h 25"/>
                <a:gd name="T14" fmla="*/ 2147483647 w 23"/>
                <a:gd name="T15" fmla="*/ 2147483647 h 25"/>
                <a:gd name="T16" fmla="*/ 2147483647 w 23"/>
                <a:gd name="T17" fmla="*/ 2147483647 h 25"/>
                <a:gd name="T18" fmla="*/ 2147483647 w 23"/>
                <a:gd name="T19" fmla="*/ 214748364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"/>
                <a:gd name="T31" fmla="*/ 0 h 25"/>
                <a:gd name="T32" fmla="*/ 23 w 23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" h="25">
                  <a:moveTo>
                    <a:pt x="8" y="15"/>
                  </a:moveTo>
                  <a:cubicBezTo>
                    <a:pt x="5" y="13"/>
                    <a:pt x="1" y="13"/>
                    <a:pt x="1" y="1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" y="3"/>
                    <a:pt x="8" y="1"/>
                    <a:pt x="12" y="0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17" y="25"/>
                    <a:pt x="14" y="23"/>
                  </a:cubicBezTo>
                  <a:cubicBezTo>
                    <a:pt x="13" y="21"/>
                    <a:pt x="11" y="16"/>
                    <a:pt x="8" y="1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92" name="Freeform 446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6994791" y="4258814"/>
              <a:ext cx="281961" cy="385844"/>
            </a:xfrm>
            <a:custGeom>
              <a:avLst/>
              <a:gdLst>
                <a:gd name="T0" fmla="*/ 0 w 80"/>
                <a:gd name="T1" fmla="*/ 2147483647 h 104"/>
                <a:gd name="T2" fmla="*/ 0 w 80"/>
                <a:gd name="T3" fmla="*/ 2147483647 h 104"/>
                <a:gd name="T4" fmla="*/ 2147483647 w 80"/>
                <a:gd name="T5" fmla="*/ 2147483647 h 104"/>
                <a:gd name="T6" fmla="*/ 2147483647 w 80"/>
                <a:gd name="T7" fmla="*/ 2147483647 h 104"/>
                <a:gd name="T8" fmla="*/ 2147483647 w 80"/>
                <a:gd name="T9" fmla="*/ 2147483647 h 104"/>
                <a:gd name="T10" fmla="*/ 2147483647 w 80"/>
                <a:gd name="T11" fmla="*/ 2147483647 h 104"/>
                <a:gd name="T12" fmla="*/ 2147483647 w 80"/>
                <a:gd name="T13" fmla="*/ 2147483647 h 104"/>
                <a:gd name="T14" fmla="*/ 2147483647 w 80"/>
                <a:gd name="T15" fmla="*/ 2147483647 h 104"/>
                <a:gd name="T16" fmla="*/ 2147483647 w 80"/>
                <a:gd name="T17" fmla="*/ 2147483647 h 104"/>
                <a:gd name="T18" fmla="*/ 2147483647 w 80"/>
                <a:gd name="T19" fmla="*/ 2147483647 h 104"/>
                <a:gd name="T20" fmla="*/ 2147483647 w 80"/>
                <a:gd name="T21" fmla="*/ 2147483647 h 104"/>
                <a:gd name="T22" fmla="*/ 2147483647 w 80"/>
                <a:gd name="T23" fmla="*/ 2147483647 h 104"/>
                <a:gd name="T24" fmla="*/ 2147483647 w 80"/>
                <a:gd name="T25" fmla="*/ 2147483647 h 104"/>
                <a:gd name="T26" fmla="*/ 2147483647 w 80"/>
                <a:gd name="T27" fmla="*/ 2147483647 h 104"/>
                <a:gd name="T28" fmla="*/ 2147483647 w 80"/>
                <a:gd name="T29" fmla="*/ 2147483647 h 104"/>
                <a:gd name="T30" fmla="*/ 2147483647 w 80"/>
                <a:gd name="T31" fmla="*/ 2147483647 h 104"/>
                <a:gd name="T32" fmla="*/ 2147483647 w 80"/>
                <a:gd name="T33" fmla="*/ 0 h 104"/>
                <a:gd name="T34" fmla="*/ 2147483647 w 80"/>
                <a:gd name="T35" fmla="*/ 2147483647 h 104"/>
                <a:gd name="T36" fmla="*/ 2147483647 w 80"/>
                <a:gd name="T37" fmla="*/ 2147483647 h 104"/>
                <a:gd name="T38" fmla="*/ 2147483647 w 80"/>
                <a:gd name="T39" fmla="*/ 2147483647 h 104"/>
                <a:gd name="T40" fmla="*/ 2147483647 w 80"/>
                <a:gd name="T41" fmla="*/ 2147483647 h 104"/>
                <a:gd name="T42" fmla="*/ 2147483647 w 80"/>
                <a:gd name="T43" fmla="*/ 2147483647 h 104"/>
                <a:gd name="T44" fmla="*/ 2147483647 w 80"/>
                <a:gd name="T45" fmla="*/ 2147483647 h 104"/>
                <a:gd name="T46" fmla="*/ 2147483647 w 80"/>
                <a:gd name="T47" fmla="*/ 2147483647 h 104"/>
                <a:gd name="T48" fmla="*/ 2147483647 w 80"/>
                <a:gd name="T49" fmla="*/ 2147483647 h 104"/>
                <a:gd name="T50" fmla="*/ 0 w 80"/>
                <a:gd name="T51" fmla="*/ 2147483647 h 10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0"/>
                <a:gd name="T79" fmla="*/ 0 h 104"/>
                <a:gd name="T80" fmla="*/ 80 w 80"/>
                <a:gd name="T81" fmla="*/ 104 h 10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0" h="104">
                  <a:moveTo>
                    <a:pt x="0" y="99"/>
                  </a:moveTo>
                  <a:cubicBezTo>
                    <a:pt x="0" y="71"/>
                    <a:pt x="0" y="71"/>
                    <a:pt x="0" y="71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7" y="62"/>
                    <a:pt x="9" y="62"/>
                    <a:pt x="9" y="61"/>
                  </a:cubicBezTo>
                  <a:cubicBezTo>
                    <a:pt x="10" y="61"/>
                    <a:pt x="17" y="57"/>
                    <a:pt x="20" y="56"/>
                  </a:cubicBezTo>
                  <a:cubicBezTo>
                    <a:pt x="23" y="55"/>
                    <a:pt x="30" y="56"/>
                    <a:pt x="31" y="55"/>
                  </a:cubicBezTo>
                  <a:cubicBezTo>
                    <a:pt x="33" y="54"/>
                    <a:pt x="53" y="32"/>
                    <a:pt x="54" y="32"/>
                  </a:cubicBezTo>
                  <a:cubicBezTo>
                    <a:pt x="55" y="31"/>
                    <a:pt x="31" y="29"/>
                    <a:pt x="25" y="24"/>
                  </a:cubicBezTo>
                  <a:cubicBezTo>
                    <a:pt x="19" y="20"/>
                    <a:pt x="13" y="16"/>
                    <a:pt x="13" y="13"/>
                  </a:cubicBezTo>
                  <a:cubicBezTo>
                    <a:pt x="13" y="11"/>
                    <a:pt x="15" y="10"/>
                    <a:pt x="15" y="9"/>
                  </a:cubicBezTo>
                  <a:cubicBezTo>
                    <a:pt x="15" y="7"/>
                    <a:pt x="19" y="6"/>
                    <a:pt x="19" y="6"/>
                  </a:cubicBezTo>
                  <a:cubicBezTo>
                    <a:pt x="22" y="9"/>
                    <a:pt x="23" y="13"/>
                    <a:pt x="28" y="13"/>
                  </a:cubicBezTo>
                  <a:cubicBezTo>
                    <a:pt x="32" y="13"/>
                    <a:pt x="36" y="9"/>
                    <a:pt x="38" y="9"/>
                  </a:cubicBezTo>
                  <a:cubicBezTo>
                    <a:pt x="41" y="9"/>
                    <a:pt x="50" y="9"/>
                    <a:pt x="54" y="7"/>
                  </a:cubicBezTo>
                  <a:cubicBezTo>
                    <a:pt x="57" y="6"/>
                    <a:pt x="69" y="5"/>
                    <a:pt x="71" y="3"/>
                  </a:cubicBezTo>
                  <a:cubicBezTo>
                    <a:pt x="73" y="1"/>
                    <a:pt x="74" y="0"/>
                    <a:pt x="75" y="0"/>
                  </a:cubicBezTo>
                  <a:cubicBezTo>
                    <a:pt x="76" y="0"/>
                    <a:pt x="80" y="0"/>
                    <a:pt x="80" y="1"/>
                  </a:cubicBezTo>
                  <a:cubicBezTo>
                    <a:pt x="80" y="2"/>
                    <a:pt x="78" y="9"/>
                    <a:pt x="78" y="11"/>
                  </a:cubicBezTo>
                  <a:cubicBezTo>
                    <a:pt x="78" y="12"/>
                    <a:pt x="77" y="20"/>
                    <a:pt x="76" y="22"/>
                  </a:cubicBezTo>
                  <a:cubicBezTo>
                    <a:pt x="74" y="24"/>
                    <a:pt x="66" y="37"/>
                    <a:pt x="65" y="40"/>
                  </a:cubicBezTo>
                  <a:cubicBezTo>
                    <a:pt x="64" y="43"/>
                    <a:pt x="57" y="56"/>
                    <a:pt x="52" y="61"/>
                  </a:cubicBezTo>
                  <a:cubicBezTo>
                    <a:pt x="47" y="66"/>
                    <a:pt x="39" y="74"/>
                    <a:pt x="32" y="78"/>
                  </a:cubicBezTo>
                  <a:cubicBezTo>
                    <a:pt x="26" y="82"/>
                    <a:pt x="18" y="90"/>
                    <a:pt x="11" y="96"/>
                  </a:cubicBezTo>
                  <a:cubicBezTo>
                    <a:pt x="9" y="99"/>
                    <a:pt x="6" y="101"/>
                    <a:pt x="4" y="104"/>
                  </a:cubicBezTo>
                  <a:lnTo>
                    <a:pt x="0" y="99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93" name="Freeform 447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6970094" y="3281024"/>
              <a:ext cx="183172" cy="95862"/>
            </a:xfrm>
            <a:custGeom>
              <a:avLst/>
              <a:gdLst>
                <a:gd name="T0" fmla="*/ 0 w 52"/>
                <a:gd name="T1" fmla="*/ 2147483647 h 26"/>
                <a:gd name="T2" fmla="*/ 2147483647 w 52"/>
                <a:gd name="T3" fmla="*/ 0 h 26"/>
                <a:gd name="T4" fmla="*/ 2147483647 w 52"/>
                <a:gd name="T5" fmla="*/ 2147483647 h 26"/>
                <a:gd name="T6" fmla="*/ 2147483647 w 52"/>
                <a:gd name="T7" fmla="*/ 2147483647 h 26"/>
                <a:gd name="T8" fmla="*/ 2147483647 w 52"/>
                <a:gd name="T9" fmla="*/ 2147483647 h 26"/>
                <a:gd name="T10" fmla="*/ 2147483647 w 52"/>
                <a:gd name="T11" fmla="*/ 2147483647 h 26"/>
                <a:gd name="T12" fmla="*/ 2147483647 w 52"/>
                <a:gd name="T13" fmla="*/ 2147483647 h 26"/>
                <a:gd name="T14" fmla="*/ 2147483647 w 52"/>
                <a:gd name="T15" fmla="*/ 2147483647 h 26"/>
                <a:gd name="T16" fmla="*/ 2147483647 w 52"/>
                <a:gd name="T17" fmla="*/ 2147483647 h 26"/>
                <a:gd name="T18" fmla="*/ 2147483647 w 52"/>
                <a:gd name="T19" fmla="*/ 2147483647 h 26"/>
                <a:gd name="T20" fmla="*/ 2147483647 w 52"/>
                <a:gd name="T21" fmla="*/ 2147483647 h 26"/>
                <a:gd name="T22" fmla="*/ 2147483647 w 52"/>
                <a:gd name="T23" fmla="*/ 2147483647 h 26"/>
                <a:gd name="T24" fmla="*/ 2147483647 w 52"/>
                <a:gd name="T25" fmla="*/ 2147483647 h 26"/>
                <a:gd name="T26" fmla="*/ 2147483647 w 52"/>
                <a:gd name="T27" fmla="*/ 2147483647 h 26"/>
                <a:gd name="T28" fmla="*/ 2147483647 w 52"/>
                <a:gd name="T29" fmla="*/ 2147483647 h 26"/>
                <a:gd name="T30" fmla="*/ 2147483647 w 52"/>
                <a:gd name="T31" fmla="*/ 2147483647 h 26"/>
                <a:gd name="T32" fmla="*/ 0 w 52"/>
                <a:gd name="T33" fmla="*/ 2147483647 h 2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2"/>
                <a:gd name="T52" fmla="*/ 0 h 26"/>
                <a:gd name="T53" fmla="*/ 52 w 52"/>
                <a:gd name="T54" fmla="*/ 26 h 2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2" h="26">
                  <a:moveTo>
                    <a:pt x="0" y="5"/>
                  </a:moveTo>
                  <a:cubicBezTo>
                    <a:pt x="0" y="5"/>
                    <a:pt x="2" y="0"/>
                    <a:pt x="3" y="0"/>
                  </a:cubicBezTo>
                  <a:cubicBezTo>
                    <a:pt x="4" y="0"/>
                    <a:pt x="14" y="2"/>
                    <a:pt x="16" y="3"/>
                  </a:cubicBezTo>
                  <a:cubicBezTo>
                    <a:pt x="18" y="4"/>
                    <a:pt x="24" y="6"/>
                    <a:pt x="26" y="8"/>
                  </a:cubicBezTo>
                  <a:cubicBezTo>
                    <a:pt x="28" y="10"/>
                    <a:pt x="29" y="11"/>
                    <a:pt x="32" y="11"/>
                  </a:cubicBezTo>
                  <a:cubicBezTo>
                    <a:pt x="35" y="10"/>
                    <a:pt x="37" y="10"/>
                    <a:pt x="39" y="10"/>
                  </a:cubicBezTo>
                  <a:cubicBezTo>
                    <a:pt x="41" y="11"/>
                    <a:pt x="48" y="17"/>
                    <a:pt x="49" y="18"/>
                  </a:cubicBezTo>
                  <a:cubicBezTo>
                    <a:pt x="50" y="18"/>
                    <a:pt x="51" y="19"/>
                    <a:pt x="52" y="20"/>
                  </a:cubicBezTo>
                  <a:cubicBezTo>
                    <a:pt x="52" y="20"/>
                    <a:pt x="52" y="25"/>
                    <a:pt x="50" y="25"/>
                  </a:cubicBezTo>
                  <a:cubicBezTo>
                    <a:pt x="47" y="25"/>
                    <a:pt x="43" y="21"/>
                    <a:pt x="41" y="22"/>
                  </a:cubicBezTo>
                  <a:cubicBezTo>
                    <a:pt x="40" y="22"/>
                    <a:pt x="40" y="23"/>
                    <a:pt x="39" y="23"/>
                  </a:cubicBezTo>
                  <a:cubicBezTo>
                    <a:pt x="35" y="24"/>
                    <a:pt x="30" y="26"/>
                    <a:pt x="27" y="25"/>
                  </a:cubicBezTo>
                  <a:cubicBezTo>
                    <a:pt x="24" y="24"/>
                    <a:pt x="23" y="21"/>
                    <a:pt x="21" y="21"/>
                  </a:cubicBezTo>
                  <a:cubicBezTo>
                    <a:pt x="20" y="21"/>
                    <a:pt x="13" y="20"/>
                    <a:pt x="13" y="20"/>
                  </a:cubicBezTo>
                  <a:cubicBezTo>
                    <a:pt x="13" y="19"/>
                    <a:pt x="13" y="19"/>
                    <a:pt x="13" y="18"/>
                  </a:cubicBezTo>
                  <a:cubicBezTo>
                    <a:pt x="13" y="15"/>
                    <a:pt x="12" y="12"/>
                    <a:pt x="10" y="10"/>
                  </a:cubicBezTo>
                  <a:cubicBezTo>
                    <a:pt x="8" y="8"/>
                    <a:pt x="3" y="6"/>
                    <a:pt x="0" y="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94" name="Freeform 448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6935106" y="3499109"/>
              <a:ext cx="263438" cy="254034"/>
            </a:xfrm>
            <a:custGeom>
              <a:avLst/>
              <a:gdLst>
                <a:gd name="T0" fmla="*/ 2147483647 w 75"/>
                <a:gd name="T1" fmla="*/ 2147483647 h 69"/>
                <a:gd name="T2" fmla="*/ 2147483647 w 75"/>
                <a:gd name="T3" fmla="*/ 2147483647 h 69"/>
                <a:gd name="T4" fmla="*/ 2147483647 w 75"/>
                <a:gd name="T5" fmla="*/ 2147483647 h 69"/>
                <a:gd name="T6" fmla="*/ 0 w 75"/>
                <a:gd name="T7" fmla="*/ 2147483647 h 69"/>
                <a:gd name="T8" fmla="*/ 2147483647 w 75"/>
                <a:gd name="T9" fmla="*/ 2147483647 h 69"/>
                <a:gd name="T10" fmla="*/ 2147483647 w 75"/>
                <a:gd name="T11" fmla="*/ 2147483647 h 69"/>
                <a:gd name="T12" fmla="*/ 2147483647 w 75"/>
                <a:gd name="T13" fmla="*/ 2147483647 h 69"/>
                <a:gd name="T14" fmla="*/ 2147483647 w 75"/>
                <a:gd name="T15" fmla="*/ 2147483647 h 69"/>
                <a:gd name="T16" fmla="*/ 2147483647 w 75"/>
                <a:gd name="T17" fmla="*/ 0 h 69"/>
                <a:gd name="T18" fmla="*/ 2147483647 w 75"/>
                <a:gd name="T19" fmla="*/ 2147483647 h 69"/>
                <a:gd name="T20" fmla="*/ 2147483647 w 75"/>
                <a:gd name="T21" fmla="*/ 2147483647 h 69"/>
                <a:gd name="T22" fmla="*/ 2147483647 w 75"/>
                <a:gd name="T23" fmla="*/ 2147483647 h 69"/>
                <a:gd name="T24" fmla="*/ 2147483647 w 75"/>
                <a:gd name="T25" fmla="*/ 2147483647 h 69"/>
                <a:gd name="T26" fmla="*/ 2147483647 w 75"/>
                <a:gd name="T27" fmla="*/ 2147483647 h 69"/>
                <a:gd name="T28" fmla="*/ 2147483647 w 75"/>
                <a:gd name="T29" fmla="*/ 2147483647 h 69"/>
                <a:gd name="T30" fmla="*/ 2147483647 w 75"/>
                <a:gd name="T31" fmla="*/ 2147483647 h 69"/>
                <a:gd name="T32" fmla="*/ 2147483647 w 75"/>
                <a:gd name="T33" fmla="*/ 2147483647 h 69"/>
                <a:gd name="T34" fmla="*/ 2147483647 w 75"/>
                <a:gd name="T35" fmla="*/ 2147483647 h 69"/>
                <a:gd name="T36" fmla="*/ 2147483647 w 75"/>
                <a:gd name="T37" fmla="*/ 2147483647 h 69"/>
                <a:gd name="T38" fmla="*/ 2147483647 w 75"/>
                <a:gd name="T39" fmla="*/ 2147483647 h 69"/>
                <a:gd name="T40" fmla="*/ 2147483647 w 75"/>
                <a:gd name="T41" fmla="*/ 2147483647 h 69"/>
                <a:gd name="T42" fmla="*/ 2147483647 w 75"/>
                <a:gd name="T43" fmla="*/ 2147483647 h 69"/>
                <a:gd name="T44" fmla="*/ 2147483647 w 75"/>
                <a:gd name="T45" fmla="*/ 2147483647 h 69"/>
                <a:gd name="T46" fmla="*/ 2147483647 w 75"/>
                <a:gd name="T47" fmla="*/ 2147483647 h 69"/>
                <a:gd name="T48" fmla="*/ 2147483647 w 75"/>
                <a:gd name="T49" fmla="*/ 2147483647 h 6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5"/>
                <a:gd name="T76" fmla="*/ 0 h 69"/>
                <a:gd name="T77" fmla="*/ 75 w 75"/>
                <a:gd name="T78" fmla="*/ 69 h 6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5" h="69">
                  <a:moveTo>
                    <a:pt x="13" y="46"/>
                  </a:moveTo>
                  <a:cubicBezTo>
                    <a:pt x="12" y="45"/>
                    <a:pt x="4" y="44"/>
                    <a:pt x="4" y="44"/>
                  </a:cubicBezTo>
                  <a:cubicBezTo>
                    <a:pt x="4" y="44"/>
                    <a:pt x="4" y="44"/>
                    <a:pt x="3" y="4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6" y="25"/>
                    <a:pt x="18" y="24"/>
                    <a:pt x="18" y="21"/>
                  </a:cubicBezTo>
                  <a:cubicBezTo>
                    <a:pt x="19" y="19"/>
                    <a:pt x="19" y="10"/>
                    <a:pt x="20" y="9"/>
                  </a:cubicBezTo>
                  <a:cubicBezTo>
                    <a:pt x="22" y="8"/>
                    <a:pt x="25" y="4"/>
                    <a:pt x="28" y="2"/>
                  </a:cubicBezTo>
                  <a:cubicBezTo>
                    <a:pt x="30" y="1"/>
                    <a:pt x="31" y="0"/>
                    <a:pt x="32" y="0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9" y="5"/>
                    <a:pt x="49" y="10"/>
                    <a:pt x="51" y="11"/>
                  </a:cubicBezTo>
                  <a:cubicBezTo>
                    <a:pt x="53" y="11"/>
                    <a:pt x="58" y="12"/>
                    <a:pt x="58" y="14"/>
                  </a:cubicBezTo>
                  <a:cubicBezTo>
                    <a:pt x="58" y="15"/>
                    <a:pt x="57" y="19"/>
                    <a:pt x="56" y="20"/>
                  </a:cubicBezTo>
                  <a:cubicBezTo>
                    <a:pt x="54" y="21"/>
                    <a:pt x="52" y="25"/>
                    <a:pt x="52" y="27"/>
                  </a:cubicBezTo>
                  <a:cubicBezTo>
                    <a:pt x="52" y="29"/>
                    <a:pt x="56" y="36"/>
                    <a:pt x="57" y="37"/>
                  </a:cubicBezTo>
                  <a:cubicBezTo>
                    <a:pt x="59" y="38"/>
                    <a:pt x="65" y="40"/>
                    <a:pt x="67" y="42"/>
                  </a:cubicBezTo>
                  <a:cubicBezTo>
                    <a:pt x="68" y="44"/>
                    <a:pt x="70" y="46"/>
                    <a:pt x="70" y="47"/>
                  </a:cubicBezTo>
                  <a:cubicBezTo>
                    <a:pt x="70" y="48"/>
                    <a:pt x="70" y="54"/>
                    <a:pt x="70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4" y="62"/>
                    <a:pt x="73" y="63"/>
                    <a:pt x="72" y="63"/>
                  </a:cubicBezTo>
                  <a:cubicBezTo>
                    <a:pt x="72" y="63"/>
                    <a:pt x="68" y="61"/>
                    <a:pt x="65" y="62"/>
                  </a:cubicBezTo>
                  <a:cubicBezTo>
                    <a:pt x="62" y="62"/>
                    <a:pt x="60" y="68"/>
                    <a:pt x="58" y="69"/>
                  </a:cubicBezTo>
                  <a:cubicBezTo>
                    <a:pt x="44" y="68"/>
                    <a:pt x="44" y="68"/>
                    <a:pt x="44" y="68"/>
                  </a:cubicBezTo>
                  <a:lnTo>
                    <a:pt x="13" y="46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95" name="Freeform 449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6774573" y="4194108"/>
              <a:ext cx="411622" cy="311551"/>
            </a:xfrm>
            <a:custGeom>
              <a:avLst/>
              <a:gdLst>
                <a:gd name="T0" fmla="*/ 2147483647 w 118"/>
                <a:gd name="T1" fmla="*/ 2147483647 h 84"/>
                <a:gd name="T2" fmla="*/ 2147483647 w 118"/>
                <a:gd name="T3" fmla="*/ 2147483647 h 84"/>
                <a:gd name="T4" fmla="*/ 2147483647 w 118"/>
                <a:gd name="T5" fmla="*/ 2147483647 h 84"/>
                <a:gd name="T6" fmla="*/ 2147483647 w 118"/>
                <a:gd name="T7" fmla="*/ 2147483647 h 84"/>
                <a:gd name="T8" fmla="*/ 2147483647 w 118"/>
                <a:gd name="T9" fmla="*/ 2147483647 h 84"/>
                <a:gd name="T10" fmla="*/ 2147483647 w 118"/>
                <a:gd name="T11" fmla="*/ 2147483647 h 84"/>
                <a:gd name="T12" fmla="*/ 2147483647 w 118"/>
                <a:gd name="T13" fmla="*/ 2147483647 h 84"/>
                <a:gd name="T14" fmla="*/ 2147483647 w 118"/>
                <a:gd name="T15" fmla="*/ 2147483647 h 84"/>
                <a:gd name="T16" fmla="*/ 2147483647 w 118"/>
                <a:gd name="T17" fmla="*/ 2147483647 h 84"/>
                <a:gd name="T18" fmla="*/ 2147483647 w 118"/>
                <a:gd name="T19" fmla="*/ 2147483647 h 84"/>
                <a:gd name="T20" fmla="*/ 2147483647 w 118"/>
                <a:gd name="T21" fmla="*/ 2147483647 h 84"/>
                <a:gd name="T22" fmla="*/ 2147483647 w 118"/>
                <a:gd name="T23" fmla="*/ 0 h 84"/>
                <a:gd name="T24" fmla="*/ 2147483647 w 118"/>
                <a:gd name="T25" fmla="*/ 2147483647 h 84"/>
                <a:gd name="T26" fmla="*/ 2147483647 w 118"/>
                <a:gd name="T27" fmla="*/ 2147483647 h 84"/>
                <a:gd name="T28" fmla="*/ 2147483647 w 118"/>
                <a:gd name="T29" fmla="*/ 2147483647 h 84"/>
                <a:gd name="T30" fmla="*/ 2147483647 w 118"/>
                <a:gd name="T31" fmla="*/ 2147483647 h 84"/>
                <a:gd name="T32" fmla="*/ 2147483647 w 118"/>
                <a:gd name="T33" fmla="*/ 2147483647 h 84"/>
                <a:gd name="T34" fmla="*/ 2147483647 w 118"/>
                <a:gd name="T35" fmla="*/ 2147483647 h 84"/>
                <a:gd name="T36" fmla="*/ 2147483647 w 118"/>
                <a:gd name="T37" fmla="*/ 2147483647 h 84"/>
                <a:gd name="T38" fmla="*/ 2147483647 w 118"/>
                <a:gd name="T39" fmla="*/ 2147483647 h 84"/>
                <a:gd name="T40" fmla="*/ 2147483647 w 118"/>
                <a:gd name="T41" fmla="*/ 2147483647 h 84"/>
                <a:gd name="T42" fmla="*/ 2147483647 w 118"/>
                <a:gd name="T43" fmla="*/ 2147483647 h 84"/>
                <a:gd name="T44" fmla="*/ 2147483647 w 118"/>
                <a:gd name="T45" fmla="*/ 2147483647 h 84"/>
                <a:gd name="T46" fmla="*/ 2147483647 w 118"/>
                <a:gd name="T47" fmla="*/ 2147483647 h 84"/>
                <a:gd name="T48" fmla="*/ 2147483647 w 118"/>
                <a:gd name="T49" fmla="*/ 2147483647 h 84"/>
                <a:gd name="T50" fmla="*/ 2147483647 w 118"/>
                <a:gd name="T51" fmla="*/ 2147483647 h 84"/>
                <a:gd name="T52" fmla="*/ 2147483647 w 118"/>
                <a:gd name="T53" fmla="*/ 2147483647 h 84"/>
                <a:gd name="T54" fmla="*/ 2147483647 w 118"/>
                <a:gd name="T55" fmla="*/ 2147483647 h 84"/>
                <a:gd name="T56" fmla="*/ 2147483647 w 118"/>
                <a:gd name="T57" fmla="*/ 2147483647 h 84"/>
                <a:gd name="T58" fmla="*/ 2147483647 w 118"/>
                <a:gd name="T59" fmla="*/ 2147483647 h 84"/>
                <a:gd name="T60" fmla="*/ 2147483647 w 118"/>
                <a:gd name="T61" fmla="*/ 2147483647 h 84"/>
                <a:gd name="T62" fmla="*/ 2147483647 w 118"/>
                <a:gd name="T63" fmla="*/ 2147483647 h 84"/>
                <a:gd name="T64" fmla="*/ 2147483647 w 118"/>
                <a:gd name="T65" fmla="*/ 2147483647 h 84"/>
                <a:gd name="T66" fmla="*/ 2147483647 w 118"/>
                <a:gd name="T67" fmla="*/ 2147483647 h 84"/>
                <a:gd name="T68" fmla="*/ 2147483647 w 118"/>
                <a:gd name="T69" fmla="*/ 2147483647 h 84"/>
                <a:gd name="T70" fmla="*/ 2147483647 w 118"/>
                <a:gd name="T71" fmla="*/ 2147483647 h 8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8"/>
                <a:gd name="T109" fmla="*/ 0 h 84"/>
                <a:gd name="T110" fmla="*/ 118 w 118"/>
                <a:gd name="T111" fmla="*/ 84 h 8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8" h="84">
                  <a:moveTo>
                    <a:pt x="10" y="56"/>
                  </a:moveTo>
                  <a:cubicBezTo>
                    <a:pt x="8" y="53"/>
                    <a:pt x="4" y="54"/>
                    <a:pt x="2" y="53"/>
                  </a:cubicBezTo>
                  <a:cubicBezTo>
                    <a:pt x="0" y="53"/>
                    <a:pt x="1" y="49"/>
                    <a:pt x="2" y="46"/>
                  </a:cubicBezTo>
                  <a:cubicBezTo>
                    <a:pt x="3" y="44"/>
                    <a:pt x="8" y="47"/>
                    <a:pt x="9" y="46"/>
                  </a:cubicBezTo>
                  <a:cubicBezTo>
                    <a:pt x="11" y="44"/>
                    <a:pt x="13" y="33"/>
                    <a:pt x="13" y="30"/>
                  </a:cubicBezTo>
                  <a:cubicBezTo>
                    <a:pt x="13" y="26"/>
                    <a:pt x="17" y="27"/>
                    <a:pt x="17" y="27"/>
                  </a:cubicBezTo>
                  <a:cubicBezTo>
                    <a:pt x="17" y="27"/>
                    <a:pt x="18" y="21"/>
                    <a:pt x="19" y="18"/>
                  </a:cubicBezTo>
                  <a:cubicBezTo>
                    <a:pt x="21" y="14"/>
                    <a:pt x="25" y="13"/>
                    <a:pt x="26" y="12"/>
                  </a:cubicBezTo>
                  <a:cubicBezTo>
                    <a:pt x="27" y="12"/>
                    <a:pt x="28" y="4"/>
                    <a:pt x="29" y="2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40" y="2"/>
                    <a:pt x="42" y="1"/>
                    <a:pt x="43" y="0"/>
                  </a:cubicBezTo>
                  <a:cubicBezTo>
                    <a:pt x="45" y="0"/>
                    <a:pt x="50" y="1"/>
                    <a:pt x="52" y="1"/>
                  </a:cubicBezTo>
                  <a:cubicBezTo>
                    <a:pt x="53" y="1"/>
                    <a:pt x="61" y="4"/>
                    <a:pt x="63" y="6"/>
                  </a:cubicBezTo>
                  <a:cubicBezTo>
                    <a:pt x="65" y="7"/>
                    <a:pt x="68" y="11"/>
                    <a:pt x="71" y="14"/>
                  </a:cubicBezTo>
                  <a:cubicBezTo>
                    <a:pt x="73" y="18"/>
                    <a:pt x="71" y="18"/>
                    <a:pt x="70" y="21"/>
                  </a:cubicBezTo>
                  <a:cubicBezTo>
                    <a:pt x="69" y="23"/>
                    <a:pt x="69" y="25"/>
                    <a:pt x="69" y="27"/>
                  </a:cubicBezTo>
                  <a:cubicBezTo>
                    <a:pt x="70" y="29"/>
                    <a:pt x="78" y="27"/>
                    <a:pt x="78" y="27"/>
                  </a:cubicBezTo>
                  <a:cubicBezTo>
                    <a:pt x="78" y="28"/>
                    <a:pt x="76" y="29"/>
                    <a:pt x="76" y="31"/>
                  </a:cubicBezTo>
                  <a:cubicBezTo>
                    <a:pt x="76" y="34"/>
                    <a:pt x="82" y="38"/>
                    <a:pt x="88" y="42"/>
                  </a:cubicBezTo>
                  <a:cubicBezTo>
                    <a:pt x="94" y="47"/>
                    <a:pt x="118" y="49"/>
                    <a:pt x="117" y="50"/>
                  </a:cubicBezTo>
                  <a:cubicBezTo>
                    <a:pt x="116" y="50"/>
                    <a:pt x="96" y="72"/>
                    <a:pt x="94" y="73"/>
                  </a:cubicBezTo>
                  <a:cubicBezTo>
                    <a:pt x="93" y="74"/>
                    <a:pt x="86" y="73"/>
                    <a:pt x="83" y="74"/>
                  </a:cubicBezTo>
                  <a:cubicBezTo>
                    <a:pt x="80" y="75"/>
                    <a:pt x="73" y="79"/>
                    <a:pt x="72" y="79"/>
                  </a:cubicBezTo>
                  <a:cubicBezTo>
                    <a:pt x="72" y="80"/>
                    <a:pt x="70" y="80"/>
                    <a:pt x="69" y="80"/>
                  </a:cubicBezTo>
                  <a:cubicBezTo>
                    <a:pt x="68" y="80"/>
                    <a:pt x="66" y="81"/>
                    <a:pt x="66" y="81"/>
                  </a:cubicBezTo>
                  <a:cubicBezTo>
                    <a:pt x="64" y="81"/>
                    <a:pt x="62" y="78"/>
                    <a:pt x="60" y="79"/>
                  </a:cubicBezTo>
                  <a:cubicBezTo>
                    <a:pt x="58" y="80"/>
                    <a:pt x="52" y="84"/>
                    <a:pt x="52" y="84"/>
                  </a:cubicBezTo>
                  <a:cubicBezTo>
                    <a:pt x="52" y="84"/>
                    <a:pt x="45" y="83"/>
                    <a:pt x="43" y="83"/>
                  </a:cubicBezTo>
                  <a:cubicBezTo>
                    <a:pt x="40" y="83"/>
                    <a:pt x="33" y="77"/>
                    <a:pt x="33" y="77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2" y="66"/>
                    <a:pt x="22" y="66"/>
                    <a:pt x="22" y="66"/>
                  </a:cubicBezTo>
                  <a:cubicBezTo>
                    <a:pt x="20" y="66"/>
                    <a:pt x="19" y="63"/>
                    <a:pt x="19" y="61"/>
                  </a:cubicBezTo>
                  <a:cubicBezTo>
                    <a:pt x="19" y="59"/>
                    <a:pt x="13" y="58"/>
                    <a:pt x="10" y="5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96" name="Freeform 450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6873363" y="4093453"/>
              <a:ext cx="187288" cy="206103"/>
            </a:xfrm>
            <a:custGeom>
              <a:avLst/>
              <a:gdLst>
                <a:gd name="T0" fmla="*/ 2147483647 w 53"/>
                <a:gd name="T1" fmla="*/ 2147483647 h 56"/>
                <a:gd name="T2" fmla="*/ 0 w 53"/>
                <a:gd name="T3" fmla="*/ 2147483647 h 56"/>
                <a:gd name="T4" fmla="*/ 2147483647 w 53"/>
                <a:gd name="T5" fmla="*/ 2147483647 h 56"/>
                <a:gd name="T6" fmla="*/ 2147483647 w 53"/>
                <a:gd name="T7" fmla="*/ 2147483647 h 56"/>
                <a:gd name="T8" fmla="*/ 2147483647 w 53"/>
                <a:gd name="T9" fmla="*/ 0 h 56"/>
                <a:gd name="T10" fmla="*/ 2147483647 w 53"/>
                <a:gd name="T11" fmla="*/ 2147483647 h 56"/>
                <a:gd name="T12" fmla="*/ 2147483647 w 53"/>
                <a:gd name="T13" fmla="*/ 2147483647 h 56"/>
                <a:gd name="T14" fmla="*/ 2147483647 w 53"/>
                <a:gd name="T15" fmla="*/ 2147483647 h 56"/>
                <a:gd name="T16" fmla="*/ 2147483647 w 53"/>
                <a:gd name="T17" fmla="*/ 2147483647 h 56"/>
                <a:gd name="T18" fmla="*/ 2147483647 w 53"/>
                <a:gd name="T19" fmla="*/ 2147483647 h 56"/>
                <a:gd name="T20" fmla="*/ 2147483647 w 53"/>
                <a:gd name="T21" fmla="*/ 2147483647 h 56"/>
                <a:gd name="T22" fmla="*/ 2147483647 w 53"/>
                <a:gd name="T23" fmla="*/ 2147483647 h 56"/>
                <a:gd name="T24" fmla="*/ 2147483647 w 53"/>
                <a:gd name="T25" fmla="*/ 2147483647 h 56"/>
                <a:gd name="T26" fmla="*/ 2147483647 w 53"/>
                <a:gd name="T27" fmla="*/ 2147483647 h 56"/>
                <a:gd name="T28" fmla="*/ 2147483647 w 53"/>
                <a:gd name="T29" fmla="*/ 2147483647 h 56"/>
                <a:gd name="T30" fmla="*/ 2147483647 w 53"/>
                <a:gd name="T31" fmla="*/ 2147483647 h 56"/>
                <a:gd name="T32" fmla="*/ 2147483647 w 53"/>
                <a:gd name="T33" fmla="*/ 2147483647 h 56"/>
                <a:gd name="T34" fmla="*/ 2147483647 w 53"/>
                <a:gd name="T35" fmla="*/ 2147483647 h 5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3"/>
                <a:gd name="T55" fmla="*/ 0 h 56"/>
                <a:gd name="T56" fmla="*/ 53 w 53"/>
                <a:gd name="T57" fmla="*/ 56 h 5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3" h="56">
                  <a:moveTo>
                    <a:pt x="10" y="30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" y="26"/>
                    <a:pt x="2" y="18"/>
                    <a:pt x="4" y="11"/>
                  </a:cubicBezTo>
                  <a:cubicBezTo>
                    <a:pt x="5" y="4"/>
                    <a:pt x="10" y="3"/>
                    <a:pt x="12" y="2"/>
                  </a:cubicBezTo>
                  <a:cubicBezTo>
                    <a:pt x="15" y="1"/>
                    <a:pt x="17" y="0"/>
                    <a:pt x="17" y="0"/>
                  </a:cubicBezTo>
                  <a:cubicBezTo>
                    <a:pt x="18" y="4"/>
                    <a:pt x="20" y="14"/>
                    <a:pt x="22" y="16"/>
                  </a:cubicBezTo>
                  <a:cubicBezTo>
                    <a:pt x="26" y="18"/>
                    <a:pt x="35" y="23"/>
                    <a:pt x="35" y="24"/>
                  </a:cubicBezTo>
                  <a:cubicBezTo>
                    <a:pt x="35" y="26"/>
                    <a:pt x="49" y="39"/>
                    <a:pt x="50" y="41"/>
                  </a:cubicBezTo>
                  <a:cubicBezTo>
                    <a:pt x="51" y="42"/>
                    <a:pt x="52" y="45"/>
                    <a:pt x="50" y="46"/>
                  </a:cubicBezTo>
                  <a:cubicBezTo>
                    <a:pt x="49" y="46"/>
                    <a:pt x="51" y="48"/>
                    <a:pt x="53" y="51"/>
                  </a:cubicBezTo>
                  <a:cubicBezTo>
                    <a:pt x="53" y="51"/>
                    <a:pt x="49" y="52"/>
                    <a:pt x="49" y="54"/>
                  </a:cubicBezTo>
                  <a:cubicBezTo>
                    <a:pt x="49" y="54"/>
                    <a:pt x="41" y="56"/>
                    <a:pt x="40" y="54"/>
                  </a:cubicBezTo>
                  <a:cubicBezTo>
                    <a:pt x="40" y="52"/>
                    <a:pt x="40" y="50"/>
                    <a:pt x="41" y="48"/>
                  </a:cubicBezTo>
                  <a:cubicBezTo>
                    <a:pt x="42" y="45"/>
                    <a:pt x="44" y="45"/>
                    <a:pt x="42" y="41"/>
                  </a:cubicBezTo>
                  <a:cubicBezTo>
                    <a:pt x="39" y="38"/>
                    <a:pt x="36" y="34"/>
                    <a:pt x="34" y="33"/>
                  </a:cubicBezTo>
                  <a:cubicBezTo>
                    <a:pt x="32" y="31"/>
                    <a:pt x="24" y="28"/>
                    <a:pt x="23" y="28"/>
                  </a:cubicBezTo>
                  <a:cubicBezTo>
                    <a:pt x="21" y="28"/>
                    <a:pt x="16" y="27"/>
                    <a:pt x="14" y="27"/>
                  </a:cubicBezTo>
                  <a:cubicBezTo>
                    <a:pt x="13" y="28"/>
                    <a:pt x="11" y="29"/>
                    <a:pt x="10" y="3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97" name="Freeform 451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6852782" y="3494316"/>
              <a:ext cx="179056" cy="158172"/>
            </a:xfrm>
            <a:custGeom>
              <a:avLst/>
              <a:gdLst>
                <a:gd name="T0" fmla="*/ 2147483647 w 51"/>
                <a:gd name="T1" fmla="*/ 2147483647 h 43"/>
                <a:gd name="T2" fmla="*/ 2147483647 w 51"/>
                <a:gd name="T3" fmla="*/ 2147483647 h 43"/>
                <a:gd name="T4" fmla="*/ 2147483647 w 51"/>
                <a:gd name="T5" fmla="*/ 2147483647 h 43"/>
                <a:gd name="T6" fmla="*/ 2147483647 w 51"/>
                <a:gd name="T7" fmla="*/ 2147483647 h 43"/>
                <a:gd name="T8" fmla="*/ 2147483647 w 51"/>
                <a:gd name="T9" fmla="*/ 2147483647 h 43"/>
                <a:gd name="T10" fmla="*/ 2147483647 w 51"/>
                <a:gd name="T11" fmla="*/ 2147483647 h 43"/>
                <a:gd name="T12" fmla="*/ 2147483647 w 51"/>
                <a:gd name="T13" fmla="*/ 2147483647 h 43"/>
                <a:gd name="T14" fmla="*/ 2147483647 w 51"/>
                <a:gd name="T15" fmla="*/ 2147483647 h 43"/>
                <a:gd name="T16" fmla="*/ 2147483647 w 51"/>
                <a:gd name="T17" fmla="*/ 2147483647 h 43"/>
                <a:gd name="T18" fmla="*/ 2147483647 w 51"/>
                <a:gd name="T19" fmla="*/ 2147483647 h 43"/>
                <a:gd name="T20" fmla="*/ 2147483647 w 51"/>
                <a:gd name="T21" fmla="*/ 2147483647 h 43"/>
                <a:gd name="T22" fmla="*/ 2147483647 w 51"/>
                <a:gd name="T23" fmla="*/ 2147483647 h 43"/>
                <a:gd name="T24" fmla="*/ 2147483647 w 51"/>
                <a:gd name="T25" fmla="*/ 2147483647 h 43"/>
                <a:gd name="T26" fmla="*/ 2147483647 w 51"/>
                <a:gd name="T27" fmla="*/ 0 h 43"/>
                <a:gd name="T28" fmla="*/ 2147483647 w 51"/>
                <a:gd name="T29" fmla="*/ 2147483647 h 43"/>
                <a:gd name="T30" fmla="*/ 2147483647 w 51"/>
                <a:gd name="T31" fmla="*/ 2147483647 h 43"/>
                <a:gd name="T32" fmla="*/ 2147483647 w 51"/>
                <a:gd name="T33" fmla="*/ 2147483647 h 43"/>
                <a:gd name="T34" fmla="*/ 2147483647 w 51"/>
                <a:gd name="T35" fmla="*/ 2147483647 h 43"/>
                <a:gd name="T36" fmla="*/ 2147483647 w 51"/>
                <a:gd name="T37" fmla="*/ 2147483647 h 43"/>
                <a:gd name="T38" fmla="*/ 2147483647 w 51"/>
                <a:gd name="T39" fmla="*/ 214748364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1"/>
                <a:gd name="T61" fmla="*/ 0 h 43"/>
                <a:gd name="T62" fmla="*/ 51 w 51"/>
                <a:gd name="T63" fmla="*/ 43 h 4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1" h="43">
                  <a:moveTo>
                    <a:pt x="9" y="43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2" y="41"/>
                    <a:pt x="2" y="40"/>
                    <a:pt x="3" y="38"/>
                  </a:cubicBezTo>
                  <a:cubicBezTo>
                    <a:pt x="3" y="37"/>
                    <a:pt x="4" y="36"/>
                    <a:pt x="4" y="35"/>
                  </a:cubicBezTo>
                  <a:cubicBezTo>
                    <a:pt x="5" y="34"/>
                    <a:pt x="8" y="29"/>
                    <a:pt x="8" y="27"/>
                  </a:cubicBezTo>
                  <a:cubicBezTo>
                    <a:pt x="8" y="25"/>
                    <a:pt x="6" y="22"/>
                    <a:pt x="2" y="22"/>
                  </a:cubicBezTo>
                  <a:cubicBezTo>
                    <a:pt x="2" y="20"/>
                    <a:pt x="0" y="17"/>
                    <a:pt x="1" y="15"/>
                  </a:cubicBezTo>
                  <a:cubicBezTo>
                    <a:pt x="1" y="14"/>
                    <a:pt x="3" y="13"/>
                    <a:pt x="3" y="13"/>
                  </a:cubicBezTo>
                  <a:cubicBezTo>
                    <a:pt x="3" y="13"/>
                    <a:pt x="6" y="12"/>
                    <a:pt x="7" y="11"/>
                  </a:cubicBezTo>
                  <a:cubicBezTo>
                    <a:pt x="9" y="10"/>
                    <a:pt x="10" y="8"/>
                    <a:pt x="10" y="6"/>
                  </a:cubicBezTo>
                  <a:cubicBezTo>
                    <a:pt x="10" y="4"/>
                    <a:pt x="17" y="4"/>
                    <a:pt x="19" y="4"/>
                  </a:cubicBezTo>
                  <a:cubicBezTo>
                    <a:pt x="20" y="4"/>
                    <a:pt x="23" y="5"/>
                    <a:pt x="24" y="6"/>
                  </a:cubicBezTo>
                  <a:cubicBezTo>
                    <a:pt x="26" y="7"/>
                    <a:pt x="35" y="4"/>
                    <a:pt x="38" y="3"/>
                  </a:cubicBezTo>
                  <a:cubicBezTo>
                    <a:pt x="41" y="2"/>
                    <a:pt x="45" y="0"/>
                    <a:pt x="47" y="0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48" y="5"/>
                    <a:pt x="45" y="9"/>
                    <a:pt x="43" y="10"/>
                  </a:cubicBezTo>
                  <a:cubicBezTo>
                    <a:pt x="42" y="11"/>
                    <a:pt x="42" y="20"/>
                    <a:pt x="41" y="22"/>
                  </a:cubicBezTo>
                  <a:cubicBezTo>
                    <a:pt x="41" y="25"/>
                    <a:pt x="39" y="26"/>
                    <a:pt x="38" y="26"/>
                  </a:cubicBezTo>
                  <a:cubicBezTo>
                    <a:pt x="23" y="35"/>
                    <a:pt x="23" y="35"/>
                    <a:pt x="23" y="35"/>
                  </a:cubicBezTo>
                  <a:lnTo>
                    <a:pt x="9" y="43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98" name="Freeform 452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6840433" y="3578195"/>
              <a:ext cx="41162" cy="57517"/>
            </a:xfrm>
            <a:custGeom>
              <a:avLst/>
              <a:gdLst>
                <a:gd name="T0" fmla="*/ 0 w 12"/>
                <a:gd name="T1" fmla="*/ 2147483647 h 16"/>
                <a:gd name="T2" fmla="*/ 2147483647 w 12"/>
                <a:gd name="T3" fmla="*/ 2147483647 h 16"/>
                <a:gd name="T4" fmla="*/ 2147483647 w 12"/>
                <a:gd name="T5" fmla="*/ 2147483647 h 16"/>
                <a:gd name="T6" fmla="*/ 2147483647 w 12"/>
                <a:gd name="T7" fmla="*/ 0 h 16"/>
                <a:gd name="T8" fmla="*/ 2147483647 w 12"/>
                <a:gd name="T9" fmla="*/ 2147483647 h 16"/>
                <a:gd name="T10" fmla="*/ 2147483647 w 12"/>
                <a:gd name="T11" fmla="*/ 2147483647 h 16"/>
                <a:gd name="T12" fmla="*/ 2147483647 w 12"/>
                <a:gd name="T13" fmla="*/ 2147483647 h 16"/>
                <a:gd name="T14" fmla="*/ 2147483647 w 12"/>
                <a:gd name="T15" fmla="*/ 2147483647 h 16"/>
                <a:gd name="T16" fmla="*/ 0 w 12"/>
                <a:gd name="T17" fmla="*/ 2147483647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16"/>
                <a:gd name="T29" fmla="*/ 12 w 12"/>
                <a:gd name="T30" fmla="*/ 16 h 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16">
                  <a:moveTo>
                    <a:pt x="0" y="14"/>
                  </a:moveTo>
                  <a:cubicBezTo>
                    <a:pt x="2" y="10"/>
                    <a:pt x="3" y="7"/>
                    <a:pt x="4" y="6"/>
                  </a:cubicBezTo>
                  <a:cubicBezTo>
                    <a:pt x="5" y="4"/>
                    <a:pt x="6" y="3"/>
                    <a:pt x="6" y="1"/>
                  </a:cubicBezTo>
                  <a:cubicBezTo>
                    <a:pt x="6" y="1"/>
                    <a:pt x="6" y="1"/>
                    <a:pt x="6" y="0"/>
                  </a:cubicBezTo>
                  <a:cubicBezTo>
                    <a:pt x="10" y="0"/>
                    <a:pt x="12" y="3"/>
                    <a:pt x="12" y="5"/>
                  </a:cubicBezTo>
                  <a:cubicBezTo>
                    <a:pt x="12" y="7"/>
                    <a:pt x="9" y="12"/>
                    <a:pt x="8" y="13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3" y="14"/>
                    <a:pt x="3" y="14"/>
                    <a:pt x="3" y="14"/>
                  </a:cubicBezTo>
                  <a:lnTo>
                    <a:pt x="0" y="14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599" name="Freeform 453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6836317" y="3626126"/>
              <a:ext cx="109080" cy="127017"/>
            </a:xfrm>
            <a:custGeom>
              <a:avLst/>
              <a:gdLst>
                <a:gd name="T0" fmla="*/ 0 w 31"/>
                <a:gd name="T1" fmla="*/ 2147483647 h 35"/>
                <a:gd name="T2" fmla="*/ 2147483647 w 31"/>
                <a:gd name="T3" fmla="*/ 2147483647 h 35"/>
                <a:gd name="T4" fmla="*/ 2147483647 w 31"/>
                <a:gd name="T5" fmla="*/ 2147483647 h 35"/>
                <a:gd name="T6" fmla="*/ 2147483647 w 31"/>
                <a:gd name="T7" fmla="*/ 2147483647 h 35"/>
                <a:gd name="T8" fmla="*/ 2147483647 w 31"/>
                <a:gd name="T9" fmla="*/ 0 h 35"/>
                <a:gd name="T10" fmla="*/ 2147483647 w 31"/>
                <a:gd name="T11" fmla="*/ 2147483647 h 35"/>
                <a:gd name="T12" fmla="*/ 2147483647 w 31"/>
                <a:gd name="T13" fmla="*/ 2147483647 h 35"/>
                <a:gd name="T14" fmla="*/ 2147483647 w 31"/>
                <a:gd name="T15" fmla="*/ 2147483647 h 35"/>
                <a:gd name="T16" fmla="*/ 2147483647 w 31"/>
                <a:gd name="T17" fmla="*/ 2147483647 h 35"/>
                <a:gd name="T18" fmla="*/ 2147483647 w 31"/>
                <a:gd name="T19" fmla="*/ 2147483647 h 35"/>
                <a:gd name="T20" fmla="*/ 2147483647 w 31"/>
                <a:gd name="T21" fmla="*/ 2147483647 h 35"/>
                <a:gd name="T22" fmla="*/ 0 w 31"/>
                <a:gd name="T23" fmla="*/ 2147483647 h 3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1"/>
                <a:gd name="T37" fmla="*/ 0 h 35"/>
                <a:gd name="T38" fmla="*/ 31 w 31"/>
                <a:gd name="T39" fmla="*/ 35 h 3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1" h="35">
                  <a:moveTo>
                    <a:pt x="0" y="34"/>
                  </a:moveTo>
                  <a:cubicBezTo>
                    <a:pt x="4" y="15"/>
                    <a:pt x="4" y="15"/>
                    <a:pt x="4" y="15"/>
                  </a:cubicBezTo>
                  <a:cubicBezTo>
                    <a:pt x="4" y="13"/>
                    <a:pt x="5" y="8"/>
                    <a:pt x="6" y="7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8" y="12"/>
                    <a:pt x="17" y="15"/>
                    <a:pt x="16" y="16"/>
                  </a:cubicBezTo>
                  <a:cubicBezTo>
                    <a:pt x="15" y="16"/>
                    <a:pt x="22" y="25"/>
                    <a:pt x="22" y="25"/>
                  </a:cubicBezTo>
                  <a:cubicBezTo>
                    <a:pt x="22" y="25"/>
                    <a:pt x="18" y="29"/>
                    <a:pt x="15" y="30"/>
                  </a:cubicBezTo>
                  <a:cubicBezTo>
                    <a:pt x="13" y="30"/>
                    <a:pt x="10" y="35"/>
                    <a:pt x="8" y="35"/>
                  </a:cubicBezTo>
                  <a:lnTo>
                    <a:pt x="0" y="34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00" name="Freeform 454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6832200" y="3659678"/>
              <a:ext cx="559806" cy="481706"/>
            </a:xfrm>
            <a:custGeom>
              <a:avLst/>
              <a:gdLst>
                <a:gd name="T0" fmla="*/ 2147483647 w 159"/>
                <a:gd name="T1" fmla="*/ 2147483647 h 130"/>
                <a:gd name="T2" fmla="*/ 2147483647 w 159"/>
                <a:gd name="T3" fmla="*/ 2147483647 h 130"/>
                <a:gd name="T4" fmla="*/ 2147483647 w 159"/>
                <a:gd name="T5" fmla="*/ 2147483647 h 130"/>
                <a:gd name="T6" fmla="*/ 2147483647 w 159"/>
                <a:gd name="T7" fmla="*/ 2147483647 h 130"/>
                <a:gd name="T8" fmla="*/ 2147483647 w 159"/>
                <a:gd name="T9" fmla="*/ 2147483647 h 130"/>
                <a:gd name="T10" fmla="*/ 2147483647 w 159"/>
                <a:gd name="T11" fmla="*/ 2147483647 h 130"/>
                <a:gd name="T12" fmla="*/ 2147483647 w 159"/>
                <a:gd name="T13" fmla="*/ 2147483647 h 130"/>
                <a:gd name="T14" fmla="*/ 2147483647 w 159"/>
                <a:gd name="T15" fmla="*/ 0 h 130"/>
                <a:gd name="T16" fmla="*/ 2147483647 w 159"/>
                <a:gd name="T17" fmla="*/ 2147483647 h 130"/>
                <a:gd name="T18" fmla="*/ 2147483647 w 159"/>
                <a:gd name="T19" fmla="*/ 2147483647 h 130"/>
                <a:gd name="T20" fmla="*/ 2147483647 w 159"/>
                <a:gd name="T21" fmla="*/ 2147483647 h 130"/>
                <a:gd name="T22" fmla="*/ 2147483647 w 159"/>
                <a:gd name="T23" fmla="*/ 2147483647 h 130"/>
                <a:gd name="T24" fmla="*/ 2147483647 w 159"/>
                <a:gd name="T25" fmla="*/ 2147483647 h 130"/>
                <a:gd name="T26" fmla="*/ 2147483647 w 159"/>
                <a:gd name="T27" fmla="*/ 2147483647 h 130"/>
                <a:gd name="T28" fmla="*/ 2147483647 w 159"/>
                <a:gd name="T29" fmla="*/ 2147483647 h 130"/>
                <a:gd name="T30" fmla="*/ 2147483647 w 159"/>
                <a:gd name="T31" fmla="*/ 2147483647 h 130"/>
                <a:gd name="T32" fmla="*/ 2147483647 w 159"/>
                <a:gd name="T33" fmla="*/ 2147483647 h 130"/>
                <a:gd name="T34" fmla="*/ 2147483647 w 159"/>
                <a:gd name="T35" fmla="*/ 2147483647 h 130"/>
                <a:gd name="T36" fmla="*/ 2147483647 w 159"/>
                <a:gd name="T37" fmla="*/ 2147483647 h 130"/>
                <a:gd name="T38" fmla="*/ 2147483647 w 159"/>
                <a:gd name="T39" fmla="*/ 2147483647 h 130"/>
                <a:gd name="T40" fmla="*/ 2147483647 w 159"/>
                <a:gd name="T41" fmla="*/ 2147483647 h 130"/>
                <a:gd name="T42" fmla="*/ 2147483647 w 159"/>
                <a:gd name="T43" fmla="*/ 2147483647 h 130"/>
                <a:gd name="T44" fmla="*/ 2147483647 w 159"/>
                <a:gd name="T45" fmla="*/ 2147483647 h 130"/>
                <a:gd name="T46" fmla="*/ 2147483647 w 159"/>
                <a:gd name="T47" fmla="*/ 2147483647 h 130"/>
                <a:gd name="T48" fmla="*/ 2147483647 w 159"/>
                <a:gd name="T49" fmla="*/ 2147483647 h 130"/>
                <a:gd name="T50" fmla="*/ 2147483647 w 159"/>
                <a:gd name="T51" fmla="*/ 2147483647 h 130"/>
                <a:gd name="T52" fmla="*/ 2147483647 w 159"/>
                <a:gd name="T53" fmla="*/ 2147483647 h 130"/>
                <a:gd name="T54" fmla="*/ 2147483647 w 159"/>
                <a:gd name="T55" fmla="*/ 2147483647 h 130"/>
                <a:gd name="T56" fmla="*/ 2147483647 w 159"/>
                <a:gd name="T57" fmla="*/ 2147483647 h 130"/>
                <a:gd name="T58" fmla="*/ 2147483647 w 159"/>
                <a:gd name="T59" fmla="*/ 2147483647 h 130"/>
                <a:gd name="T60" fmla="*/ 2147483647 w 159"/>
                <a:gd name="T61" fmla="*/ 2147483647 h 130"/>
                <a:gd name="T62" fmla="*/ 2147483647 w 159"/>
                <a:gd name="T63" fmla="*/ 2147483647 h 130"/>
                <a:gd name="T64" fmla="*/ 2147483647 w 159"/>
                <a:gd name="T65" fmla="*/ 2147483647 h 130"/>
                <a:gd name="T66" fmla="*/ 2147483647 w 159"/>
                <a:gd name="T67" fmla="*/ 2147483647 h 130"/>
                <a:gd name="T68" fmla="*/ 2147483647 w 159"/>
                <a:gd name="T69" fmla="*/ 2147483647 h 130"/>
                <a:gd name="T70" fmla="*/ 2147483647 w 159"/>
                <a:gd name="T71" fmla="*/ 2147483647 h 130"/>
                <a:gd name="T72" fmla="*/ 2147483647 w 159"/>
                <a:gd name="T73" fmla="*/ 2147483647 h 130"/>
                <a:gd name="T74" fmla="*/ 2147483647 w 159"/>
                <a:gd name="T75" fmla="*/ 2147483647 h 130"/>
                <a:gd name="T76" fmla="*/ 2147483647 w 159"/>
                <a:gd name="T77" fmla="*/ 2147483647 h 130"/>
                <a:gd name="T78" fmla="*/ 2147483647 w 159"/>
                <a:gd name="T79" fmla="*/ 2147483647 h 130"/>
                <a:gd name="T80" fmla="*/ 2147483647 w 159"/>
                <a:gd name="T81" fmla="*/ 2147483647 h 130"/>
                <a:gd name="T82" fmla="*/ 2147483647 w 159"/>
                <a:gd name="T83" fmla="*/ 2147483647 h 130"/>
                <a:gd name="T84" fmla="*/ 2147483647 w 159"/>
                <a:gd name="T85" fmla="*/ 2147483647 h 130"/>
                <a:gd name="T86" fmla="*/ 2147483647 w 159"/>
                <a:gd name="T87" fmla="*/ 2147483647 h 130"/>
                <a:gd name="T88" fmla="*/ 2147483647 w 159"/>
                <a:gd name="T89" fmla="*/ 2147483647 h 130"/>
                <a:gd name="T90" fmla="*/ 0 w 159"/>
                <a:gd name="T91" fmla="*/ 2147483647 h 130"/>
                <a:gd name="T92" fmla="*/ 2147483647 w 159"/>
                <a:gd name="T93" fmla="*/ 2147483647 h 130"/>
                <a:gd name="T94" fmla="*/ 2147483647 w 159"/>
                <a:gd name="T95" fmla="*/ 2147483647 h 130"/>
                <a:gd name="T96" fmla="*/ 2147483647 w 159"/>
                <a:gd name="T97" fmla="*/ 2147483647 h 13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59"/>
                <a:gd name="T148" fmla="*/ 0 h 130"/>
                <a:gd name="T149" fmla="*/ 159 w 159"/>
                <a:gd name="T150" fmla="*/ 130 h 13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59" h="130">
                  <a:moveTo>
                    <a:pt x="1" y="24"/>
                  </a:moveTo>
                  <a:cubicBezTo>
                    <a:pt x="9" y="25"/>
                    <a:pt x="9" y="25"/>
                    <a:pt x="9" y="25"/>
                  </a:cubicBezTo>
                  <a:cubicBezTo>
                    <a:pt x="11" y="25"/>
                    <a:pt x="14" y="20"/>
                    <a:pt x="16" y="20"/>
                  </a:cubicBezTo>
                  <a:cubicBezTo>
                    <a:pt x="19" y="19"/>
                    <a:pt x="23" y="15"/>
                    <a:pt x="23" y="15"/>
                  </a:cubicBezTo>
                  <a:cubicBezTo>
                    <a:pt x="23" y="15"/>
                    <a:pt x="16" y="6"/>
                    <a:pt x="17" y="6"/>
                  </a:cubicBezTo>
                  <a:cubicBezTo>
                    <a:pt x="18" y="5"/>
                    <a:pt x="29" y="2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41" y="1"/>
                    <a:pt x="42" y="2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85" y="26"/>
                    <a:pt x="94" y="28"/>
                    <a:pt x="94" y="28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2" y="31"/>
                    <a:pt x="103" y="32"/>
                    <a:pt x="104" y="33"/>
                  </a:cubicBezTo>
                  <a:cubicBezTo>
                    <a:pt x="106" y="37"/>
                    <a:pt x="114" y="43"/>
                    <a:pt x="115" y="46"/>
                  </a:cubicBezTo>
                  <a:cubicBezTo>
                    <a:pt x="116" y="49"/>
                    <a:pt x="116" y="49"/>
                    <a:pt x="116" y="51"/>
                  </a:cubicBezTo>
                  <a:cubicBezTo>
                    <a:pt x="116" y="53"/>
                    <a:pt x="118" y="60"/>
                    <a:pt x="119" y="61"/>
                  </a:cubicBezTo>
                  <a:cubicBezTo>
                    <a:pt x="120" y="62"/>
                    <a:pt x="123" y="50"/>
                    <a:pt x="124" y="50"/>
                  </a:cubicBezTo>
                  <a:cubicBezTo>
                    <a:pt x="126" y="50"/>
                    <a:pt x="128" y="52"/>
                    <a:pt x="128" y="54"/>
                  </a:cubicBezTo>
                  <a:cubicBezTo>
                    <a:pt x="128" y="55"/>
                    <a:pt x="128" y="61"/>
                    <a:pt x="128" y="61"/>
                  </a:cubicBezTo>
                  <a:cubicBezTo>
                    <a:pt x="128" y="61"/>
                    <a:pt x="124" y="63"/>
                    <a:pt x="125" y="63"/>
                  </a:cubicBezTo>
                  <a:cubicBezTo>
                    <a:pt x="126" y="64"/>
                    <a:pt x="129" y="69"/>
                    <a:pt x="132" y="68"/>
                  </a:cubicBezTo>
                  <a:cubicBezTo>
                    <a:pt x="132" y="68"/>
                    <a:pt x="133" y="68"/>
                    <a:pt x="133" y="68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55" y="77"/>
                    <a:pt x="155" y="77"/>
                    <a:pt x="155" y="77"/>
                  </a:cubicBezTo>
                  <a:cubicBezTo>
                    <a:pt x="159" y="83"/>
                    <a:pt x="159" y="83"/>
                    <a:pt x="159" y="83"/>
                  </a:cubicBezTo>
                  <a:cubicBezTo>
                    <a:pt x="153" y="100"/>
                    <a:pt x="153" y="100"/>
                    <a:pt x="153" y="100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06" y="114"/>
                    <a:pt x="106" y="114"/>
                    <a:pt x="106" y="114"/>
                  </a:cubicBezTo>
                  <a:cubicBezTo>
                    <a:pt x="106" y="114"/>
                    <a:pt x="90" y="130"/>
                    <a:pt x="89" y="130"/>
                  </a:cubicBezTo>
                  <a:cubicBezTo>
                    <a:pt x="89" y="130"/>
                    <a:pt x="68" y="118"/>
                    <a:pt x="66" y="119"/>
                  </a:cubicBezTo>
                  <a:cubicBezTo>
                    <a:pt x="64" y="119"/>
                    <a:pt x="65" y="125"/>
                    <a:pt x="64" y="126"/>
                  </a:cubicBezTo>
                  <a:cubicBezTo>
                    <a:pt x="63" y="127"/>
                    <a:pt x="60" y="128"/>
                    <a:pt x="60" y="128"/>
                  </a:cubicBezTo>
                  <a:cubicBezTo>
                    <a:pt x="60" y="127"/>
                    <a:pt x="60" y="127"/>
                    <a:pt x="60" y="126"/>
                  </a:cubicBezTo>
                  <a:cubicBezTo>
                    <a:pt x="58" y="122"/>
                    <a:pt x="56" y="120"/>
                    <a:pt x="54" y="117"/>
                  </a:cubicBezTo>
                  <a:cubicBezTo>
                    <a:pt x="51" y="114"/>
                    <a:pt x="46" y="101"/>
                    <a:pt x="43" y="99"/>
                  </a:cubicBezTo>
                  <a:cubicBezTo>
                    <a:pt x="40" y="97"/>
                    <a:pt x="38" y="98"/>
                    <a:pt x="36" y="94"/>
                  </a:cubicBezTo>
                  <a:cubicBezTo>
                    <a:pt x="33" y="89"/>
                    <a:pt x="32" y="88"/>
                    <a:pt x="32" y="84"/>
                  </a:cubicBezTo>
                  <a:cubicBezTo>
                    <a:pt x="32" y="80"/>
                    <a:pt x="34" y="79"/>
                    <a:pt x="31" y="76"/>
                  </a:cubicBezTo>
                  <a:cubicBezTo>
                    <a:pt x="29" y="72"/>
                    <a:pt x="24" y="66"/>
                    <a:pt x="22" y="65"/>
                  </a:cubicBezTo>
                  <a:cubicBezTo>
                    <a:pt x="20" y="64"/>
                    <a:pt x="19" y="63"/>
                    <a:pt x="18" y="60"/>
                  </a:cubicBezTo>
                  <a:cubicBezTo>
                    <a:pt x="17" y="58"/>
                    <a:pt x="16" y="53"/>
                    <a:pt x="13" y="49"/>
                  </a:cubicBezTo>
                  <a:cubicBezTo>
                    <a:pt x="10" y="46"/>
                    <a:pt x="4" y="35"/>
                    <a:pt x="3" y="34"/>
                  </a:cubicBezTo>
                  <a:cubicBezTo>
                    <a:pt x="1" y="33"/>
                    <a:pt x="0" y="33"/>
                    <a:pt x="0" y="30"/>
                  </a:cubicBezTo>
                  <a:cubicBezTo>
                    <a:pt x="0" y="28"/>
                    <a:pt x="1" y="26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lnTo>
                    <a:pt x="1" y="24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01" name="Freeform 455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6809561" y="3628523"/>
              <a:ext cx="53511" cy="124620"/>
            </a:xfrm>
            <a:custGeom>
              <a:avLst/>
              <a:gdLst>
                <a:gd name="T0" fmla="*/ 2147483647 w 16"/>
                <a:gd name="T1" fmla="*/ 2147483647 h 34"/>
                <a:gd name="T2" fmla="*/ 2147483647 w 16"/>
                <a:gd name="T3" fmla="*/ 0 h 34"/>
                <a:gd name="T4" fmla="*/ 2147483647 w 16"/>
                <a:gd name="T5" fmla="*/ 0 h 34"/>
                <a:gd name="T6" fmla="*/ 2147483647 w 16"/>
                <a:gd name="T7" fmla="*/ 2147483647 h 34"/>
                <a:gd name="T8" fmla="*/ 2147483647 w 16"/>
                <a:gd name="T9" fmla="*/ 2147483647 h 34"/>
                <a:gd name="T10" fmla="*/ 2147483647 w 16"/>
                <a:gd name="T11" fmla="*/ 2147483647 h 34"/>
                <a:gd name="T12" fmla="*/ 2147483647 w 16"/>
                <a:gd name="T13" fmla="*/ 2147483647 h 34"/>
                <a:gd name="T14" fmla="*/ 2147483647 w 16"/>
                <a:gd name="T15" fmla="*/ 2147483647 h 34"/>
                <a:gd name="T16" fmla="*/ 2147483647 w 16"/>
                <a:gd name="T17" fmla="*/ 2147483647 h 34"/>
                <a:gd name="T18" fmla="*/ 0 w 16"/>
                <a:gd name="T19" fmla="*/ 2147483647 h 34"/>
                <a:gd name="T20" fmla="*/ 2147483647 w 16"/>
                <a:gd name="T21" fmla="*/ 2147483647 h 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6"/>
                <a:gd name="T34" fmla="*/ 0 h 34"/>
                <a:gd name="T35" fmla="*/ 16 w 16"/>
                <a:gd name="T36" fmla="*/ 34 h 3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6" h="34">
                  <a:moveTo>
                    <a:pt x="2" y="16"/>
                  </a:moveTo>
                  <a:cubicBezTo>
                    <a:pt x="3" y="14"/>
                    <a:pt x="7" y="6"/>
                    <a:pt x="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4"/>
                    <a:pt x="15" y="5"/>
                    <a:pt x="14" y="6"/>
                  </a:cubicBezTo>
                  <a:cubicBezTo>
                    <a:pt x="13" y="7"/>
                    <a:pt x="12" y="12"/>
                    <a:pt x="12" y="1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6" y="33"/>
                    <a:pt x="6" y="3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" y="17"/>
                    <a:pt x="2" y="17"/>
                    <a:pt x="2" y="1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02" name="Freeform 456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6805445" y="4472107"/>
              <a:ext cx="209927" cy="263620"/>
            </a:xfrm>
            <a:custGeom>
              <a:avLst/>
              <a:gdLst>
                <a:gd name="T0" fmla="*/ 2147483647 w 60"/>
                <a:gd name="T1" fmla="*/ 2147483647 h 72"/>
                <a:gd name="T2" fmla="*/ 2147483647 w 60"/>
                <a:gd name="T3" fmla="*/ 0 h 72"/>
                <a:gd name="T4" fmla="*/ 2147483647 w 60"/>
                <a:gd name="T5" fmla="*/ 0 h 72"/>
                <a:gd name="T6" fmla="*/ 2147483647 w 60"/>
                <a:gd name="T7" fmla="*/ 0 h 72"/>
                <a:gd name="T8" fmla="*/ 2147483647 w 60"/>
                <a:gd name="T9" fmla="*/ 2147483647 h 72"/>
                <a:gd name="T10" fmla="*/ 2147483647 w 60"/>
                <a:gd name="T11" fmla="*/ 2147483647 h 72"/>
                <a:gd name="T12" fmla="*/ 2147483647 w 60"/>
                <a:gd name="T13" fmla="*/ 2147483647 h 72"/>
                <a:gd name="T14" fmla="*/ 2147483647 w 60"/>
                <a:gd name="T15" fmla="*/ 2147483647 h 72"/>
                <a:gd name="T16" fmla="*/ 2147483647 w 60"/>
                <a:gd name="T17" fmla="*/ 2147483647 h 72"/>
                <a:gd name="T18" fmla="*/ 2147483647 w 60"/>
                <a:gd name="T19" fmla="*/ 2147483647 h 72"/>
                <a:gd name="T20" fmla="*/ 2147483647 w 60"/>
                <a:gd name="T21" fmla="*/ 2147483647 h 72"/>
                <a:gd name="T22" fmla="*/ 2147483647 w 60"/>
                <a:gd name="T23" fmla="*/ 2147483647 h 72"/>
                <a:gd name="T24" fmla="*/ 2147483647 w 60"/>
                <a:gd name="T25" fmla="*/ 2147483647 h 72"/>
                <a:gd name="T26" fmla="*/ 2147483647 w 60"/>
                <a:gd name="T27" fmla="*/ 2147483647 h 72"/>
                <a:gd name="T28" fmla="*/ 2147483647 w 60"/>
                <a:gd name="T29" fmla="*/ 2147483647 h 72"/>
                <a:gd name="T30" fmla="*/ 2147483647 w 60"/>
                <a:gd name="T31" fmla="*/ 2147483647 h 72"/>
                <a:gd name="T32" fmla="*/ 2147483647 w 60"/>
                <a:gd name="T33" fmla="*/ 2147483647 h 72"/>
                <a:gd name="T34" fmla="*/ 2147483647 w 60"/>
                <a:gd name="T35" fmla="*/ 2147483647 h 72"/>
                <a:gd name="T36" fmla="*/ 2147483647 w 60"/>
                <a:gd name="T37" fmla="*/ 2147483647 h 72"/>
                <a:gd name="T38" fmla="*/ 0 w 60"/>
                <a:gd name="T39" fmla="*/ 2147483647 h 72"/>
                <a:gd name="T40" fmla="*/ 2147483647 w 60"/>
                <a:gd name="T41" fmla="*/ 2147483647 h 72"/>
                <a:gd name="T42" fmla="*/ 2147483647 w 60"/>
                <a:gd name="T43" fmla="*/ 2147483647 h 72"/>
                <a:gd name="T44" fmla="*/ 2147483647 w 60"/>
                <a:gd name="T45" fmla="*/ 2147483647 h 72"/>
                <a:gd name="T46" fmla="*/ 2147483647 w 60"/>
                <a:gd name="T47" fmla="*/ 2147483647 h 7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0"/>
                <a:gd name="T73" fmla="*/ 0 h 72"/>
                <a:gd name="T74" fmla="*/ 60 w 60"/>
                <a:gd name="T75" fmla="*/ 72 h 7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0" h="72">
                  <a:moveTo>
                    <a:pt x="1" y="3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"/>
                    <a:pt x="31" y="8"/>
                    <a:pt x="34" y="8"/>
                  </a:cubicBezTo>
                  <a:cubicBezTo>
                    <a:pt x="36" y="8"/>
                    <a:pt x="43" y="9"/>
                    <a:pt x="43" y="9"/>
                  </a:cubicBezTo>
                  <a:cubicBezTo>
                    <a:pt x="43" y="9"/>
                    <a:pt x="49" y="5"/>
                    <a:pt x="51" y="4"/>
                  </a:cubicBezTo>
                  <a:cubicBezTo>
                    <a:pt x="53" y="3"/>
                    <a:pt x="55" y="6"/>
                    <a:pt x="57" y="6"/>
                  </a:cubicBezTo>
                  <a:cubicBezTo>
                    <a:pt x="57" y="6"/>
                    <a:pt x="59" y="5"/>
                    <a:pt x="60" y="5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8" y="47"/>
                    <a:pt x="58" y="47"/>
                    <a:pt x="58" y="47"/>
                  </a:cubicBezTo>
                  <a:cubicBezTo>
                    <a:pt x="55" y="50"/>
                    <a:pt x="53" y="53"/>
                    <a:pt x="51" y="56"/>
                  </a:cubicBezTo>
                  <a:cubicBezTo>
                    <a:pt x="47" y="60"/>
                    <a:pt x="43" y="69"/>
                    <a:pt x="43" y="70"/>
                  </a:cubicBezTo>
                  <a:cubicBezTo>
                    <a:pt x="43" y="71"/>
                    <a:pt x="42" y="71"/>
                    <a:pt x="42" y="72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0" y="64"/>
                    <a:pt x="30" y="59"/>
                    <a:pt x="28" y="58"/>
                  </a:cubicBezTo>
                  <a:cubicBezTo>
                    <a:pt x="26" y="57"/>
                    <a:pt x="0" y="43"/>
                    <a:pt x="0" y="43"/>
                  </a:cubicBezTo>
                  <a:cubicBezTo>
                    <a:pt x="0" y="43"/>
                    <a:pt x="1" y="36"/>
                    <a:pt x="1" y="34"/>
                  </a:cubicBezTo>
                  <a:cubicBezTo>
                    <a:pt x="1" y="32"/>
                    <a:pt x="7" y="25"/>
                    <a:pt x="8" y="21"/>
                  </a:cubicBezTo>
                  <a:cubicBezTo>
                    <a:pt x="9" y="16"/>
                    <a:pt x="6" y="13"/>
                    <a:pt x="5" y="10"/>
                  </a:cubicBezTo>
                  <a:lnTo>
                    <a:pt x="1" y="3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03" name="Freeform 457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6778690" y="4872330"/>
              <a:ext cx="82324" cy="220482"/>
            </a:xfrm>
            <a:custGeom>
              <a:avLst/>
              <a:gdLst>
                <a:gd name="T0" fmla="*/ 2147483647 w 24"/>
                <a:gd name="T1" fmla="*/ 2147483647 h 59"/>
                <a:gd name="T2" fmla="*/ 2147483647 w 24"/>
                <a:gd name="T3" fmla="*/ 2147483647 h 59"/>
                <a:gd name="T4" fmla="*/ 2147483647 w 24"/>
                <a:gd name="T5" fmla="*/ 2147483647 h 59"/>
                <a:gd name="T6" fmla="*/ 2147483647 w 24"/>
                <a:gd name="T7" fmla="*/ 2147483647 h 59"/>
                <a:gd name="T8" fmla="*/ 2147483647 w 24"/>
                <a:gd name="T9" fmla="*/ 2147483647 h 59"/>
                <a:gd name="T10" fmla="*/ 2147483647 w 24"/>
                <a:gd name="T11" fmla="*/ 2147483647 h 59"/>
                <a:gd name="T12" fmla="*/ 2147483647 w 24"/>
                <a:gd name="T13" fmla="*/ 2147483647 h 59"/>
                <a:gd name="T14" fmla="*/ 2147483647 w 24"/>
                <a:gd name="T15" fmla="*/ 2147483647 h 59"/>
                <a:gd name="T16" fmla="*/ 2147483647 w 24"/>
                <a:gd name="T17" fmla="*/ 2147483647 h 59"/>
                <a:gd name="T18" fmla="*/ 2147483647 w 24"/>
                <a:gd name="T19" fmla="*/ 2147483647 h 59"/>
                <a:gd name="T20" fmla="*/ 2147483647 w 24"/>
                <a:gd name="T21" fmla="*/ 2147483647 h 59"/>
                <a:gd name="T22" fmla="*/ 2147483647 w 24"/>
                <a:gd name="T23" fmla="*/ 2147483647 h 59"/>
                <a:gd name="T24" fmla="*/ 2147483647 w 24"/>
                <a:gd name="T25" fmla="*/ 2147483647 h 59"/>
                <a:gd name="T26" fmla="*/ 2147483647 w 24"/>
                <a:gd name="T27" fmla="*/ 2147483647 h 59"/>
                <a:gd name="T28" fmla="*/ 2147483647 w 24"/>
                <a:gd name="T29" fmla="*/ 2147483647 h 59"/>
                <a:gd name="T30" fmla="*/ 2147483647 w 24"/>
                <a:gd name="T31" fmla="*/ 2147483647 h 59"/>
                <a:gd name="T32" fmla="*/ 2147483647 w 24"/>
                <a:gd name="T33" fmla="*/ 2147483647 h 59"/>
                <a:gd name="T34" fmla="*/ 2147483647 w 24"/>
                <a:gd name="T35" fmla="*/ 2147483647 h 59"/>
                <a:gd name="T36" fmla="*/ 2147483647 w 24"/>
                <a:gd name="T37" fmla="*/ 2147483647 h 59"/>
                <a:gd name="T38" fmla="*/ 2147483647 w 24"/>
                <a:gd name="T39" fmla="*/ 2147483647 h 59"/>
                <a:gd name="T40" fmla="*/ 2147483647 w 24"/>
                <a:gd name="T41" fmla="*/ 2147483647 h 5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4"/>
                <a:gd name="T64" fmla="*/ 0 h 59"/>
                <a:gd name="T65" fmla="*/ 24 w 24"/>
                <a:gd name="T66" fmla="*/ 59 h 5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4" h="59">
                  <a:moveTo>
                    <a:pt x="1" y="27"/>
                  </a:moveTo>
                  <a:cubicBezTo>
                    <a:pt x="3" y="24"/>
                    <a:pt x="4" y="23"/>
                    <a:pt x="4" y="21"/>
                  </a:cubicBezTo>
                  <a:cubicBezTo>
                    <a:pt x="4" y="19"/>
                    <a:pt x="2" y="13"/>
                    <a:pt x="3" y="11"/>
                  </a:cubicBezTo>
                  <a:cubicBezTo>
                    <a:pt x="5" y="9"/>
                    <a:pt x="5" y="7"/>
                    <a:pt x="5" y="5"/>
                  </a:cubicBezTo>
                  <a:cubicBezTo>
                    <a:pt x="4" y="4"/>
                    <a:pt x="4" y="2"/>
                    <a:pt x="3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11" y="0"/>
                    <a:pt x="13" y="2"/>
                  </a:cubicBezTo>
                  <a:cubicBezTo>
                    <a:pt x="14" y="4"/>
                    <a:pt x="17" y="16"/>
                    <a:pt x="17" y="16"/>
                  </a:cubicBezTo>
                  <a:cubicBezTo>
                    <a:pt x="16" y="17"/>
                    <a:pt x="16" y="17"/>
                    <a:pt x="15" y="17"/>
                  </a:cubicBezTo>
                  <a:cubicBezTo>
                    <a:pt x="13" y="18"/>
                    <a:pt x="12" y="27"/>
                    <a:pt x="12" y="28"/>
                  </a:cubicBezTo>
                  <a:cubicBezTo>
                    <a:pt x="12" y="29"/>
                    <a:pt x="15" y="28"/>
                    <a:pt x="16" y="30"/>
                  </a:cubicBezTo>
                  <a:cubicBezTo>
                    <a:pt x="18" y="32"/>
                    <a:pt x="22" y="38"/>
                    <a:pt x="23" y="39"/>
                  </a:cubicBezTo>
                  <a:cubicBezTo>
                    <a:pt x="24" y="41"/>
                    <a:pt x="23" y="50"/>
                    <a:pt x="23" y="50"/>
                  </a:cubicBezTo>
                  <a:cubicBezTo>
                    <a:pt x="23" y="50"/>
                    <a:pt x="21" y="51"/>
                    <a:pt x="20" y="52"/>
                  </a:cubicBezTo>
                  <a:cubicBezTo>
                    <a:pt x="19" y="53"/>
                    <a:pt x="20" y="58"/>
                    <a:pt x="19" y="59"/>
                  </a:cubicBezTo>
                  <a:cubicBezTo>
                    <a:pt x="17" y="59"/>
                    <a:pt x="11" y="51"/>
                    <a:pt x="10" y="49"/>
                  </a:cubicBezTo>
                  <a:cubicBezTo>
                    <a:pt x="10" y="47"/>
                    <a:pt x="14" y="39"/>
                    <a:pt x="13" y="38"/>
                  </a:cubicBezTo>
                  <a:cubicBezTo>
                    <a:pt x="12" y="36"/>
                    <a:pt x="9" y="39"/>
                    <a:pt x="7" y="39"/>
                  </a:cubicBezTo>
                  <a:cubicBezTo>
                    <a:pt x="5" y="39"/>
                    <a:pt x="7" y="35"/>
                    <a:pt x="5" y="35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4"/>
                    <a:pt x="0" y="30"/>
                    <a:pt x="1" y="2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04" name="Freeform 458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6482322" y="3942470"/>
              <a:ext cx="452784" cy="558395"/>
            </a:xfrm>
            <a:custGeom>
              <a:avLst/>
              <a:gdLst>
                <a:gd name="T0" fmla="*/ 2147483647 w 129"/>
                <a:gd name="T1" fmla="*/ 2147483647 h 151"/>
                <a:gd name="T2" fmla="*/ 2147483647 w 129"/>
                <a:gd name="T3" fmla="*/ 2147483647 h 151"/>
                <a:gd name="T4" fmla="*/ 2147483647 w 129"/>
                <a:gd name="T5" fmla="*/ 2147483647 h 151"/>
                <a:gd name="T6" fmla="*/ 2147483647 w 129"/>
                <a:gd name="T7" fmla="*/ 2147483647 h 151"/>
                <a:gd name="T8" fmla="*/ 2147483647 w 129"/>
                <a:gd name="T9" fmla="*/ 2147483647 h 151"/>
                <a:gd name="T10" fmla="*/ 2147483647 w 129"/>
                <a:gd name="T11" fmla="*/ 2147483647 h 151"/>
                <a:gd name="T12" fmla="*/ 2147483647 w 129"/>
                <a:gd name="T13" fmla="*/ 2147483647 h 151"/>
                <a:gd name="T14" fmla="*/ 2147483647 w 129"/>
                <a:gd name="T15" fmla="*/ 2147483647 h 151"/>
                <a:gd name="T16" fmla="*/ 2147483647 w 129"/>
                <a:gd name="T17" fmla="*/ 0 h 151"/>
                <a:gd name="T18" fmla="*/ 2147483647 w 129"/>
                <a:gd name="T19" fmla="*/ 2147483647 h 151"/>
                <a:gd name="T20" fmla="*/ 2147483647 w 129"/>
                <a:gd name="T21" fmla="*/ 2147483647 h 151"/>
                <a:gd name="T22" fmla="*/ 2147483647 w 129"/>
                <a:gd name="T23" fmla="*/ 2147483647 h 151"/>
                <a:gd name="T24" fmla="*/ 2147483647 w 129"/>
                <a:gd name="T25" fmla="*/ 2147483647 h 151"/>
                <a:gd name="T26" fmla="*/ 2147483647 w 129"/>
                <a:gd name="T27" fmla="*/ 2147483647 h 151"/>
                <a:gd name="T28" fmla="*/ 2147483647 w 129"/>
                <a:gd name="T29" fmla="*/ 2147483647 h 151"/>
                <a:gd name="T30" fmla="*/ 2147483647 w 129"/>
                <a:gd name="T31" fmla="*/ 2147483647 h 151"/>
                <a:gd name="T32" fmla="*/ 2147483647 w 129"/>
                <a:gd name="T33" fmla="*/ 2147483647 h 151"/>
                <a:gd name="T34" fmla="*/ 2147483647 w 129"/>
                <a:gd name="T35" fmla="*/ 2147483647 h 151"/>
                <a:gd name="T36" fmla="*/ 2147483647 w 129"/>
                <a:gd name="T37" fmla="*/ 2147483647 h 151"/>
                <a:gd name="T38" fmla="*/ 2147483647 w 129"/>
                <a:gd name="T39" fmla="*/ 2147483647 h 151"/>
                <a:gd name="T40" fmla="*/ 2147483647 w 129"/>
                <a:gd name="T41" fmla="*/ 2147483647 h 151"/>
                <a:gd name="T42" fmla="*/ 2147483647 w 129"/>
                <a:gd name="T43" fmla="*/ 2147483647 h 151"/>
                <a:gd name="T44" fmla="*/ 2147483647 w 129"/>
                <a:gd name="T45" fmla="*/ 2147483647 h 151"/>
                <a:gd name="T46" fmla="*/ 2147483647 w 129"/>
                <a:gd name="T47" fmla="*/ 2147483647 h 151"/>
                <a:gd name="T48" fmla="*/ 2147483647 w 129"/>
                <a:gd name="T49" fmla="*/ 2147483647 h 151"/>
                <a:gd name="T50" fmla="*/ 2147483647 w 129"/>
                <a:gd name="T51" fmla="*/ 2147483647 h 151"/>
                <a:gd name="T52" fmla="*/ 2147483647 w 129"/>
                <a:gd name="T53" fmla="*/ 2147483647 h 151"/>
                <a:gd name="T54" fmla="*/ 2147483647 w 129"/>
                <a:gd name="T55" fmla="*/ 2147483647 h 151"/>
                <a:gd name="T56" fmla="*/ 2147483647 w 129"/>
                <a:gd name="T57" fmla="*/ 2147483647 h 151"/>
                <a:gd name="T58" fmla="*/ 2147483647 w 129"/>
                <a:gd name="T59" fmla="*/ 2147483647 h 151"/>
                <a:gd name="T60" fmla="*/ 2147483647 w 129"/>
                <a:gd name="T61" fmla="*/ 2147483647 h 151"/>
                <a:gd name="T62" fmla="*/ 2147483647 w 129"/>
                <a:gd name="T63" fmla="*/ 2147483647 h 151"/>
                <a:gd name="T64" fmla="*/ 2147483647 w 129"/>
                <a:gd name="T65" fmla="*/ 2147483647 h 151"/>
                <a:gd name="T66" fmla="*/ 2147483647 w 129"/>
                <a:gd name="T67" fmla="*/ 2147483647 h 151"/>
                <a:gd name="T68" fmla="*/ 2147483647 w 129"/>
                <a:gd name="T69" fmla="*/ 2147483647 h 151"/>
                <a:gd name="T70" fmla="*/ 2147483647 w 129"/>
                <a:gd name="T71" fmla="*/ 2147483647 h 151"/>
                <a:gd name="T72" fmla="*/ 2147483647 w 129"/>
                <a:gd name="T73" fmla="*/ 2147483647 h 151"/>
                <a:gd name="T74" fmla="*/ 2147483647 w 129"/>
                <a:gd name="T75" fmla="*/ 2147483647 h 151"/>
                <a:gd name="T76" fmla="*/ 2147483647 w 129"/>
                <a:gd name="T77" fmla="*/ 2147483647 h 151"/>
                <a:gd name="T78" fmla="*/ 2147483647 w 129"/>
                <a:gd name="T79" fmla="*/ 2147483647 h 151"/>
                <a:gd name="T80" fmla="*/ 2147483647 w 129"/>
                <a:gd name="T81" fmla="*/ 2147483647 h 151"/>
                <a:gd name="T82" fmla="*/ 2147483647 w 129"/>
                <a:gd name="T83" fmla="*/ 2147483647 h 151"/>
                <a:gd name="T84" fmla="*/ 2147483647 w 129"/>
                <a:gd name="T85" fmla="*/ 2147483647 h 151"/>
                <a:gd name="T86" fmla="*/ 2147483647 w 129"/>
                <a:gd name="T87" fmla="*/ 2147483647 h 151"/>
                <a:gd name="T88" fmla="*/ 2147483647 w 129"/>
                <a:gd name="T89" fmla="*/ 2147483647 h 151"/>
                <a:gd name="T90" fmla="*/ 2147483647 w 129"/>
                <a:gd name="T91" fmla="*/ 2147483647 h 151"/>
                <a:gd name="T92" fmla="*/ 2147483647 w 129"/>
                <a:gd name="T93" fmla="*/ 2147483647 h 151"/>
                <a:gd name="T94" fmla="*/ 2147483647 w 129"/>
                <a:gd name="T95" fmla="*/ 2147483647 h 151"/>
                <a:gd name="T96" fmla="*/ 2147483647 w 129"/>
                <a:gd name="T97" fmla="*/ 2147483647 h 151"/>
                <a:gd name="T98" fmla="*/ 0 w 129"/>
                <a:gd name="T99" fmla="*/ 2147483647 h 151"/>
                <a:gd name="T100" fmla="*/ 2147483647 w 129"/>
                <a:gd name="T101" fmla="*/ 2147483647 h 151"/>
                <a:gd name="T102" fmla="*/ 2147483647 w 129"/>
                <a:gd name="T103" fmla="*/ 2147483647 h 151"/>
                <a:gd name="T104" fmla="*/ 2147483647 w 129"/>
                <a:gd name="T105" fmla="*/ 2147483647 h 151"/>
                <a:gd name="T106" fmla="*/ 2147483647 w 129"/>
                <a:gd name="T107" fmla="*/ 2147483647 h 15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29"/>
                <a:gd name="T163" fmla="*/ 0 h 151"/>
                <a:gd name="T164" fmla="*/ 129 w 129"/>
                <a:gd name="T165" fmla="*/ 151 h 15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29" h="151">
                  <a:moveTo>
                    <a:pt x="16" y="27"/>
                  </a:moveTo>
                  <a:cubicBezTo>
                    <a:pt x="16" y="24"/>
                    <a:pt x="16" y="24"/>
                    <a:pt x="16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87" y="7"/>
                    <a:pt x="87" y="7"/>
                    <a:pt x="87" y="7"/>
                  </a:cubicBezTo>
                  <a:cubicBezTo>
                    <a:pt x="89" y="8"/>
                    <a:pt x="90" y="11"/>
                    <a:pt x="92" y="10"/>
                  </a:cubicBezTo>
                  <a:cubicBezTo>
                    <a:pt x="94" y="9"/>
                    <a:pt x="98" y="6"/>
                    <a:pt x="98" y="6"/>
                  </a:cubicBezTo>
                  <a:cubicBezTo>
                    <a:pt x="98" y="6"/>
                    <a:pt x="99" y="1"/>
                    <a:pt x="100" y="1"/>
                  </a:cubicBezTo>
                  <a:cubicBezTo>
                    <a:pt x="102" y="1"/>
                    <a:pt x="105" y="0"/>
                    <a:pt x="105" y="0"/>
                  </a:cubicBezTo>
                  <a:cubicBezTo>
                    <a:pt x="105" y="0"/>
                    <a:pt x="105" y="1"/>
                    <a:pt x="106" y="1"/>
                  </a:cubicBezTo>
                  <a:cubicBezTo>
                    <a:pt x="110" y="3"/>
                    <a:pt x="110" y="2"/>
                    <a:pt x="111" y="3"/>
                  </a:cubicBezTo>
                  <a:cubicBezTo>
                    <a:pt x="112" y="3"/>
                    <a:pt x="115" y="6"/>
                    <a:pt x="115" y="7"/>
                  </a:cubicBezTo>
                  <a:cubicBezTo>
                    <a:pt x="116" y="8"/>
                    <a:pt x="117" y="30"/>
                    <a:pt x="119" y="32"/>
                  </a:cubicBezTo>
                  <a:cubicBezTo>
                    <a:pt x="121" y="34"/>
                    <a:pt x="127" y="36"/>
                    <a:pt x="128" y="38"/>
                  </a:cubicBezTo>
                  <a:cubicBezTo>
                    <a:pt x="128" y="39"/>
                    <a:pt x="128" y="40"/>
                    <a:pt x="129" y="41"/>
                  </a:cubicBezTo>
                  <a:cubicBezTo>
                    <a:pt x="129" y="41"/>
                    <a:pt x="127" y="42"/>
                    <a:pt x="124" y="43"/>
                  </a:cubicBezTo>
                  <a:cubicBezTo>
                    <a:pt x="122" y="44"/>
                    <a:pt x="117" y="45"/>
                    <a:pt x="116" y="52"/>
                  </a:cubicBezTo>
                  <a:cubicBezTo>
                    <a:pt x="114" y="59"/>
                    <a:pt x="113" y="67"/>
                    <a:pt x="112" y="70"/>
                  </a:cubicBezTo>
                  <a:cubicBezTo>
                    <a:pt x="111" y="72"/>
                    <a:pt x="110" y="80"/>
                    <a:pt x="109" y="80"/>
                  </a:cubicBezTo>
                  <a:cubicBezTo>
                    <a:pt x="108" y="81"/>
                    <a:pt x="104" y="82"/>
                    <a:pt x="102" y="86"/>
                  </a:cubicBezTo>
                  <a:cubicBezTo>
                    <a:pt x="101" y="89"/>
                    <a:pt x="100" y="95"/>
                    <a:pt x="100" y="95"/>
                  </a:cubicBezTo>
                  <a:cubicBezTo>
                    <a:pt x="100" y="95"/>
                    <a:pt x="96" y="94"/>
                    <a:pt x="96" y="98"/>
                  </a:cubicBezTo>
                  <a:cubicBezTo>
                    <a:pt x="96" y="101"/>
                    <a:pt x="94" y="112"/>
                    <a:pt x="92" y="114"/>
                  </a:cubicBezTo>
                  <a:cubicBezTo>
                    <a:pt x="91" y="115"/>
                    <a:pt x="86" y="112"/>
                    <a:pt x="85" y="114"/>
                  </a:cubicBezTo>
                  <a:cubicBezTo>
                    <a:pt x="84" y="117"/>
                    <a:pt x="83" y="121"/>
                    <a:pt x="85" y="121"/>
                  </a:cubicBezTo>
                  <a:cubicBezTo>
                    <a:pt x="87" y="122"/>
                    <a:pt x="91" y="121"/>
                    <a:pt x="93" y="124"/>
                  </a:cubicBezTo>
                  <a:cubicBezTo>
                    <a:pt x="96" y="126"/>
                    <a:pt x="102" y="127"/>
                    <a:pt x="102" y="129"/>
                  </a:cubicBezTo>
                  <a:cubicBezTo>
                    <a:pt x="102" y="131"/>
                    <a:pt x="103" y="134"/>
                    <a:pt x="105" y="134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95" y="143"/>
                    <a:pt x="95" y="143"/>
                    <a:pt x="95" y="143"/>
                  </a:cubicBezTo>
                  <a:cubicBezTo>
                    <a:pt x="93" y="146"/>
                    <a:pt x="93" y="146"/>
                    <a:pt x="93" y="146"/>
                  </a:cubicBezTo>
                  <a:cubicBezTo>
                    <a:pt x="91" y="150"/>
                    <a:pt x="91" y="150"/>
                    <a:pt x="91" y="150"/>
                  </a:cubicBezTo>
                  <a:cubicBezTo>
                    <a:pt x="91" y="150"/>
                    <a:pt x="84" y="150"/>
                    <a:pt x="81" y="150"/>
                  </a:cubicBezTo>
                  <a:cubicBezTo>
                    <a:pt x="78" y="150"/>
                    <a:pt x="71" y="150"/>
                    <a:pt x="70" y="151"/>
                  </a:cubicBezTo>
                  <a:cubicBezTo>
                    <a:pt x="63" y="147"/>
                    <a:pt x="63" y="147"/>
                    <a:pt x="63" y="147"/>
                  </a:cubicBezTo>
                  <a:cubicBezTo>
                    <a:pt x="63" y="147"/>
                    <a:pt x="61" y="144"/>
                    <a:pt x="59" y="143"/>
                  </a:cubicBezTo>
                  <a:cubicBezTo>
                    <a:pt x="57" y="142"/>
                    <a:pt x="58" y="146"/>
                    <a:pt x="53" y="146"/>
                  </a:cubicBezTo>
                  <a:cubicBezTo>
                    <a:pt x="48" y="146"/>
                    <a:pt x="47" y="144"/>
                    <a:pt x="45" y="142"/>
                  </a:cubicBezTo>
                  <a:cubicBezTo>
                    <a:pt x="44" y="141"/>
                    <a:pt x="43" y="140"/>
                    <a:pt x="41" y="139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2" y="134"/>
                    <a:pt x="36" y="129"/>
                    <a:pt x="35" y="128"/>
                  </a:cubicBezTo>
                  <a:cubicBezTo>
                    <a:pt x="34" y="127"/>
                    <a:pt x="29" y="123"/>
                    <a:pt x="27" y="122"/>
                  </a:cubicBezTo>
                  <a:cubicBezTo>
                    <a:pt x="25" y="121"/>
                    <a:pt x="23" y="118"/>
                    <a:pt x="22" y="116"/>
                  </a:cubicBezTo>
                  <a:cubicBezTo>
                    <a:pt x="22" y="114"/>
                    <a:pt x="13" y="112"/>
                    <a:pt x="13" y="112"/>
                  </a:cubicBezTo>
                  <a:cubicBezTo>
                    <a:pt x="13" y="112"/>
                    <a:pt x="14" y="107"/>
                    <a:pt x="14" y="104"/>
                  </a:cubicBezTo>
                  <a:cubicBezTo>
                    <a:pt x="14" y="101"/>
                    <a:pt x="9" y="97"/>
                    <a:pt x="8" y="95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7" y="86"/>
                    <a:pt x="4" y="84"/>
                    <a:pt x="4" y="82"/>
                  </a:cubicBezTo>
                  <a:cubicBezTo>
                    <a:pt x="4" y="81"/>
                    <a:pt x="0" y="83"/>
                    <a:pt x="0" y="79"/>
                  </a:cubicBezTo>
                  <a:cubicBezTo>
                    <a:pt x="1" y="76"/>
                    <a:pt x="4" y="74"/>
                    <a:pt x="4" y="71"/>
                  </a:cubicBezTo>
                  <a:cubicBezTo>
                    <a:pt x="5" y="68"/>
                    <a:pt x="6" y="61"/>
                    <a:pt x="8" y="59"/>
                  </a:cubicBezTo>
                  <a:cubicBezTo>
                    <a:pt x="9" y="58"/>
                    <a:pt x="16" y="57"/>
                    <a:pt x="16" y="57"/>
                  </a:cubicBezTo>
                  <a:lnTo>
                    <a:pt x="16" y="27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05" name="Freeform 459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6758108" y="3549437"/>
              <a:ext cx="61743" cy="38345"/>
            </a:xfrm>
            <a:custGeom>
              <a:avLst/>
              <a:gdLst>
                <a:gd name="T0" fmla="*/ 2147483647 w 18"/>
                <a:gd name="T1" fmla="*/ 2147483647 h 10"/>
                <a:gd name="T2" fmla="*/ 2147483647 w 18"/>
                <a:gd name="T3" fmla="*/ 2147483647 h 10"/>
                <a:gd name="T4" fmla="*/ 2147483647 w 18"/>
                <a:gd name="T5" fmla="*/ 2147483647 h 10"/>
                <a:gd name="T6" fmla="*/ 2147483647 w 18"/>
                <a:gd name="T7" fmla="*/ 2147483647 h 10"/>
                <a:gd name="T8" fmla="*/ 2147483647 w 18"/>
                <a:gd name="T9" fmla="*/ 2147483647 h 10"/>
                <a:gd name="T10" fmla="*/ 2147483647 w 18"/>
                <a:gd name="T11" fmla="*/ 2147483647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10"/>
                <a:gd name="T20" fmla="*/ 18 w 18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10">
                  <a:moveTo>
                    <a:pt x="7" y="10"/>
                  </a:moveTo>
                  <a:cubicBezTo>
                    <a:pt x="5" y="10"/>
                    <a:pt x="2" y="9"/>
                    <a:pt x="2" y="9"/>
                  </a:cubicBezTo>
                  <a:cubicBezTo>
                    <a:pt x="0" y="7"/>
                    <a:pt x="2" y="5"/>
                    <a:pt x="4" y="5"/>
                  </a:cubicBezTo>
                  <a:cubicBezTo>
                    <a:pt x="5" y="4"/>
                    <a:pt x="15" y="2"/>
                    <a:pt x="16" y="1"/>
                  </a:cubicBezTo>
                  <a:cubicBezTo>
                    <a:pt x="18" y="0"/>
                    <a:pt x="14" y="8"/>
                    <a:pt x="12" y="9"/>
                  </a:cubicBezTo>
                  <a:cubicBezTo>
                    <a:pt x="11" y="10"/>
                    <a:pt x="9" y="10"/>
                    <a:pt x="7" y="1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06" name="Freeform 460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6712830" y="5339657"/>
              <a:ext cx="47337" cy="62310"/>
            </a:xfrm>
            <a:custGeom>
              <a:avLst/>
              <a:gdLst>
                <a:gd name="T0" fmla="*/ 2147483647 w 13"/>
                <a:gd name="T1" fmla="*/ 2147483647 h 17"/>
                <a:gd name="T2" fmla="*/ 2147483647 w 13"/>
                <a:gd name="T3" fmla="*/ 2147483647 h 17"/>
                <a:gd name="T4" fmla="*/ 2147483647 w 13"/>
                <a:gd name="T5" fmla="*/ 2147483647 h 17"/>
                <a:gd name="T6" fmla="*/ 2147483647 w 13"/>
                <a:gd name="T7" fmla="*/ 2147483647 h 17"/>
                <a:gd name="T8" fmla="*/ 2147483647 w 13"/>
                <a:gd name="T9" fmla="*/ 2147483647 h 17"/>
                <a:gd name="T10" fmla="*/ 2147483647 w 13"/>
                <a:gd name="T11" fmla="*/ 214748364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17"/>
                <a:gd name="T20" fmla="*/ 13 w 13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17">
                  <a:moveTo>
                    <a:pt x="2" y="10"/>
                  </a:moveTo>
                  <a:cubicBezTo>
                    <a:pt x="2" y="7"/>
                    <a:pt x="4" y="2"/>
                    <a:pt x="7" y="1"/>
                  </a:cubicBezTo>
                  <a:cubicBezTo>
                    <a:pt x="10" y="0"/>
                    <a:pt x="11" y="3"/>
                    <a:pt x="11" y="3"/>
                  </a:cubicBezTo>
                  <a:cubicBezTo>
                    <a:pt x="11" y="6"/>
                    <a:pt x="11" y="10"/>
                    <a:pt x="11" y="10"/>
                  </a:cubicBezTo>
                  <a:cubicBezTo>
                    <a:pt x="11" y="10"/>
                    <a:pt x="13" y="17"/>
                    <a:pt x="3" y="15"/>
                  </a:cubicBezTo>
                  <a:cubicBezTo>
                    <a:pt x="0" y="14"/>
                    <a:pt x="2" y="12"/>
                    <a:pt x="2" y="1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07" name="Freeform 461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6708714" y="4898692"/>
              <a:ext cx="288135" cy="479309"/>
            </a:xfrm>
            <a:custGeom>
              <a:avLst/>
              <a:gdLst>
                <a:gd name="T0" fmla="*/ 2147483647 w 82"/>
                <a:gd name="T1" fmla="*/ 2147483647 h 130"/>
                <a:gd name="T2" fmla="*/ 0 w 82"/>
                <a:gd name="T3" fmla="*/ 2147483647 h 130"/>
                <a:gd name="T4" fmla="*/ 0 w 82"/>
                <a:gd name="T5" fmla="*/ 2147483647 h 130"/>
                <a:gd name="T6" fmla="*/ 0 w 82"/>
                <a:gd name="T7" fmla="*/ 2147483647 h 130"/>
                <a:gd name="T8" fmla="*/ 2147483647 w 82"/>
                <a:gd name="T9" fmla="*/ 2147483647 h 130"/>
                <a:gd name="T10" fmla="*/ 2147483647 w 82"/>
                <a:gd name="T11" fmla="*/ 2147483647 h 130"/>
                <a:gd name="T12" fmla="*/ 2147483647 w 82"/>
                <a:gd name="T13" fmla="*/ 2147483647 h 130"/>
                <a:gd name="T14" fmla="*/ 2147483647 w 82"/>
                <a:gd name="T15" fmla="*/ 2147483647 h 130"/>
                <a:gd name="T16" fmla="*/ 2147483647 w 82"/>
                <a:gd name="T17" fmla="*/ 2147483647 h 130"/>
                <a:gd name="T18" fmla="*/ 2147483647 w 82"/>
                <a:gd name="T19" fmla="*/ 2147483647 h 130"/>
                <a:gd name="T20" fmla="*/ 2147483647 w 82"/>
                <a:gd name="T21" fmla="*/ 2147483647 h 130"/>
                <a:gd name="T22" fmla="*/ 2147483647 w 82"/>
                <a:gd name="T23" fmla="*/ 2147483647 h 130"/>
                <a:gd name="T24" fmla="*/ 2147483647 w 82"/>
                <a:gd name="T25" fmla="*/ 2147483647 h 130"/>
                <a:gd name="T26" fmla="*/ 2147483647 w 82"/>
                <a:gd name="T27" fmla="*/ 2147483647 h 130"/>
                <a:gd name="T28" fmla="*/ 2147483647 w 82"/>
                <a:gd name="T29" fmla="*/ 2147483647 h 130"/>
                <a:gd name="T30" fmla="*/ 2147483647 w 82"/>
                <a:gd name="T31" fmla="*/ 2147483647 h 130"/>
                <a:gd name="T32" fmla="*/ 2147483647 w 82"/>
                <a:gd name="T33" fmla="*/ 2147483647 h 130"/>
                <a:gd name="T34" fmla="*/ 2147483647 w 82"/>
                <a:gd name="T35" fmla="*/ 2147483647 h 130"/>
                <a:gd name="T36" fmla="*/ 2147483647 w 82"/>
                <a:gd name="T37" fmla="*/ 2147483647 h 130"/>
                <a:gd name="T38" fmla="*/ 2147483647 w 82"/>
                <a:gd name="T39" fmla="*/ 2147483647 h 130"/>
                <a:gd name="T40" fmla="*/ 2147483647 w 82"/>
                <a:gd name="T41" fmla="*/ 2147483647 h 130"/>
                <a:gd name="T42" fmla="*/ 2147483647 w 82"/>
                <a:gd name="T43" fmla="*/ 0 h 130"/>
                <a:gd name="T44" fmla="*/ 2147483647 w 82"/>
                <a:gd name="T45" fmla="*/ 2147483647 h 130"/>
                <a:gd name="T46" fmla="*/ 2147483647 w 82"/>
                <a:gd name="T47" fmla="*/ 2147483647 h 130"/>
                <a:gd name="T48" fmla="*/ 2147483647 w 82"/>
                <a:gd name="T49" fmla="*/ 2147483647 h 130"/>
                <a:gd name="T50" fmla="*/ 2147483647 w 82"/>
                <a:gd name="T51" fmla="*/ 2147483647 h 130"/>
                <a:gd name="T52" fmla="*/ 2147483647 w 82"/>
                <a:gd name="T53" fmla="*/ 2147483647 h 130"/>
                <a:gd name="T54" fmla="*/ 2147483647 w 82"/>
                <a:gd name="T55" fmla="*/ 2147483647 h 130"/>
                <a:gd name="T56" fmla="*/ 2147483647 w 82"/>
                <a:gd name="T57" fmla="*/ 2147483647 h 130"/>
                <a:gd name="T58" fmla="*/ 2147483647 w 82"/>
                <a:gd name="T59" fmla="*/ 2147483647 h 130"/>
                <a:gd name="T60" fmla="*/ 2147483647 w 82"/>
                <a:gd name="T61" fmla="*/ 2147483647 h 130"/>
                <a:gd name="T62" fmla="*/ 2147483647 w 82"/>
                <a:gd name="T63" fmla="*/ 2147483647 h 130"/>
                <a:gd name="T64" fmla="*/ 2147483647 w 82"/>
                <a:gd name="T65" fmla="*/ 2147483647 h 130"/>
                <a:gd name="T66" fmla="*/ 2147483647 w 82"/>
                <a:gd name="T67" fmla="*/ 2147483647 h 130"/>
                <a:gd name="T68" fmla="*/ 2147483647 w 82"/>
                <a:gd name="T69" fmla="*/ 2147483647 h 130"/>
                <a:gd name="T70" fmla="*/ 2147483647 w 82"/>
                <a:gd name="T71" fmla="*/ 2147483647 h 130"/>
                <a:gd name="T72" fmla="*/ 2147483647 w 82"/>
                <a:gd name="T73" fmla="*/ 2147483647 h 130"/>
                <a:gd name="T74" fmla="*/ 2147483647 w 82"/>
                <a:gd name="T75" fmla="*/ 2147483647 h 130"/>
                <a:gd name="T76" fmla="*/ 2147483647 w 82"/>
                <a:gd name="T77" fmla="*/ 2147483647 h 130"/>
                <a:gd name="T78" fmla="*/ 2147483647 w 82"/>
                <a:gd name="T79" fmla="*/ 2147483647 h 130"/>
                <a:gd name="T80" fmla="*/ 2147483647 w 82"/>
                <a:gd name="T81" fmla="*/ 2147483647 h 130"/>
                <a:gd name="T82" fmla="*/ 2147483647 w 82"/>
                <a:gd name="T83" fmla="*/ 2147483647 h 130"/>
                <a:gd name="T84" fmla="*/ 2147483647 w 82"/>
                <a:gd name="T85" fmla="*/ 2147483647 h 130"/>
                <a:gd name="T86" fmla="*/ 2147483647 w 82"/>
                <a:gd name="T87" fmla="*/ 2147483647 h 130"/>
                <a:gd name="T88" fmla="*/ 2147483647 w 82"/>
                <a:gd name="T89" fmla="*/ 2147483647 h 130"/>
                <a:gd name="T90" fmla="*/ 2147483647 w 82"/>
                <a:gd name="T91" fmla="*/ 2147483647 h 130"/>
                <a:gd name="T92" fmla="*/ 2147483647 w 82"/>
                <a:gd name="T93" fmla="*/ 2147483647 h 130"/>
                <a:gd name="T94" fmla="*/ 2147483647 w 82"/>
                <a:gd name="T95" fmla="*/ 2147483647 h 130"/>
                <a:gd name="T96" fmla="*/ 2147483647 w 82"/>
                <a:gd name="T97" fmla="*/ 2147483647 h 13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2"/>
                <a:gd name="T148" fmla="*/ 0 h 130"/>
                <a:gd name="T149" fmla="*/ 82 w 82"/>
                <a:gd name="T150" fmla="*/ 130 h 13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2" h="130">
                  <a:moveTo>
                    <a:pt x="1" y="43"/>
                  </a:moveTo>
                  <a:cubicBezTo>
                    <a:pt x="1" y="43"/>
                    <a:pt x="1" y="41"/>
                    <a:pt x="0" y="40"/>
                  </a:cubicBezTo>
                  <a:cubicBezTo>
                    <a:pt x="0" y="38"/>
                    <a:pt x="0" y="35"/>
                    <a:pt x="0" y="3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2" y="33"/>
                    <a:pt x="19" y="28"/>
                    <a:pt x="20" y="27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6" y="28"/>
                    <a:pt x="24" y="32"/>
                    <a:pt x="26" y="32"/>
                  </a:cubicBezTo>
                  <a:cubicBezTo>
                    <a:pt x="28" y="32"/>
                    <a:pt x="31" y="29"/>
                    <a:pt x="32" y="31"/>
                  </a:cubicBezTo>
                  <a:cubicBezTo>
                    <a:pt x="33" y="32"/>
                    <a:pt x="29" y="40"/>
                    <a:pt x="29" y="42"/>
                  </a:cubicBezTo>
                  <a:cubicBezTo>
                    <a:pt x="30" y="44"/>
                    <a:pt x="36" y="52"/>
                    <a:pt x="38" y="52"/>
                  </a:cubicBezTo>
                  <a:cubicBezTo>
                    <a:pt x="39" y="51"/>
                    <a:pt x="38" y="46"/>
                    <a:pt x="39" y="45"/>
                  </a:cubicBezTo>
                  <a:cubicBezTo>
                    <a:pt x="40" y="44"/>
                    <a:pt x="42" y="43"/>
                    <a:pt x="42" y="43"/>
                  </a:cubicBezTo>
                  <a:cubicBezTo>
                    <a:pt x="42" y="43"/>
                    <a:pt x="43" y="34"/>
                    <a:pt x="42" y="32"/>
                  </a:cubicBezTo>
                  <a:cubicBezTo>
                    <a:pt x="41" y="31"/>
                    <a:pt x="37" y="25"/>
                    <a:pt x="35" y="23"/>
                  </a:cubicBezTo>
                  <a:cubicBezTo>
                    <a:pt x="34" y="21"/>
                    <a:pt x="31" y="22"/>
                    <a:pt x="31" y="21"/>
                  </a:cubicBezTo>
                  <a:cubicBezTo>
                    <a:pt x="31" y="20"/>
                    <a:pt x="32" y="11"/>
                    <a:pt x="34" y="10"/>
                  </a:cubicBezTo>
                  <a:cubicBezTo>
                    <a:pt x="35" y="10"/>
                    <a:pt x="35" y="10"/>
                    <a:pt x="36" y="9"/>
                  </a:cubicBezTo>
                  <a:cubicBezTo>
                    <a:pt x="38" y="9"/>
                    <a:pt x="40" y="8"/>
                    <a:pt x="41" y="8"/>
                  </a:cubicBezTo>
                  <a:cubicBezTo>
                    <a:pt x="43" y="9"/>
                    <a:pt x="46" y="10"/>
                    <a:pt x="49" y="10"/>
                  </a:cubicBezTo>
                  <a:cubicBezTo>
                    <a:pt x="53" y="10"/>
                    <a:pt x="57" y="8"/>
                    <a:pt x="59" y="7"/>
                  </a:cubicBezTo>
                  <a:cubicBezTo>
                    <a:pt x="61" y="6"/>
                    <a:pt x="67" y="6"/>
                    <a:pt x="69" y="5"/>
                  </a:cubicBezTo>
                  <a:cubicBezTo>
                    <a:pt x="71" y="4"/>
                    <a:pt x="78" y="0"/>
                    <a:pt x="78" y="0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10"/>
                    <a:pt x="79" y="22"/>
                    <a:pt x="79" y="26"/>
                  </a:cubicBezTo>
                  <a:cubicBezTo>
                    <a:pt x="80" y="30"/>
                    <a:pt x="82" y="33"/>
                    <a:pt x="80" y="36"/>
                  </a:cubicBezTo>
                  <a:cubicBezTo>
                    <a:pt x="77" y="39"/>
                    <a:pt x="73" y="49"/>
                    <a:pt x="69" y="50"/>
                  </a:cubicBezTo>
                  <a:cubicBezTo>
                    <a:pt x="64" y="51"/>
                    <a:pt x="52" y="56"/>
                    <a:pt x="49" y="59"/>
                  </a:cubicBezTo>
                  <a:cubicBezTo>
                    <a:pt x="46" y="63"/>
                    <a:pt x="42" y="68"/>
                    <a:pt x="40" y="69"/>
                  </a:cubicBezTo>
                  <a:cubicBezTo>
                    <a:pt x="37" y="71"/>
                    <a:pt x="32" y="72"/>
                    <a:pt x="32" y="75"/>
                  </a:cubicBezTo>
                  <a:cubicBezTo>
                    <a:pt x="32" y="78"/>
                    <a:pt x="31" y="80"/>
                    <a:pt x="34" y="81"/>
                  </a:cubicBezTo>
                  <a:cubicBezTo>
                    <a:pt x="36" y="83"/>
                    <a:pt x="39" y="87"/>
                    <a:pt x="40" y="90"/>
                  </a:cubicBezTo>
                  <a:cubicBezTo>
                    <a:pt x="41" y="94"/>
                    <a:pt x="42" y="105"/>
                    <a:pt x="40" y="108"/>
                  </a:cubicBezTo>
                  <a:cubicBezTo>
                    <a:pt x="38" y="111"/>
                    <a:pt x="22" y="117"/>
                    <a:pt x="20" y="119"/>
                  </a:cubicBezTo>
                  <a:cubicBezTo>
                    <a:pt x="18" y="120"/>
                    <a:pt x="16" y="123"/>
                    <a:pt x="18" y="124"/>
                  </a:cubicBezTo>
                  <a:cubicBezTo>
                    <a:pt x="19" y="125"/>
                    <a:pt x="19" y="127"/>
                    <a:pt x="19" y="130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2" y="129"/>
                    <a:pt x="12" y="125"/>
                    <a:pt x="12" y="122"/>
                  </a:cubicBezTo>
                  <a:cubicBezTo>
                    <a:pt x="12" y="121"/>
                    <a:pt x="12" y="120"/>
                    <a:pt x="12" y="120"/>
                  </a:cubicBezTo>
                  <a:cubicBezTo>
                    <a:pt x="12" y="118"/>
                    <a:pt x="13" y="109"/>
                    <a:pt x="11" y="106"/>
                  </a:cubicBezTo>
                  <a:cubicBezTo>
                    <a:pt x="9" y="104"/>
                    <a:pt x="8" y="97"/>
                    <a:pt x="8" y="95"/>
                  </a:cubicBezTo>
                  <a:cubicBezTo>
                    <a:pt x="8" y="94"/>
                    <a:pt x="7" y="94"/>
                    <a:pt x="7" y="93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5" y="87"/>
                    <a:pt x="16" y="86"/>
                    <a:pt x="16" y="85"/>
                  </a:cubicBezTo>
                  <a:cubicBezTo>
                    <a:pt x="16" y="83"/>
                    <a:pt x="16" y="79"/>
                    <a:pt x="18" y="78"/>
                  </a:cubicBezTo>
                  <a:cubicBezTo>
                    <a:pt x="20" y="76"/>
                    <a:pt x="20" y="75"/>
                    <a:pt x="20" y="73"/>
                  </a:cubicBezTo>
                  <a:cubicBezTo>
                    <a:pt x="20" y="72"/>
                    <a:pt x="19" y="68"/>
                    <a:pt x="20" y="65"/>
                  </a:cubicBezTo>
                  <a:cubicBezTo>
                    <a:pt x="21" y="62"/>
                    <a:pt x="20" y="50"/>
                    <a:pt x="19" y="49"/>
                  </a:cubicBezTo>
                  <a:cubicBezTo>
                    <a:pt x="18" y="48"/>
                    <a:pt x="11" y="44"/>
                    <a:pt x="9" y="44"/>
                  </a:cubicBezTo>
                  <a:cubicBezTo>
                    <a:pt x="7" y="44"/>
                    <a:pt x="1" y="43"/>
                    <a:pt x="1" y="4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08" name="Freeform 462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6681958" y="4481693"/>
              <a:ext cx="154358" cy="158172"/>
            </a:xfrm>
            <a:custGeom>
              <a:avLst/>
              <a:gdLst>
                <a:gd name="T0" fmla="*/ 0 w 44"/>
                <a:gd name="T1" fmla="*/ 2147483647 h 43"/>
                <a:gd name="T2" fmla="*/ 2147483647 w 44"/>
                <a:gd name="T3" fmla="*/ 2147483647 h 43"/>
                <a:gd name="T4" fmla="*/ 2147483647 w 44"/>
                <a:gd name="T5" fmla="*/ 2147483647 h 43"/>
                <a:gd name="T6" fmla="*/ 2147483647 w 44"/>
                <a:gd name="T7" fmla="*/ 2147483647 h 43"/>
                <a:gd name="T8" fmla="*/ 2147483647 w 44"/>
                <a:gd name="T9" fmla="*/ 2147483647 h 43"/>
                <a:gd name="T10" fmla="*/ 2147483647 w 44"/>
                <a:gd name="T11" fmla="*/ 2147483647 h 43"/>
                <a:gd name="T12" fmla="*/ 2147483647 w 44"/>
                <a:gd name="T13" fmla="*/ 2147483647 h 43"/>
                <a:gd name="T14" fmla="*/ 2147483647 w 44"/>
                <a:gd name="T15" fmla="*/ 2147483647 h 43"/>
                <a:gd name="T16" fmla="*/ 2147483647 w 44"/>
                <a:gd name="T17" fmla="*/ 0 h 43"/>
                <a:gd name="T18" fmla="*/ 2147483647 w 44"/>
                <a:gd name="T19" fmla="*/ 2147483647 h 43"/>
                <a:gd name="T20" fmla="*/ 2147483647 w 44"/>
                <a:gd name="T21" fmla="*/ 2147483647 h 43"/>
                <a:gd name="T22" fmla="*/ 2147483647 w 44"/>
                <a:gd name="T23" fmla="*/ 2147483647 h 43"/>
                <a:gd name="T24" fmla="*/ 2147483647 w 44"/>
                <a:gd name="T25" fmla="*/ 2147483647 h 43"/>
                <a:gd name="T26" fmla="*/ 2147483647 w 44"/>
                <a:gd name="T27" fmla="*/ 2147483647 h 43"/>
                <a:gd name="T28" fmla="*/ 2147483647 w 44"/>
                <a:gd name="T29" fmla="*/ 2147483647 h 43"/>
                <a:gd name="T30" fmla="*/ 0 w 44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4"/>
                <a:gd name="T49" fmla="*/ 0 h 43"/>
                <a:gd name="T50" fmla="*/ 44 w 44"/>
                <a:gd name="T51" fmla="*/ 43 h 4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4" h="43">
                  <a:moveTo>
                    <a:pt x="0" y="43"/>
                  </a:moveTo>
                  <a:cubicBezTo>
                    <a:pt x="2" y="41"/>
                    <a:pt x="3" y="35"/>
                    <a:pt x="3" y="33"/>
                  </a:cubicBezTo>
                  <a:cubicBezTo>
                    <a:pt x="4" y="31"/>
                    <a:pt x="6" y="27"/>
                    <a:pt x="9" y="25"/>
                  </a:cubicBezTo>
                  <a:cubicBezTo>
                    <a:pt x="11" y="23"/>
                    <a:pt x="16" y="17"/>
                    <a:pt x="16" y="17"/>
                  </a:cubicBezTo>
                  <a:cubicBezTo>
                    <a:pt x="16" y="17"/>
                    <a:pt x="11" y="14"/>
                    <a:pt x="11" y="13"/>
                  </a:cubicBezTo>
                  <a:cubicBezTo>
                    <a:pt x="11" y="11"/>
                    <a:pt x="12" y="5"/>
                    <a:pt x="13" y="5"/>
                  </a:cubicBezTo>
                  <a:cubicBezTo>
                    <a:pt x="14" y="4"/>
                    <a:pt x="21" y="4"/>
                    <a:pt x="24" y="4"/>
                  </a:cubicBezTo>
                  <a:cubicBezTo>
                    <a:pt x="27" y="4"/>
                    <a:pt x="34" y="4"/>
                    <a:pt x="34" y="4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1" y="10"/>
                    <a:pt x="44" y="13"/>
                    <a:pt x="43" y="18"/>
                  </a:cubicBezTo>
                  <a:cubicBezTo>
                    <a:pt x="42" y="22"/>
                    <a:pt x="36" y="29"/>
                    <a:pt x="36" y="31"/>
                  </a:cubicBezTo>
                  <a:cubicBezTo>
                    <a:pt x="36" y="33"/>
                    <a:pt x="35" y="40"/>
                    <a:pt x="35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5" y="43"/>
                    <a:pt x="5" y="43"/>
                    <a:pt x="5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09" name="Freeform 463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6671668" y="4671020"/>
              <a:ext cx="55569" cy="57517"/>
            </a:xfrm>
            <a:custGeom>
              <a:avLst/>
              <a:gdLst>
                <a:gd name="T0" fmla="*/ 2147483647 w 16"/>
                <a:gd name="T1" fmla="*/ 2147483647 h 16"/>
                <a:gd name="T2" fmla="*/ 0 w 16"/>
                <a:gd name="T3" fmla="*/ 2147483647 h 16"/>
                <a:gd name="T4" fmla="*/ 2147483647 w 16"/>
                <a:gd name="T5" fmla="*/ 2147483647 h 16"/>
                <a:gd name="T6" fmla="*/ 2147483647 w 16"/>
                <a:gd name="T7" fmla="*/ 0 h 16"/>
                <a:gd name="T8" fmla="*/ 2147483647 w 16"/>
                <a:gd name="T9" fmla="*/ 2147483647 h 16"/>
                <a:gd name="T10" fmla="*/ 2147483647 w 16"/>
                <a:gd name="T11" fmla="*/ 2147483647 h 16"/>
                <a:gd name="T12" fmla="*/ 2147483647 w 16"/>
                <a:gd name="T13" fmla="*/ 2147483647 h 16"/>
                <a:gd name="T14" fmla="*/ 2147483647 w 16"/>
                <a:gd name="T15" fmla="*/ 2147483647 h 16"/>
                <a:gd name="T16" fmla="*/ 2147483647 w 16"/>
                <a:gd name="T17" fmla="*/ 2147483647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"/>
                <a:gd name="T28" fmla="*/ 0 h 16"/>
                <a:gd name="T29" fmla="*/ 16 w 16"/>
                <a:gd name="T30" fmla="*/ 16 h 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" h="16">
                  <a:moveTo>
                    <a:pt x="1" y="10"/>
                  </a:moveTo>
                  <a:cubicBezTo>
                    <a:pt x="1" y="8"/>
                    <a:pt x="0" y="6"/>
                    <a:pt x="0" y="4"/>
                  </a:cubicBezTo>
                  <a:cubicBezTo>
                    <a:pt x="0" y="4"/>
                    <a:pt x="2" y="4"/>
                    <a:pt x="5" y="4"/>
                  </a:cubicBezTo>
                  <a:cubicBezTo>
                    <a:pt x="8" y="4"/>
                    <a:pt x="6" y="0"/>
                    <a:pt x="9" y="0"/>
                  </a:cubicBezTo>
                  <a:cubicBezTo>
                    <a:pt x="12" y="0"/>
                    <a:pt x="14" y="2"/>
                    <a:pt x="14" y="2"/>
                  </a:cubicBezTo>
                  <a:cubicBezTo>
                    <a:pt x="13" y="3"/>
                    <a:pt x="16" y="5"/>
                    <a:pt x="16" y="7"/>
                  </a:cubicBezTo>
                  <a:cubicBezTo>
                    <a:pt x="15" y="8"/>
                    <a:pt x="10" y="13"/>
                    <a:pt x="8" y="15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2" y="13"/>
                    <a:pt x="2" y="11"/>
                    <a:pt x="1" y="1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10" name="Freeform 464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6653145" y="4829192"/>
              <a:ext cx="142010" cy="196517"/>
            </a:xfrm>
            <a:custGeom>
              <a:avLst/>
              <a:gdLst>
                <a:gd name="T0" fmla="*/ 2147483647 w 40"/>
                <a:gd name="T1" fmla="*/ 2147483647 h 53"/>
                <a:gd name="T2" fmla="*/ 2147483647 w 40"/>
                <a:gd name="T3" fmla="*/ 2147483647 h 53"/>
                <a:gd name="T4" fmla="*/ 2147483647 w 40"/>
                <a:gd name="T5" fmla="*/ 2147483647 h 53"/>
                <a:gd name="T6" fmla="*/ 2147483647 w 40"/>
                <a:gd name="T7" fmla="*/ 0 h 53"/>
                <a:gd name="T8" fmla="*/ 2147483647 w 40"/>
                <a:gd name="T9" fmla="*/ 2147483647 h 53"/>
                <a:gd name="T10" fmla="*/ 2147483647 w 40"/>
                <a:gd name="T11" fmla="*/ 2147483647 h 53"/>
                <a:gd name="T12" fmla="*/ 2147483647 w 40"/>
                <a:gd name="T13" fmla="*/ 2147483647 h 53"/>
                <a:gd name="T14" fmla="*/ 2147483647 w 40"/>
                <a:gd name="T15" fmla="*/ 2147483647 h 53"/>
                <a:gd name="T16" fmla="*/ 2147483647 w 40"/>
                <a:gd name="T17" fmla="*/ 2147483647 h 53"/>
                <a:gd name="T18" fmla="*/ 2147483647 w 40"/>
                <a:gd name="T19" fmla="*/ 2147483647 h 53"/>
                <a:gd name="T20" fmla="*/ 2147483647 w 40"/>
                <a:gd name="T21" fmla="*/ 2147483647 h 53"/>
                <a:gd name="T22" fmla="*/ 2147483647 w 40"/>
                <a:gd name="T23" fmla="*/ 2147483647 h 53"/>
                <a:gd name="T24" fmla="*/ 2147483647 w 40"/>
                <a:gd name="T25" fmla="*/ 2147483647 h 53"/>
                <a:gd name="T26" fmla="*/ 2147483647 w 40"/>
                <a:gd name="T27" fmla="*/ 2147483647 h 53"/>
                <a:gd name="T28" fmla="*/ 2147483647 w 40"/>
                <a:gd name="T29" fmla="*/ 2147483647 h 53"/>
                <a:gd name="T30" fmla="*/ 2147483647 w 40"/>
                <a:gd name="T31" fmla="*/ 2147483647 h 53"/>
                <a:gd name="T32" fmla="*/ 2147483647 w 40"/>
                <a:gd name="T33" fmla="*/ 2147483647 h 5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0"/>
                <a:gd name="T52" fmla="*/ 0 h 53"/>
                <a:gd name="T53" fmla="*/ 40 w 40"/>
                <a:gd name="T54" fmla="*/ 53 h 5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0" h="53">
                  <a:moveTo>
                    <a:pt x="3" y="26"/>
                  </a:moveTo>
                  <a:cubicBezTo>
                    <a:pt x="2" y="23"/>
                    <a:pt x="3" y="13"/>
                    <a:pt x="2" y="10"/>
                  </a:cubicBezTo>
                  <a:cubicBezTo>
                    <a:pt x="0" y="8"/>
                    <a:pt x="6" y="3"/>
                    <a:pt x="6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1"/>
                    <a:pt x="19" y="2"/>
                    <a:pt x="20" y="3"/>
                  </a:cubicBezTo>
                  <a:cubicBezTo>
                    <a:pt x="21" y="6"/>
                    <a:pt x="34" y="10"/>
                    <a:pt x="36" y="11"/>
                  </a:cubicBezTo>
                  <a:cubicBezTo>
                    <a:pt x="37" y="11"/>
                    <a:pt x="38" y="12"/>
                    <a:pt x="38" y="13"/>
                  </a:cubicBezTo>
                  <a:cubicBezTo>
                    <a:pt x="39" y="14"/>
                    <a:pt x="39" y="16"/>
                    <a:pt x="40" y="17"/>
                  </a:cubicBezTo>
                  <a:cubicBezTo>
                    <a:pt x="40" y="19"/>
                    <a:pt x="40" y="21"/>
                    <a:pt x="38" y="23"/>
                  </a:cubicBezTo>
                  <a:cubicBezTo>
                    <a:pt x="37" y="25"/>
                    <a:pt x="39" y="31"/>
                    <a:pt x="39" y="33"/>
                  </a:cubicBezTo>
                  <a:cubicBezTo>
                    <a:pt x="39" y="35"/>
                    <a:pt x="38" y="36"/>
                    <a:pt x="36" y="39"/>
                  </a:cubicBezTo>
                  <a:cubicBezTo>
                    <a:pt x="35" y="42"/>
                    <a:pt x="36" y="46"/>
                    <a:pt x="36" y="46"/>
                  </a:cubicBezTo>
                  <a:cubicBezTo>
                    <a:pt x="35" y="47"/>
                    <a:pt x="18" y="52"/>
                    <a:pt x="16" y="53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2" y="41"/>
                    <a:pt x="12" y="34"/>
                    <a:pt x="12" y="32"/>
                  </a:cubicBezTo>
                  <a:cubicBezTo>
                    <a:pt x="12" y="30"/>
                    <a:pt x="4" y="29"/>
                    <a:pt x="3" y="2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11" name="Freeform 465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6681958" y="4630279"/>
              <a:ext cx="302542" cy="306758"/>
            </a:xfrm>
            <a:custGeom>
              <a:avLst/>
              <a:gdLst>
                <a:gd name="T0" fmla="*/ 2147483647 w 86"/>
                <a:gd name="T1" fmla="*/ 2147483647 h 83"/>
                <a:gd name="T2" fmla="*/ 0 w 86"/>
                <a:gd name="T3" fmla="*/ 2147483647 h 83"/>
                <a:gd name="T4" fmla="*/ 2147483647 w 86"/>
                <a:gd name="T5" fmla="*/ 2147483647 h 83"/>
                <a:gd name="T6" fmla="*/ 2147483647 w 86"/>
                <a:gd name="T7" fmla="*/ 2147483647 h 83"/>
                <a:gd name="T8" fmla="*/ 2147483647 w 86"/>
                <a:gd name="T9" fmla="*/ 2147483647 h 83"/>
                <a:gd name="T10" fmla="*/ 2147483647 w 86"/>
                <a:gd name="T11" fmla="*/ 2147483647 h 83"/>
                <a:gd name="T12" fmla="*/ 2147483647 w 86"/>
                <a:gd name="T13" fmla="*/ 0 h 83"/>
                <a:gd name="T14" fmla="*/ 2147483647 w 86"/>
                <a:gd name="T15" fmla="*/ 0 h 83"/>
                <a:gd name="T16" fmla="*/ 2147483647 w 86"/>
                <a:gd name="T17" fmla="*/ 2147483647 h 83"/>
                <a:gd name="T18" fmla="*/ 2147483647 w 86"/>
                <a:gd name="T19" fmla="*/ 2147483647 h 83"/>
                <a:gd name="T20" fmla="*/ 2147483647 w 86"/>
                <a:gd name="T21" fmla="*/ 2147483647 h 83"/>
                <a:gd name="T22" fmla="*/ 2147483647 w 86"/>
                <a:gd name="T23" fmla="*/ 2147483647 h 83"/>
                <a:gd name="T24" fmla="*/ 2147483647 w 86"/>
                <a:gd name="T25" fmla="*/ 2147483647 h 83"/>
                <a:gd name="T26" fmla="*/ 2147483647 w 86"/>
                <a:gd name="T27" fmla="*/ 2147483647 h 83"/>
                <a:gd name="T28" fmla="*/ 2147483647 w 86"/>
                <a:gd name="T29" fmla="*/ 2147483647 h 83"/>
                <a:gd name="T30" fmla="*/ 2147483647 w 86"/>
                <a:gd name="T31" fmla="*/ 2147483647 h 83"/>
                <a:gd name="T32" fmla="*/ 2147483647 w 86"/>
                <a:gd name="T33" fmla="*/ 2147483647 h 83"/>
                <a:gd name="T34" fmla="*/ 2147483647 w 86"/>
                <a:gd name="T35" fmla="*/ 2147483647 h 83"/>
                <a:gd name="T36" fmla="*/ 2147483647 w 86"/>
                <a:gd name="T37" fmla="*/ 2147483647 h 83"/>
                <a:gd name="T38" fmla="*/ 2147483647 w 86"/>
                <a:gd name="T39" fmla="*/ 2147483647 h 83"/>
                <a:gd name="T40" fmla="*/ 2147483647 w 86"/>
                <a:gd name="T41" fmla="*/ 2147483647 h 83"/>
                <a:gd name="T42" fmla="*/ 2147483647 w 86"/>
                <a:gd name="T43" fmla="*/ 2147483647 h 83"/>
                <a:gd name="T44" fmla="*/ 2147483647 w 86"/>
                <a:gd name="T45" fmla="*/ 2147483647 h 83"/>
                <a:gd name="T46" fmla="*/ 2147483647 w 86"/>
                <a:gd name="T47" fmla="*/ 2147483647 h 83"/>
                <a:gd name="T48" fmla="*/ 2147483647 w 86"/>
                <a:gd name="T49" fmla="*/ 2147483647 h 83"/>
                <a:gd name="T50" fmla="*/ 2147483647 w 86"/>
                <a:gd name="T51" fmla="*/ 2147483647 h 83"/>
                <a:gd name="T52" fmla="*/ 2147483647 w 86"/>
                <a:gd name="T53" fmla="*/ 2147483647 h 83"/>
                <a:gd name="T54" fmla="*/ 2147483647 w 86"/>
                <a:gd name="T55" fmla="*/ 2147483647 h 83"/>
                <a:gd name="T56" fmla="*/ 2147483647 w 86"/>
                <a:gd name="T57" fmla="*/ 2147483647 h 8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6"/>
                <a:gd name="T88" fmla="*/ 0 h 83"/>
                <a:gd name="T89" fmla="*/ 86 w 86"/>
                <a:gd name="T90" fmla="*/ 83 h 8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6" h="83">
                  <a:moveTo>
                    <a:pt x="1" y="38"/>
                  </a:moveTo>
                  <a:cubicBezTo>
                    <a:pt x="1" y="36"/>
                    <a:pt x="1" y="31"/>
                    <a:pt x="0" y="27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7" y="24"/>
                    <a:pt x="12" y="19"/>
                    <a:pt x="13" y="18"/>
                  </a:cubicBezTo>
                  <a:cubicBezTo>
                    <a:pt x="13" y="16"/>
                    <a:pt x="10" y="14"/>
                    <a:pt x="11" y="13"/>
                  </a:cubicBezTo>
                  <a:cubicBezTo>
                    <a:pt x="12" y="11"/>
                    <a:pt x="14" y="8"/>
                    <a:pt x="13" y="6"/>
                  </a:cubicBezTo>
                  <a:cubicBezTo>
                    <a:pt x="12" y="4"/>
                    <a:pt x="10" y="0"/>
                    <a:pt x="1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61" y="14"/>
                    <a:pt x="63" y="15"/>
                  </a:cubicBezTo>
                  <a:cubicBezTo>
                    <a:pt x="65" y="16"/>
                    <a:pt x="65" y="21"/>
                    <a:pt x="66" y="22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5" y="32"/>
                    <a:pt x="72" y="37"/>
                    <a:pt x="73" y="40"/>
                  </a:cubicBezTo>
                  <a:cubicBezTo>
                    <a:pt x="73" y="43"/>
                    <a:pt x="80" y="45"/>
                    <a:pt x="78" y="47"/>
                  </a:cubicBezTo>
                  <a:cubicBezTo>
                    <a:pt x="77" y="49"/>
                    <a:pt x="76" y="51"/>
                    <a:pt x="77" y="55"/>
                  </a:cubicBezTo>
                  <a:cubicBezTo>
                    <a:pt x="77" y="59"/>
                    <a:pt x="78" y="65"/>
                    <a:pt x="81" y="68"/>
                  </a:cubicBezTo>
                  <a:cubicBezTo>
                    <a:pt x="83" y="70"/>
                    <a:pt x="86" y="72"/>
                    <a:pt x="86" y="73"/>
                  </a:cubicBezTo>
                  <a:cubicBezTo>
                    <a:pt x="86" y="73"/>
                    <a:pt x="79" y="77"/>
                    <a:pt x="77" y="78"/>
                  </a:cubicBezTo>
                  <a:cubicBezTo>
                    <a:pt x="75" y="79"/>
                    <a:pt x="69" y="79"/>
                    <a:pt x="67" y="80"/>
                  </a:cubicBezTo>
                  <a:cubicBezTo>
                    <a:pt x="65" y="81"/>
                    <a:pt x="61" y="83"/>
                    <a:pt x="57" y="83"/>
                  </a:cubicBezTo>
                  <a:cubicBezTo>
                    <a:pt x="54" y="83"/>
                    <a:pt x="51" y="82"/>
                    <a:pt x="49" y="81"/>
                  </a:cubicBezTo>
                  <a:cubicBezTo>
                    <a:pt x="48" y="81"/>
                    <a:pt x="46" y="82"/>
                    <a:pt x="44" y="82"/>
                  </a:cubicBezTo>
                  <a:cubicBezTo>
                    <a:pt x="44" y="82"/>
                    <a:pt x="41" y="70"/>
                    <a:pt x="40" y="68"/>
                  </a:cubicBezTo>
                  <a:cubicBezTo>
                    <a:pt x="38" y="66"/>
                    <a:pt x="35" y="67"/>
                    <a:pt x="35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6"/>
                    <a:pt x="29" y="65"/>
                    <a:pt x="28" y="65"/>
                  </a:cubicBezTo>
                  <a:cubicBezTo>
                    <a:pt x="26" y="64"/>
                    <a:pt x="13" y="60"/>
                    <a:pt x="12" y="57"/>
                  </a:cubicBezTo>
                  <a:cubicBezTo>
                    <a:pt x="11" y="56"/>
                    <a:pt x="11" y="55"/>
                    <a:pt x="11" y="54"/>
                  </a:cubicBezTo>
                  <a:cubicBezTo>
                    <a:pt x="10" y="51"/>
                    <a:pt x="9" y="47"/>
                    <a:pt x="7" y="46"/>
                  </a:cubicBezTo>
                  <a:cubicBezTo>
                    <a:pt x="5" y="44"/>
                    <a:pt x="1" y="40"/>
                    <a:pt x="1" y="3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12" name="Freeform 466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6667552" y="4630279"/>
              <a:ext cx="63801" cy="55121"/>
            </a:xfrm>
            <a:custGeom>
              <a:avLst/>
              <a:gdLst>
                <a:gd name="T0" fmla="*/ 2147483647 w 18"/>
                <a:gd name="T1" fmla="*/ 2147483647 h 15"/>
                <a:gd name="T2" fmla="*/ 2147483647 w 18"/>
                <a:gd name="T3" fmla="*/ 2147483647 h 15"/>
                <a:gd name="T4" fmla="*/ 0 w 18"/>
                <a:gd name="T5" fmla="*/ 2147483647 h 15"/>
                <a:gd name="T6" fmla="*/ 2147483647 w 18"/>
                <a:gd name="T7" fmla="*/ 2147483647 h 15"/>
                <a:gd name="T8" fmla="*/ 2147483647 w 18"/>
                <a:gd name="T9" fmla="*/ 2147483647 h 15"/>
                <a:gd name="T10" fmla="*/ 2147483647 w 18"/>
                <a:gd name="T11" fmla="*/ 0 h 15"/>
                <a:gd name="T12" fmla="*/ 2147483647 w 18"/>
                <a:gd name="T13" fmla="*/ 2147483647 h 15"/>
                <a:gd name="T14" fmla="*/ 2147483647 w 18"/>
                <a:gd name="T15" fmla="*/ 2147483647 h 15"/>
                <a:gd name="T16" fmla="*/ 2147483647 w 18"/>
                <a:gd name="T17" fmla="*/ 2147483647 h 15"/>
                <a:gd name="T18" fmla="*/ 2147483647 w 18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8"/>
                <a:gd name="T31" fmla="*/ 0 h 15"/>
                <a:gd name="T32" fmla="*/ 18 w 18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8" h="15">
                  <a:moveTo>
                    <a:pt x="6" y="15"/>
                  </a:moveTo>
                  <a:cubicBezTo>
                    <a:pt x="3" y="15"/>
                    <a:pt x="1" y="15"/>
                    <a:pt x="1" y="15"/>
                  </a:cubicBezTo>
                  <a:cubicBezTo>
                    <a:pt x="1" y="14"/>
                    <a:pt x="0" y="13"/>
                    <a:pt x="0" y="12"/>
                  </a:cubicBezTo>
                  <a:cubicBezTo>
                    <a:pt x="0" y="9"/>
                    <a:pt x="3" y="4"/>
                    <a:pt x="4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6" y="4"/>
                    <a:pt x="17" y="6"/>
                  </a:cubicBezTo>
                  <a:cubicBezTo>
                    <a:pt x="18" y="8"/>
                    <a:pt x="16" y="11"/>
                    <a:pt x="15" y="13"/>
                  </a:cubicBezTo>
                  <a:cubicBezTo>
                    <a:pt x="15" y="13"/>
                    <a:pt x="13" y="11"/>
                    <a:pt x="10" y="11"/>
                  </a:cubicBezTo>
                  <a:cubicBezTo>
                    <a:pt x="7" y="11"/>
                    <a:pt x="9" y="15"/>
                    <a:pt x="6" y="1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13" name="Freeform 467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6620215" y="5425932"/>
              <a:ext cx="63801" cy="74293"/>
            </a:xfrm>
            <a:custGeom>
              <a:avLst/>
              <a:gdLst>
                <a:gd name="T0" fmla="*/ 2147483647 w 19"/>
                <a:gd name="T1" fmla="*/ 2147483647 h 20"/>
                <a:gd name="T2" fmla="*/ 2147483647 w 19"/>
                <a:gd name="T3" fmla="*/ 2147483647 h 20"/>
                <a:gd name="T4" fmla="*/ 2147483647 w 19"/>
                <a:gd name="T5" fmla="*/ 2147483647 h 20"/>
                <a:gd name="T6" fmla="*/ 2147483647 w 19"/>
                <a:gd name="T7" fmla="*/ 2147483647 h 20"/>
                <a:gd name="T8" fmla="*/ 2147483647 w 19"/>
                <a:gd name="T9" fmla="*/ 2147483647 h 20"/>
                <a:gd name="T10" fmla="*/ 2147483647 w 19"/>
                <a:gd name="T11" fmla="*/ 2147483647 h 20"/>
                <a:gd name="T12" fmla="*/ 2147483647 w 19"/>
                <a:gd name="T13" fmla="*/ 2147483647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20"/>
                <a:gd name="T23" fmla="*/ 19 w 19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20">
                  <a:moveTo>
                    <a:pt x="1" y="9"/>
                  </a:moveTo>
                  <a:cubicBezTo>
                    <a:pt x="2" y="8"/>
                    <a:pt x="9" y="0"/>
                    <a:pt x="13" y="1"/>
                  </a:cubicBezTo>
                  <a:cubicBezTo>
                    <a:pt x="16" y="1"/>
                    <a:pt x="19" y="5"/>
                    <a:pt x="19" y="7"/>
                  </a:cubicBezTo>
                  <a:cubicBezTo>
                    <a:pt x="19" y="9"/>
                    <a:pt x="15" y="14"/>
                    <a:pt x="14" y="14"/>
                  </a:cubicBezTo>
                  <a:cubicBezTo>
                    <a:pt x="13" y="14"/>
                    <a:pt x="11" y="17"/>
                    <a:pt x="9" y="19"/>
                  </a:cubicBezTo>
                  <a:cubicBezTo>
                    <a:pt x="8" y="20"/>
                    <a:pt x="3" y="13"/>
                    <a:pt x="3" y="13"/>
                  </a:cubicBezTo>
                  <a:cubicBezTo>
                    <a:pt x="2" y="12"/>
                    <a:pt x="0" y="11"/>
                    <a:pt x="1" y="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14" name="Freeform 468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6589344" y="3340937"/>
              <a:ext cx="512469" cy="206103"/>
            </a:xfrm>
            <a:custGeom>
              <a:avLst/>
              <a:gdLst>
                <a:gd name="T0" fmla="*/ 2147483647 w 145"/>
                <a:gd name="T1" fmla="*/ 2147483647 h 56"/>
                <a:gd name="T2" fmla="*/ 0 w 145"/>
                <a:gd name="T3" fmla="*/ 2147483647 h 56"/>
                <a:gd name="T4" fmla="*/ 2147483647 w 145"/>
                <a:gd name="T5" fmla="*/ 2147483647 h 56"/>
                <a:gd name="T6" fmla="*/ 2147483647 w 145"/>
                <a:gd name="T7" fmla="*/ 2147483647 h 56"/>
                <a:gd name="T8" fmla="*/ 2147483647 w 145"/>
                <a:gd name="T9" fmla="*/ 2147483647 h 56"/>
                <a:gd name="T10" fmla="*/ 2147483647 w 145"/>
                <a:gd name="T11" fmla="*/ 2147483647 h 56"/>
                <a:gd name="T12" fmla="*/ 2147483647 w 145"/>
                <a:gd name="T13" fmla="*/ 2147483647 h 56"/>
                <a:gd name="T14" fmla="*/ 2147483647 w 145"/>
                <a:gd name="T15" fmla="*/ 2147483647 h 56"/>
                <a:gd name="T16" fmla="*/ 2147483647 w 145"/>
                <a:gd name="T17" fmla="*/ 2147483647 h 56"/>
                <a:gd name="T18" fmla="*/ 2147483647 w 145"/>
                <a:gd name="T19" fmla="*/ 2147483647 h 56"/>
                <a:gd name="T20" fmla="*/ 2147483647 w 145"/>
                <a:gd name="T21" fmla="*/ 2147483647 h 56"/>
                <a:gd name="T22" fmla="*/ 2147483647 w 145"/>
                <a:gd name="T23" fmla="*/ 0 h 56"/>
                <a:gd name="T24" fmla="*/ 2147483647 w 145"/>
                <a:gd name="T25" fmla="*/ 0 h 56"/>
                <a:gd name="T26" fmla="*/ 2147483647 w 145"/>
                <a:gd name="T27" fmla="*/ 2147483647 h 56"/>
                <a:gd name="T28" fmla="*/ 2147483647 w 145"/>
                <a:gd name="T29" fmla="*/ 2147483647 h 56"/>
                <a:gd name="T30" fmla="*/ 2147483647 w 145"/>
                <a:gd name="T31" fmla="*/ 2147483647 h 56"/>
                <a:gd name="T32" fmla="*/ 2147483647 w 145"/>
                <a:gd name="T33" fmla="*/ 2147483647 h 56"/>
                <a:gd name="T34" fmla="*/ 2147483647 w 145"/>
                <a:gd name="T35" fmla="*/ 2147483647 h 56"/>
                <a:gd name="T36" fmla="*/ 2147483647 w 145"/>
                <a:gd name="T37" fmla="*/ 2147483647 h 56"/>
                <a:gd name="T38" fmla="*/ 2147483647 w 145"/>
                <a:gd name="T39" fmla="*/ 2147483647 h 56"/>
                <a:gd name="T40" fmla="*/ 2147483647 w 145"/>
                <a:gd name="T41" fmla="*/ 2147483647 h 56"/>
                <a:gd name="T42" fmla="*/ 2147483647 w 145"/>
                <a:gd name="T43" fmla="*/ 2147483647 h 56"/>
                <a:gd name="T44" fmla="*/ 2147483647 w 145"/>
                <a:gd name="T45" fmla="*/ 2147483647 h 56"/>
                <a:gd name="T46" fmla="*/ 2147483647 w 145"/>
                <a:gd name="T47" fmla="*/ 2147483647 h 56"/>
                <a:gd name="T48" fmla="*/ 2147483647 w 145"/>
                <a:gd name="T49" fmla="*/ 2147483647 h 56"/>
                <a:gd name="T50" fmla="*/ 2147483647 w 145"/>
                <a:gd name="T51" fmla="*/ 2147483647 h 56"/>
                <a:gd name="T52" fmla="*/ 2147483647 w 145"/>
                <a:gd name="T53" fmla="*/ 2147483647 h 56"/>
                <a:gd name="T54" fmla="*/ 2147483647 w 145"/>
                <a:gd name="T55" fmla="*/ 2147483647 h 56"/>
                <a:gd name="T56" fmla="*/ 2147483647 w 145"/>
                <a:gd name="T57" fmla="*/ 2147483647 h 56"/>
                <a:gd name="T58" fmla="*/ 2147483647 w 145"/>
                <a:gd name="T59" fmla="*/ 2147483647 h 56"/>
                <a:gd name="T60" fmla="*/ 2147483647 w 145"/>
                <a:gd name="T61" fmla="*/ 2147483647 h 56"/>
                <a:gd name="T62" fmla="*/ 2147483647 w 145"/>
                <a:gd name="T63" fmla="*/ 2147483647 h 56"/>
                <a:gd name="T64" fmla="*/ 2147483647 w 145"/>
                <a:gd name="T65" fmla="*/ 2147483647 h 56"/>
                <a:gd name="T66" fmla="*/ 2147483647 w 145"/>
                <a:gd name="T67" fmla="*/ 2147483647 h 56"/>
                <a:gd name="T68" fmla="*/ 2147483647 w 145"/>
                <a:gd name="T69" fmla="*/ 2147483647 h 56"/>
                <a:gd name="T70" fmla="*/ 2147483647 w 145"/>
                <a:gd name="T71" fmla="*/ 2147483647 h 56"/>
                <a:gd name="T72" fmla="*/ 2147483647 w 145"/>
                <a:gd name="T73" fmla="*/ 2147483647 h 56"/>
                <a:gd name="T74" fmla="*/ 2147483647 w 145"/>
                <a:gd name="T75" fmla="*/ 2147483647 h 56"/>
                <a:gd name="T76" fmla="*/ 2147483647 w 145"/>
                <a:gd name="T77" fmla="*/ 2147483647 h 56"/>
                <a:gd name="T78" fmla="*/ 2147483647 w 145"/>
                <a:gd name="T79" fmla="*/ 2147483647 h 56"/>
                <a:gd name="T80" fmla="*/ 2147483647 w 145"/>
                <a:gd name="T81" fmla="*/ 2147483647 h 56"/>
                <a:gd name="T82" fmla="*/ 2147483647 w 145"/>
                <a:gd name="T83" fmla="*/ 2147483647 h 56"/>
                <a:gd name="T84" fmla="*/ 2147483647 w 145"/>
                <a:gd name="T85" fmla="*/ 2147483647 h 56"/>
                <a:gd name="T86" fmla="*/ 2147483647 w 145"/>
                <a:gd name="T87" fmla="*/ 2147483647 h 56"/>
                <a:gd name="T88" fmla="*/ 2147483647 w 145"/>
                <a:gd name="T89" fmla="*/ 2147483647 h 56"/>
                <a:gd name="T90" fmla="*/ 2147483647 w 145"/>
                <a:gd name="T91" fmla="*/ 2147483647 h 56"/>
                <a:gd name="T92" fmla="*/ 2147483647 w 145"/>
                <a:gd name="T93" fmla="*/ 2147483647 h 56"/>
                <a:gd name="T94" fmla="*/ 2147483647 w 145"/>
                <a:gd name="T95" fmla="*/ 2147483647 h 56"/>
                <a:gd name="T96" fmla="*/ 2147483647 w 145"/>
                <a:gd name="T97" fmla="*/ 2147483647 h 56"/>
                <a:gd name="T98" fmla="*/ 2147483647 w 145"/>
                <a:gd name="T99" fmla="*/ 2147483647 h 56"/>
                <a:gd name="T100" fmla="*/ 2147483647 w 145"/>
                <a:gd name="T101" fmla="*/ 2147483647 h 56"/>
                <a:gd name="T102" fmla="*/ 2147483647 w 145"/>
                <a:gd name="T103" fmla="*/ 2147483647 h 56"/>
                <a:gd name="T104" fmla="*/ 2147483647 w 145"/>
                <a:gd name="T105" fmla="*/ 2147483647 h 56"/>
                <a:gd name="T106" fmla="*/ 2147483647 w 145"/>
                <a:gd name="T107" fmla="*/ 2147483647 h 56"/>
                <a:gd name="T108" fmla="*/ 2147483647 w 145"/>
                <a:gd name="T109" fmla="*/ 2147483647 h 56"/>
                <a:gd name="T110" fmla="*/ 2147483647 w 145"/>
                <a:gd name="T111" fmla="*/ 2147483647 h 5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5"/>
                <a:gd name="T169" fmla="*/ 0 h 56"/>
                <a:gd name="T170" fmla="*/ 145 w 145"/>
                <a:gd name="T171" fmla="*/ 56 h 5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5" h="56">
                  <a:moveTo>
                    <a:pt x="6" y="26"/>
                  </a:moveTo>
                  <a:cubicBezTo>
                    <a:pt x="6" y="26"/>
                    <a:pt x="0" y="26"/>
                    <a:pt x="0" y="25"/>
                  </a:cubicBezTo>
                  <a:cubicBezTo>
                    <a:pt x="0" y="23"/>
                    <a:pt x="2" y="18"/>
                    <a:pt x="3" y="17"/>
                  </a:cubicBezTo>
                  <a:cubicBezTo>
                    <a:pt x="4" y="17"/>
                    <a:pt x="5" y="16"/>
                    <a:pt x="7" y="16"/>
                  </a:cubicBezTo>
                  <a:cubicBezTo>
                    <a:pt x="7" y="16"/>
                    <a:pt x="8" y="16"/>
                    <a:pt x="9" y="16"/>
                  </a:cubicBezTo>
                  <a:cubicBezTo>
                    <a:pt x="11" y="17"/>
                    <a:pt x="22" y="16"/>
                    <a:pt x="24" y="16"/>
                  </a:cubicBezTo>
                  <a:cubicBezTo>
                    <a:pt x="27" y="16"/>
                    <a:pt x="28" y="15"/>
                    <a:pt x="28" y="13"/>
                  </a:cubicBezTo>
                  <a:cubicBezTo>
                    <a:pt x="29" y="12"/>
                    <a:pt x="26" y="10"/>
                    <a:pt x="26" y="9"/>
                  </a:cubicBezTo>
                  <a:cubicBezTo>
                    <a:pt x="26" y="8"/>
                    <a:pt x="28" y="8"/>
                    <a:pt x="30" y="8"/>
                  </a:cubicBezTo>
                  <a:cubicBezTo>
                    <a:pt x="32" y="8"/>
                    <a:pt x="38" y="10"/>
                    <a:pt x="41" y="9"/>
                  </a:cubicBezTo>
                  <a:cubicBezTo>
                    <a:pt x="43" y="7"/>
                    <a:pt x="48" y="6"/>
                    <a:pt x="50" y="4"/>
                  </a:cubicBezTo>
                  <a:cubicBezTo>
                    <a:pt x="52" y="3"/>
                    <a:pt x="57" y="0"/>
                    <a:pt x="61" y="0"/>
                  </a:cubicBezTo>
                  <a:cubicBezTo>
                    <a:pt x="65" y="1"/>
                    <a:pt x="67" y="0"/>
                    <a:pt x="70" y="0"/>
                  </a:cubicBezTo>
                  <a:cubicBezTo>
                    <a:pt x="72" y="0"/>
                    <a:pt x="70" y="3"/>
                    <a:pt x="72" y="3"/>
                  </a:cubicBezTo>
                  <a:cubicBezTo>
                    <a:pt x="75" y="4"/>
                    <a:pt x="77" y="2"/>
                    <a:pt x="78" y="3"/>
                  </a:cubicBezTo>
                  <a:cubicBezTo>
                    <a:pt x="79" y="3"/>
                    <a:pt x="79" y="5"/>
                    <a:pt x="83" y="6"/>
                  </a:cubicBezTo>
                  <a:cubicBezTo>
                    <a:pt x="86" y="8"/>
                    <a:pt x="90" y="9"/>
                    <a:pt x="94" y="9"/>
                  </a:cubicBezTo>
                  <a:cubicBezTo>
                    <a:pt x="98" y="10"/>
                    <a:pt x="100" y="9"/>
                    <a:pt x="103" y="9"/>
                  </a:cubicBezTo>
                  <a:cubicBezTo>
                    <a:pt x="107" y="9"/>
                    <a:pt x="109" y="11"/>
                    <a:pt x="111" y="10"/>
                  </a:cubicBezTo>
                  <a:cubicBezTo>
                    <a:pt x="114" y="9"/>
                    <a:pt x="119" y="6"/>
                    <a:pt x="121" y="4"/>
                  </a:cubicBezTo>
                  <a:cubicBezTo>
                    <a:pt x="121" y="4"/>
                    <a:pt x="128" y="5"/>
                    <a:pt x="129" y="5"/>
                  </a:cubicBezTo>
                  <a:cubicBezTo>
                    <a:pt x="131" y="5"/>
                    <a:pt x="132" y="8"/>
                    <a:pt x="135" y="9"/>
                  </a:cubicBezTo>
                  <a:cubicBezTo>
                    <a:pt x="136" y="18"/>
                    <a:pt x="136" y="18"/>
                    <a:pt x="136" y="18"/>
                  </a:cubicBezTo>
                  <a:cubicBezTo>
                    <a:pt x="136" y="20"/>
                    <a:pt x="140" y="20"/>
                    <a:pt x="143" y="22"/>
                  </a:cubicBezTo>
                  <a:cubicBezTo>
                    <a:pt x="140" y="27"/>
                    <a:pt x="140" y="27"/>
                    <a:pt x="140" y="27"/>
                  </a:cubicBezTo>
                  <a:cubicBezTo>
                    <a:pt x="141" y="29"/>
                    <a:pt x="142" y="34"/>
                    <a:pt x="142" y="37"/>
                  </a:cubicBezTo>
                  <a:cubicBezTo>
                    <a:pt x="142" y="40"/>
                    <a:pt x="143" y="40"/>
                    <a:pt x="145" y="44"/>
                  </a:cubicBezTo>
                  <a:cubicBezTo>
                    <a:pt x="130" y="43"/>
                    <a:pt x="130" y="43"/>
                    <a:pt x="130" y="43"/>
                  </a:cubicBezTo>
                  <a:cubicBezTo>
                    <a:pt x="129" y="43"/>
                    <a:pt x="128" y="44"/>
                    <a:pt x="126" y="45"/>
                  </a:cubicBezTo>
                  <a:cubicBezTo>
                    <a:pt x="122" y="42"/>
                    <a:pt x="122" y="42"/>
                    <a:pt x="122" y="42"/>
                  </a:cubicBezTo>
                  <a:cubicBezTo>
                    <a:pt x="120" y="42"/>
                    <a:pt x="116" y="44"/>
                    <a:pt x="113" y="45"/>
                  </a:cubicBezTo>
                  <a:cubicBezTo>
                    <a:pt x="110" y="46"/>
                    <a:pt x="101" y="49"/>
                    <a:pt x="99" y="48"/>
                  </a:cubicBezTo>
                  <a:cubicBezTo>
                    <a:pt x="98" y="47"/>
                    <a:pt x="95" y="46"/>
                    <a:pt x="94" y="46"/>
                  </a:cubicBezTo>
                  <a:cubicBezTo>
                    <a:pt x="92" y="46"/>
                    <a:pt x="85" y="46"/>
                    <a:pt x="85" y="48"/>
                  </a:cubicBezTo>
                  <a:cubicBezTo>
                    <a:pt x="85" y="50"/>
                    <a:pt x="84" y="52"/>
                    <a:pt x="82" y="53"/>
                  </a:cubicBezTo>
                  <a:cubicBezTo>
                    <a:pt x="81" y="54"/>
                    <a:pt x="78" y="55"/>
                    <a:pt x="78" y="55"/>
                  </a:cubicBezTo>
                  <a:cubicBezTo>
                    <a:pt x="78" y="54"/>
                    <a:pt x="78" y="54"/>
                    <a:pt x="78" y="53"/>
                  </a:cubicBezTo>
                  <a:cubicBezTo>
                    <a:pt x="77" y="52"/>
                    <a:pt x="77" y="53"/>
                    <a:pt x="77" y="52"/>
                  </a:cubicBezTo>
                  <a:cubicBezTo>
                    <a:pt x="76" y="51"/>
                    <a:pt x="82" y="49"/>
                    <a:pt x="78" y="45"/>
                  </a:cubicBezTo>
                  <a:cubicBezTo>
                    <a:pt x="75" y="43"/>
                    <a:pt x="73" y="49"/>
                    <a:pt x="72" y="49"/>
                  </a:cubicBezTo>
                  <a:cubicBezTo>
                    <a:pt x="70" y="49"/>
                    <a:pt x="69" y="46"/>
                    <a:pt x="67" y="48"/>
                  </a:cubicBezTo>
                  <a:cubicBezTo>
                    <a:pt x="64" y="50"/>
                    <a:pt x="61" y="53"/>
                    <a:pt x="59" y="53"/>
                  </a:cubicBezTo>
                  <a:cubicBezTo>
                    <a:pt x="56" y="53"/>
                    <a:pt x="52" y="56"/>
                    <a:pt x="50" y="54"/>
                  </a:cubicBezTo>
                  <a:cubicBezTo>
                    <a:pt x="48" y="52"/>
                    <a:pt x="43" y="47"/>
                    <a:pt x="40" y="47"/>
                  </a:cubicBezTo>
                  <a:cubicBezTo>
                    <a:pt x="37" y="46"/>
                    <a:pt x="37" y="45"/>
                    <a:pt x="36" y="47"/>
                  </a:cubicBezTo>
                  <a:cubicBezTo>
                    <a:pt x="34" y="48"/>
                    <a:pt x="37" y="52"/>
                    <a:pt x="34" y="52"/>
                  </a:cubicBezTo>
                  <a:cubicBezTo>
                    <a:pt x="32" y="52"/>
                    <a:pt x="31" y="54"/>
                    <a:pt x="28" y="53"/>
                  </a:cubicBezTo>
                  <a:cubicBezTo>
                    <a:pt x="25" y="51"/>
                    <a:pt x="25" y="49"/>
                    <a:pt x="24" y="48"/>
                  </a:cubicBezTo>
                  <a:cubicBezTo>
                    <a:pt x="22" y="48"/>
                    <a:pt x="18" y="48"/>
                    <a:pt x="16" y="48"/>
                  </a:cubicBezTo>
                  <a:cubicBezTo>
                    <a:pt x="13" y="48"/>
                    <a:pt x="11" y="46"/>
                    <a:pt x="10" y="46"/>
                  </a:cubicBezTo>
                  <a:cubicBezTo>
                    <a:pt x="10" y="45"/>
                    <a:pt x="14" y="44"/>
                    <a:pt x="12" y="43"/>
                  </a:cubicBezTo>
                  <a:cubicBezTo>
                    <a:pt x="10" y="41"/>
                    <a:pt x="8" y="40"/>
                    <a:pt x="7" y="39"/>
                  </a:cubicBezTo>
                  <a:cubicBezTo>
                    <a:pt x="5" y="39"/>
                    <a:pt x="12" y="38"/>
                    <a:pt x="10" y="36"/>
                  </a:cubicBezTo>
                  <a:cubicBezTo>
                    <a:pt x="7" y="35"/>
                    <a:pt x="1" y="35"/>
                    <a:pt x="2" y="33"/>
                  </a:cubicBezTo>
                  <a:cubicBezTo>
                    <a:pt x="2" y="31"/>
                    <a:pt x="8" y="31"/>
                    <a:pt x="8" y="30"/>
                  </a:cubicBezTo>
                  <a:cubicBezTo>
                    <a:pt x="8" y="29"/>
                    <a:pt x="7" y="27"/>
                    <a:pt x="6" y="2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15" name="Freeform 469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6558472" y="3676454"/>
              <a:ext cx="292252" cy="306758"/>
            </a:xfrm>
            <a:custGeom>
              <a:avLst/>
              <a:gdLst>
                <a:gd name="T0" fmla="*/ 2147483647 w 83"/>
                <a:gd name="T1" fmla="*/ 2147483647 h 83"/>
                <a:gd name="T2" fmla="*/ 2147483647 w 83"/>
                <a:gd name="T3" fmla="*/ 2147483647 h 83"/>
                <a:gd name="T4" fmla="*/ 2147483647 w 83"/>
                <a:gd name="T5" fmla="*/ 2147483647 h 83"/>
                <a:gd name="T6" fmla="*/ 0 w 83"/>
                <a:gd name="T7" fmla="*/ 2147483647 h 83"/>
                <a:gd name="T8" fmla="*/ 2147483647 w 83"/>
                <a:gd name="T9" fmla="*/ 2147483647 h 83"/>
                <a:gd name="T10" fmla="*/ 2147483647 w 83"/>
                <a:gd name="T11" fmla="*/ 2147483647 h 83"/>
                <a:gd name="T12" fmla="*/ 2147483647 w 83"/>
                <a:gd name="T13" fmla="*/ 2147483647 h 83"/>
                <a:gd name="T14" fmla="*/ 2147483647 w 83"/>
                <a:gd name="T15" fmla="*/ 2147483647 h 83"/>
                <a:gd name="T16" fmla="*/ 2147483647 w 83"/>
                <a:gd name="T17" fmla="*/ 2147483647 h 83"/>
                <a:gd name="T18" fmla="*/ 2147483647 w 83"/>
                <a:gd name="T19" fmla="*/ 2147483647 h 83"/>
                <a:gd name="T20" fmla="*/ 2147483647 w 83"/>
                <a:gd name="T21" fmla="*/ 2147483647 h 83"/>
                <a:gd name="T22" fmla="*/ 2147483647 w 83"/>
                <a:gd name="T23" fmla="*/ 2147483647 h 83"/>
                <a:gd name="T24" fmla="*/ 2147483647 w 83"/>
                <a:gd name="T25" fmla="*/ 2147483647 h 83"/>
                <a:gd name="T26" fmla="*/ 2147483647 w 83"/>
                <a:gd name="T27" fmla="*/ 2147483647 h 83"/>
                <a:gd name="T28" fmla="*/ 2147483647 w 83"/>
                <a:gd name="T29" fmla="*/ 2147483647 h 83"/>
                <a:gd name="T30" fmla="*/ 2147483647 w 83"/>
                <a:gd name="T31" fmla="*/ 2147483647 h 83"/>
                <a:gd name="T32" fmla="*/ 2147483647 w 83"/>
                <a:gd name="T33" fmla="*/ 2147483647 h 83"/>
                <a:gd name="T34" fmla="*/ 2147483647 w 83"/>
                <a:gd name="T35" fmla="*/ 2147483647 h 83"/>
                <a:gd name="T36" fmla="*/ 2147483647 w 83"/>
                <a:gd name="T37" fmla="*/ 2147483647 h 83"/>
                <a:gd name="T38" fmla="*/ 2147483647 w 83"/>
                <a:gd name="T39" fmla="*/ 2147483647 h 83"/>
                <a:gd name="T40" fmla="*/ 2147483647 w 83"/>
                <a:gd name="T41" fmla="*/ 2147483647 h 83"/>
                <a:gd name="T42" fmla="*/ 2147483647 w 83"/>
                <a:gd name="T43" fmla="*/ 2147483647 h 83"/>
                <a:gd name="T44" fmla="*/ 2147483647 w 83"/>
                <a:gd name="T45" fmla="*/ 2147483647 h 83"/>
                <a:gd name="T46" fmla="*/ 2147483647 w 83"/>
                <a:gd name="T47" fmla="*/ 2147483647 h 83"/>
                <a:gd name="T48" fmla="*/ 2147483647 w 83"/>
                <a:gd name="T49" fmla="*/ 2147483647 h 83"/>
                <a:gd name="T50" fmla="*/ 2147483647 w 83"/>
                <a:gd name="T51" fmla="*/ 2147483647 h 83"/>
                <a:gd name="T52" fmla="*/ 2147483647 w 83"/>
                <a:gd name="T53" fmla="*/ 2147483647 h 83"/>
                <a:gd name="T54" fmla="*/ 2147483647 w 83"/>
                <a:gd name="T55" fmla="*/ 2147483647 h 8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3"/>
                <a:gd name="T85" fmla="*/ 0 h 83"/>
                <a:gd name="T86" fmla="*/ 83 w 83"/>
                <a:gd name="T87" fmla="*/ 83 h 83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3" h="83">
                  <a:moveTo>
                    <a:pt x="65" y="79"/>
                  </a:moveTo>
                  <a:cubicBezTo>
                    <a:pt x="2" y="79"/>
                    <a:pt x="2" y="79"/>
                    <a:pt x="2" y="79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2"/>
                    <a:pt x="0" y="17"/>
                    <a:pt x="0" y="13"/>
                  </a:cubicBezTo>
                  <a:cubicBezTo>
                    <a:pt x="0" y="10"/>
                    <a:pt x="4" y="10"/>
                    <a:pt x="4" y="8"/>
                  </a:cubicBezTo>
                  <a:cubicBezTo>
                    <a:pt x="4" y="6"/>
                    <a:pt x="4" y="2"/>
                    <a:pt x="4" y="2"/>
                  </a:cubicBezTo>
                  <a:cubicBezTo>
                    <a:pt x="7" y="2"/>
                    <a:pt x="11" y="2"/>
                    <a:pt x="14" y="2"/>
                  </a:cubicBezTo>
                  <a:cubicBezTo>
                    <a:pt x="16" y="2"/>
                    <a:pt x="30" y="7"/>
                    <a:pt x="33" y="7"/>
                  </a:cubicBezTo>
                  <a:cubicBezTo>
                    <a:pt x="37" y="7"/>
                    <a:pt x="42" y="3"/>
                    <a:pt x="44" y="2"/>
                  </a:cubicBezTo>
                  <a:cubicBezTo>
                    <a:pt x="47" y="1"/>
                    <a:pt x="47" y="1"/>
                    <a:pt x="49" y="1"/>
                  </a:cubicBezTo>
                  <a:cubicBezTo>
                    <a:pt x="52" y="0"/>
                    <a:pt x="53" y="1"/>
                    <a:pt x="55" y="2"/>
                  </a:cubicBezTo>
                  <a:cubicBezTo>
                    <a:pt x="57" y="3"/>
                    <a:pt x="59" y="6"/>
                    <a:pt x="61" y="6"/>
                  </a:cubicBezTo>
                  <a:cubicBezTo>
                    <a:pt x="64" y="5"/>
                    <a:pt x="69" y="6"/>
                    <a:pt x="71" y="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75" y="23"/>
                    <a:pt x="74" y="30"/>
                    <a:pt x="73" y="30"/>
                  </a:cubicBezTo>
                  <a:cubicBezTo>
                    <a:pt x="72" y="30"/>
                    <a:pt x="71" y="30"/>
                    <a:pt x="69" y="28"/>
                  </a:cubicBezTo>
                  <a:cubicBezTo>
                    <a:pt x="68" y="26"/>
                    <a:pt x="63" y="18"/>
                    <a:pt x="62" y="16"/>
                  </a:cubicBezTo>
                  <a:cubicBezTo>
                    <a:pt x="61" y="13"/>
                    <a:pt x="59" y="13"/>
                    <a:pt x="58" y="15"/>
                  </a:cubicBezTo>
                  <a:cubicBezTo>
                    <a:pt x="57" y="17"/>
                    <a:pt x="58" y="17"/>
                    <a:pt x="57" y="18"/>
                  </a:cubicBezTo>
                  <a:cubicBezTo>
                    <a:pt x="57" y="20"/>
                    <a:pt x="63" y="31"/>
                    <a:pt x="65" y="33"/>
                  </a:cubicBezTo>
                  <a:cubicBezTo>
                    <a:pt x="67" y="35"/>
                    <a:pt x="68" y="39"/>
                    <a:pt x="70" y="42"/>
                  </a:cubicBezTo>
                  <a:cubicBezTo>
                    <a:pt x="73" y="45"/>
                    <a:pt x="82" y="62"/>
                    <a:pt x="82" y="64"/>
                  </a:cubicBezTo>
                  <a:cubicBezTo>
                    <a:pt x="82" y="65"/>
                    <a:pt x="82" y="69"/>
                    <a:pt x="83" y="72"/>
                  </a:cubicBezTo>
                  <a:cubicBezTo>
                    <a:pt x="83" y="72"/>
                    <a:pt x="80" y="73"/>
                    <a:pt x="78" y="73"/>
                  </a:cubicBezTo>
                  <a:cubicBezTo>
                    <a:pt x="77" y="73"/>
                    <a:pt x="76" y="78"/>
                    <a:pt x="76" y="78"/>
                  </a:cubicBezTo>
                  <a:cubicBezTo>
                    <a:pt x="76" y="78"/>
                    <a:pt x="72" y="81"/>
                    <a:pt x="70" y="82"/>
                  </a:cubicBezTo>
                  <a:cubicBezTo>
                    <a:pt x="68" y="83"/>
                    <a:pt x="67" y="80"/>
                    <a:pt x="65" y="7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16" name="Freeform 470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6597576" y="3333748"/>
              <a:ext cx="74092" cy="52724"/>
            </a:xfrm>
            <a:custGeom>
              <a:avLst/>
              <a:gdLst>
                <a:gd name="T0" fmla="*/ 0 w 21"/>
                <a:gd name="T1" fmla="*/ 2147483647 h 15"/>
                <a:gd name="T2" fmla="*/ 2147483647 w 21"/>
                <a:gd name="T3" fmla="*/ 2147483647 h 15"/>
                <a:gd name="T4" fmla="*/ 2147483647 w 21"/>
                <a:gd name="T5" fmla="*/ 2147483647 h 15"/>
                <a:gd name="T6" fmla="*/ 2147483647 w 21"/>
                <a:gd name="T7" fmla="*/ 0 h 15"/>
                <a:gd name="T8" fmla="*/ 2147483647 w 21"/>
                <a:gd name="T9" fmla="*/ 0 h 15"/>
                <a:gd name="T10" fmla="*/ 2147483647 w 21"/>
                <a:gd name="T11" fmla="*/ 0 h 15"/>
                <a:gd name="T12" fmla="*/ 2147483647 w 21"/>
                <a:gd name="T13" fmla="*/ 2147483647 h 15"/>
                <a:gd name="T14" fmla="*/ 2147483647 w 21"/>
                <a:gd name="T15" fmla="*/ 2147483647 h 15"/>
                <a:gd name="T16" fmla="*/ 2147483647 w 21"/>
                <a:gd name="T17" fmla="*/ 2147483647 h 15"/>
                <a:gd name="T18" fmla="*/ 2147483647 w 21"/>
                <a:gd name="T19" fmla="*/ 2147483647 h 15"/>
                <a:gd name="T20" fmla="*/ 2147483647 w 21"/>
                <a:gd name="T21" fmla="*/ 2147483647 h 15"/>
                <a:gd name="T22" fmla="*/ 2147483647 w 21"/>
                <a:gd name="T23" fmla="*/ 2147483647 h 15"/>
                <a:gd name="T24" fmla="*/ 0 w 21"/>
                <a:gd name="T25" fmla="*/ 2147483647 h 1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1"/>
                <a:gd name="T40" fmla="*/ 0 h 15"/>
                <a:gd name="T41" fmla="*/ 21 w 21"/>
                <a:gd name="T42" fmla="*/ 15 h 1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1" h="15">
                  <a:moveTo>
                    <a:pt x="0" y="13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7" y="0"/>
                    <a:pt x="8" y="0"/>
                  </a:cubicBezTo>
                  <a:cubicBezTo>
                    <a:pt x="9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"/>
                    <a:pt x="13" y="4"/>
                    <a:pt x="14" y="5"/>
                  </a:cubicBezTo>
                  <a:cubicBezTo>
                    <a:pt x="15" y="5"/>
                    <a:pt x="21" y="8"/>
                    <a:pt x="21" y="9"/>
                  </a:cubicBezTo>
                  <a:cubicBezTo>
                    <a:pt x="20" y="10"/>
                    <a:pt x="20" y="11"/>
                    <a:pt x="18" y="11"/>
                  </a:cubicBezTo>
                  <a:cubicBezTo>
                    <a:pt x="16" y="11"/>
                    <a:pt x="11" y="10"/>
                    <a:pt x="9" y="11"/>
                  </a:cubicBezTo>
                  <a:cubicBezTo>
                    <a:pt x="8" y="13"/>
                    <a:pt x="7" y="14"/>
                    <a:pt x="5" y="14"/>
                  </a:cubicBezTo>
                  <a:cubicBezTo>
                    <a:pt x="5" y="14"/>
                    <a:pt x="4" y="14"/>
                    <a:pt x="4" y="14"/>
                  </a:cubicBezTo>
                  <a:cubicBezTo>
                    <a:pt x="2" y="14"/>
                    <a:pt x="1" y="15"/>
                    <a:pt x="0" y="1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17" name="Freeform 471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6572879" y="5044882"/>
              <a:ext cx="211985" cy="198913"/>
            </a:xfrm>
            <a:custGeom>
              <a:avLst/>
              <a:gdLst>
                <a:gd name="T0" fmla="*/ 2147483647 w 60"/>
                <a:gd name="T1" fmla="*/ 2147483647 h 53"/>
                <a:gd name="T2" fmla="*/ 0 w 60"/>
                <a:gd name="T3" fmla="*/ 2147483647 h 53"/>
                <a:gd name="T4" fmla="*/ 2147483647 w 60"/>
                <a:gd name="T5" fmla="*/ 2147483647 h 53"/>
                <a:gd name="T6" fmla="*/ 2147483647 w 60"/>
                <a:gd name="T7" fmla="*/ 2147483647 h 53"/>
                <a:gd name="T8" fmla="*/ 2147483647 w 60"/>
                <a:gd name="T9" fmla="*/ 2147483647 h 53"/>
                <a:gd name="T10" fmla="*/ 2147483647 w 60"/>
                <a:gd name="T11" fmla="*/ 0 h 53"/>
                <a:gd name="T12" fmla="*/ 2147483647 w 60"/>
                <a:gd name="T13" fmla="*/ 0 h 53"/>
                <a:gd name="T14" fmla="*/ 2147483647 w 60"/>
                <a:gd name="T15" fmla="*/ 0 h 53"/>
                <a:gd name="T16" fmla="*/ 2147483647 w 60"/>
                <a:gd name="T17" fmla="*/ 0 h 53"/>
                <a:gd name="T18" fmla="*/ 2147483647 w 60"/>
                <a:gd name="T19" fmla="*/ 2147483647 h 53"/>
                <a:gd name="T20" fmla="*/ 2147483647 w 60"/>
                <a:gd name="T21" fmla="*/ 2147483647 h 53"/>
                <a:gd name="T22" fmla="*/ 2147483647 w 60"/>
                <a:gd name="T23" fmla="*/ 2147483647 h 53"/>
                <a:gd name="T24" fmla="*/ 2147483647 w 60"/>
                <a:gd name="T25" fmla="*/ 2147483647 h 53"/>
                <a:gd name="T26" fmla="*/ 2147483647 w 60"/>
                <a:gd name="T27" fmla="*/ 2147483647 h 53"/>
                <a:gd name="T28" fmla="*/ 2147483647 w 60"/>
                <a:gd name="T29" fmla="*/ 2147483647 h 53"/>
                <a:gd name="T30" fmla="*/ 2147483647 w 60"/>
                <a:gd name="T31" fmla="*/ 2147483647 h 53"/>
                <a:gd name="T32" fmla="*/ 2147483647 w 60"/>
                <a:gd name="T33" fmla="*/ 2147483647 h 53"/>
                <a:gd name="T34" fmla="*/ 2147483647 w 60"/>
                <a:gd name="T35" fmla="*/ 2147483647 h 53"/>
                <a:gd name="T36" fmla="*/ 2147483647 w 60"/>
                <a:gd name="T37" fmla="*/ 2147483647 h 53"/>
                <a:gd name="T38" fmla="*/ 2147483647 w 60"/>
                <a:gd name="T39" fmla="*/ 2147483647 h 53"/>
                <a:gd name="T40" fmla="*/ 2147483647 w 60"/>
                <a:gd name="T41" fmla="*/ 2147483647 h 53"/>
                <a:gd name="T42" fmla="*/ 2147483647 w 60"/>
                <a:gd name="T43" fmla="*/ 2147483647 h 53"/>
                <a:gd name="T44" fmla="*/ 2147483647 w 60"/>
                <a:gd name="T45" fmla="*/ 2147483647 h 53"/>
                <a:gd name="T46" fmla="*/ 2147483647 w 60"/>
                <a:gd name="T47" fmla="*/ 2147483647 h 53"/>
                <a:gd name="T48" fmla="*/ 2147483647 w 60"/>
                <a:gd name="T49" fmla="*/ 2147483647 h 53"/>
                <a:gd name="T50" fmla="*/ 2147483647 w 60"/>
                <a:gd name="T51" fmla="*/ 2147483647 h 53"/>
                <a:gd name="T52" fmla="*/ 2147483647 w 60"/>
                <a:gd name="T53" fmla="*/ 2147483647 h 53"/>
                <a:gd name="T54" fmla="*/ 2147483647 w 60"/>
                <a:gd name="T55" fmla="*/ 2147483647 h 5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60"/>
                <a:gd name="T85" fmla="*/ 0 h 53"/>
                <a:gd name="T86" fmla="*/ 60 w 60"/>
                <a:gd name="T87" fmla="*/ 53 h 53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60" h="53">
                  <a:moveTo>
                    <a:pt x="2" y="2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4" y="17"/>
                    <a:pt x="11" y="18"/>
                    <a:pt x="12" y="18"/>
                  </a:cubicBezTo>
                  <a:cubicBezTo>
                    <a:pt x="14" y="18"/>
                    <a:pt x="19" y="11"/>
                    <a:pt x="21" y="10"/>
                  </a:cubicBezTo>
                  <a:cubicBezTo>
                    <a:pt x="24" y="9"/>
                    <a:pt x="28" y="6"/>
                    <a:pt x="28" y="6"/>
                  </a:cubicBezTo>
                  <a:cubicBezTo>
                    <a:pt x="28" y="6"/>
                    <a:pt x="30" y="0"/>
                    <a:pt x="32" y="0"/>
                  </a:cubicBezTo>
                  <a:cubicBezTo>
                    <a:pt x="34" y="0"/>
                    <a:pt x="36" y="0"/>
                    <a:pt x="36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0" y="1"/>
                    <a:pt x="40" y="3"/>
                    <a:pt x="40" y="3"/>
                  </a:cubicBezTo>
                  <a:cubicBezTo>
                    <a:pt x="40" y="3"/>
                    <a:pt x="46" y="4"/>
                    <a:pt x="48" y="4"/>
                  </a:cubicBezTo>
                  <a:cubicBezTo>
                    <a:pt x="50" y="4"/>
                    <a:pt x="57" y="8"/>
                    <a:pt x="58" y="9"/>
                  </a:cubicBezTo>
                  <a:cubicBezTo>
                    <a:pt x="59" y="10"/>
                    <a:pt x="60" y="22"/>
                    <a:pt x="59" y="25"/>
                  </a:cubicBezTo>
                  <a:cubicBezTo>
                    <a:pt x="58" y="28"/>
                    <a:pt x="59" y="32"/>
                    <a:pt x="59" y="33"/>
                  </a:cubicBezTo>
                  <a:cubicBezTo>
                    <a:pt x="59" y="35"/>
                    <a:pt x="59" y="36"/>
                    <a:pt x="57" y="38"/>
                  </a:cubicBezTo>
                  <a:cubicBezTo>
                    <a:pt x="55" y="39"/>
                    <a:pt x="55" y="43"/>
                    <a:pt x="55" y="45"/>
                  </a:cubicBezTo>
                  <a:cubicBezTo>
                    <a:pt x="55" y="46"/>
                    <a:pt x="54" y="47"/>
                    <a:pt x="51" y="49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5" y="52"/>
                    <a:pt x="41" y="52"/>
                    <a:pt x="39" y="52"/>
                  </a:cubicBezTo>
                  <a:cubicBezTo>
                    <a:pt x="37" y="52"/>
                    <a:pt x="34" y="51"/>
                    <a:pt x="32" y="50"/>
                  </a:cubicBezTo>
                  <a:cubicBezTo>
                    <a:pt x="31" y="50"/>
                    <a:pt x="30" y="49"/>
                    <a:pt x="30" y="49"/>
                  </a:cubicBezTo>
                  <a:cubicBezTo>
                    <a:pt x="27" y="48"/>
                    <a:pt x="21" y="46"/>
                    <a:pt x="20" y="45"/>
                  </a:cubicBezTo>
                  <a:cubicBezTo>
                    <a:pt x="20" y="44"/>
                    <a:pt x="19" y="38"/>
                    <a:pt x="19" y="38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6" y="39"/>
                    <a:pt x="13" y="35"/>
                    <a:pt x="11" y="34"/>
                  </a:cubicBezTo>
                  <a:cubicBezTo>
                    <a:pt x="8" y="32"/>
                    <a:pt x="4" y="24"/>
                    <a:pt x="2" y="22"/>
                  </a:cubicBezTo>
                  <a:lnTo>
                    <a:pt x="2" y="20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18" name="Freeform 472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6484380" y="4915468"/>
              <a:ext cx="224334" cy="196517"/>
            </a:xfrm>
            <a:custGeom>
              <a:avLst/>
              <a:gdLst>
                <a:gd name="T0" fmla="*/ 2147483647 w 64"/>
                <a:gd name="T1" fmla="*/ 2147483647 h 54"/>
                <a:gd name="T2" fmla="*/ 0 w 64"/>
                <a:gd name="T3" fmla="*/ 2147483647 h 54"/>
                <a:gd name="T4" fmla="*/ 0 w 64"/>
                <a:gd name="T5" fmla="*/ 2147483647 h 54"/>
                <a:gd name="T6" fmla="*/ 2147483647 w 64"/>
                <a:gd name="T7" fmla="*/ 2147483647 h 54"/>
                <a:gd name="T8" fmla="*/ 2147483647 w 64"/>
                <a:gd name="T9" fmla="*/ 0 h 54"/>
                <a:gd name="T10" fmla="*/ 2147483647 w 64"/>
                <a:gd name="T11" fmla="*/ 2147483647 h 54"/>
                <a:gd name="T12" fmla="*/ 2147483647 w 64"/>
                <a:gd name="T13" fmla="*/ 2147483647 h 54"/>
                <a:gd name="T14" fmla="*/ 2147483647 w 64"/>
                <a:gd name="T15" fmla="*/ 2147483647 h 54"/>
                <a:gd name="T16" fmla="*/ 2147483647 w 64"/>
                <a:gd name="T17" fmla="*/ 2147483647 h 54"/>
                <a:gd name="T18" fmla="*/ 2147483647 w 64"/>
                <a:gd name="T19" fmla="*/ 2147483647 h 54"/>
                <a:gd name="T20" fmla="*/ 2147483647 w 64"/>
                <a:gd name="T21" fmla="*/ 2147483647 h 54"/>
                <a:gd name="T22" fmla="*/ 2147483647 w 64"/>
                <a:gd name="T23" fmla="*/ 2147483647 h 54"/>
                <a:gd name="T24" fmla="*/ 2147483647 w 64"/>
                <a:gd name="T25" fmla="*/ 2147483647 h 54"/>
                <a:gd name="T26" fmla="*/ 2147483647 w 64"/>
                <a:gd name="T27" fmla="*/ 2147483647 h 54"/>
                <a:gd name="T28" fmla="*/ 2147483647 w 64"/>
                <a:gd name="T29" fmla="*/ 2147483647 h 54"/>
                <a:gd name="T30" fmla="*/ 2147483647 w 64"/>
                <a:gd name="T31" fmla="*/ 2147483647 h 54"/>
                <a:gd name="T32" fmla="*/ 2147483647 w 64"/>
                <a:gd name="T33" fmla="*/ 2147483647 h 54"/>
                <a:gd name="T34" fmla="*/ 2147483647 w 64"/>
                <a:gd name="T35" fmla="*/ 2147483647 h 54"/>
                <a:gd name="T36" fmla="*/ 2147483647 w 64"/>
                <a:gd name="T37" fmla="*/ 2147483647 h 54"/>
                <a:gd name="T38" fmla="*/ 2147483647 w 64"/>
                <a:gd name="T39" fmla="*/ 2147483647 h 54"/>
                <a:gd name="T40" fmla="*/ 2147483647 w 64"/>
                <a:gd name="T41" fmla="*/ 2147483647 h 54"/>
                <a:gd name="T42" fmla="*/ 2147483647 w 64"/>
                <a:gd name="T43" fmla="*/ 2147483647 h 5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4"/>
                <a:gd name="T67" fmla="*/ 0 h 54"/>
                <a:gd name="T68" fmla="*/ 64 w 64"/>
                <a:gd name="T69" fmla="*/ 54 h 5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4" h="54">
                  <a:moveTo>
                    <a:pt x="9" y="51"/>
                  </a:moveTo>
                  <a:cubicBezTo>
                    <a:pt x="0" y="40"/>
                    <a:pt x="0" y="40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0"/>
                    <a:pt x="26" y="2"/>
                    <a:pt x="26" y="2"/>
                  </a:cubicBezTo>
                  <a:cubicBezTo>
                    <a:pt x="26" y="2"/>
                    <a:pt x="32" y="7"/>
                    <a:pt x="34" y="7"/>
                  </a:cubicBezTo>
                  <a:cubicBezTo>
                    <a:pt x="37" y="7"/>
                    <a:pt x="40" y="2"/>
                    <a:pt x="40" y="4"/>
                  </a:cubicBezTo>
                  <a:cubicBezTo>
                    <a:pt x="42" y="6"/>
                    <a:pt x="47" y="11"/>
                    <a:pt x="50" y="13"/>
                  </a:cubicBezTo>
                  <a:cubicBezTo>
                    <a:pt x="52" y="16"/>
                    <a:pt x="55" y="19"/>
                    <a:pt x="58" y="19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0"/>
                    <a:pt x="64" y="30"/>
                    <a:pt x="64" y="31"/>
                  </a:cubicBezTo>
                  <a:cubicBezTo>
                    <a:pt x="64" y="31"/>
                    <a:pt x="64" y="34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6"/>
                    <a:pt x="59" y="36"/>
                    <a:pt x="57" y="36"/>
                  </a:cubicBezTo>
                  <a:cubicBezTo>
                    <a:pt x="55" y="36"/>
                    <a:pt x="53" y="42"/>
                    <a:pt x="53" y="42"/>
                  </a:cubicBezTo>
                  <a:cubicBezTo>
                    <a:pt x="53" y="42"/>
                    <a:pt x="49" y="45"/>
                    <a:pt x="46" y="46"/>
                  </a:cubicBezTo>
                  <a:cubicBezTo>
                    <a:pt x="44" y="47"/>
                    <a:pt x="39" y="54"/>
                    <a:pt x="37" y="54"/>
                  </a:cubicBezTo>
                  <a:cubicBezTo>
                    <a:pt x="36" y="54"/>
                    <a:pt x="29" y="53"/>
                    <a:pt x="25" y="52"/>
                  </a:cubicBezTo>
                  <a:cubicBezTo>
                    <a:pt x="24" y="52"/>
                    <a:pt x="23" y="52"/>
                    <a:pt x="23" y="51"/>
                  </a:cubicBezTo>
                  <a:cubicBezTo>
                    <a:pt x="22" y="50"/>
                    <a:pt x="15" y="51"/>
                    <a:pt x="9" y="5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19" name="Freeform 473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6494670" y="3264248"/>
              <a:ext cx="168765" cy="98258"/>
            </a:xfrm>
            <a:custGeom>
              <a:avLst/>
              <a:gdLst>
                <a:gd name="T0" fmla="*/ 2147483647 w 48"/>
                <a:gd name="T1" fmla="*/ 2147483647 h 27"/>
                <a:gd name="T2" fmla="*/ 2147483647 w 48"/>
                <a:gd name="T3" fmla="*/ 2147483647 h 27"/>
                <a:gd name="T4" fmla="*/ 2147483647 w 48"/>
                <a:gd name="T5" fmla="*/ 2147483647 h 27"/>
                <a:gd name="T6" fmla="*/ 2147483647 w 48"/>
                <a:gd name="T7" fmla="*/ 0 h 27"/>
                <a:gd name="T8" fmla="*/ 2147483647 w 48"/>
                <a:gd name="T9" fmla="*/ 2147483647 h 27"/>
                <a:gd name="T10" fmla="*/ 2147483647 w 48"/>
                <a:gd name="T11" fmla="*/ 2147483647 h 27"/>
                <a:gd name="T12" fmla="*/ 2147483647 w 48"/>
                <a:gd name="T13" fmla="*/ 2147483647 h 27"/>
                <a:gd name="T14" fmla="*/ 2147483647 w 48"/>
                <a:gd name="T15" fmla="*/ 2147483647 h 27"/>
                <a:gd name="T16" fmla="*/ 2147483647 w 48"/>
                <a:gd name="T17" fmla="*/ 2147483647 h 27"/>
                <a:gd name="T18" fmla="*/ 2147483647 w 48"/>
                <a:gd name="T19" fmla="*/ 2147483647 h 27"/>
                <a:gd name="T20" fmla="*/ 2147483647 w 48"/>
                <a:gd name="T21" fmla="*/ 2147483647 h 27"/>
                <a:gd name="T22" fmla="*/ 2147483647 w 48"/>
                <a:gd name="T23" fmla="*/ 2147483647 h 27"/>
                <a:gd name="T24" fmla="*/ 2147483647 w 48"/>
                <a:gd name="T25" fmla="*/ 2147483647 h 27"/>
                <a:gd name="T26" fmla="*/ 2147483647 w 48"/>
                <a:gd name="T27" fmla="*/ 2147483647 h 27"/>
                <a:gd name="T28" fmla="*/ 2147483647 w 48"/>
                <a:gd name="T29" fmla="*/ 2147483647 h 27"/>
                <a:gd name="T30" fmla="*/ 2147483647 w 48"/>
                <a:gd name="T31" fmla="*/ 2147483647 h 27"/>
                <a:gd name="T32" fmla="*/ 2147483647 w 48"/>
                <a:gd name="T33" fmla="*/ 2147483647 h 27"/>
                <a:gd name="T34" fmla="*/ 2147483647 w 48"/>
                <a:gd name="T35" fmla="*/ 2147483647 h 27"/>
                <a:gd name="T36" fmla="*/ 2147483647 w 48"/>
                <a:gd name="T37" fmla="*/ 2147483647 h 27"/>
                <a:gd name="T38" fmla="*/ 2147483647 w 48"/>
                <a:gd name="T39" fmla="*/ 2147483647 h 27"/>
                <a:gd name="T40" fmla="*/ 2147483647 w 48"/>
                <a:gd name="T41" fmla="*/ 2147483647 h 27"/>
                <a:gd name="T42" fmla="*/ 0 w 48"/>
                <a:gd name="T43" fmla="*/ 2147483647 h 27"/>
                <a:gd name="T44" fmla="*/ 2147483647 w 48"/>
                <a:gd name="T45" fmla="*/ 2147483647 h 2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8"/>
                <a:gd name="T70" fmla="*/ 0 h 27"/>
                <a:gd name="T71" fmla="*/ 48 w 48"/>
                <a:gd name="T72" fmla="*/ 27 h 27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8" h="27">
                  <a:moveTo>
                    <a:pt x="1" y="14"/>
                  </a:moveTo>
                  <a:cubicBezTo>
                    <a:pt x="2" y="12"/>
                    <a:pt x="5" y="12"/>
                    <a:pt x="5" y="10"/>
                  </a:cubicBezTo>
                  <a:cubicBezTo>
                    <a:pt x="4" y="9"/>
                    <a:pt x="1" y="6"/>
                    <a:pt x="1" y="4"/>
                  </a:cubicBezTo>
                  <a:cubicBezTo>
                    <a:pt x="1" y="3"/>
                    <a:pt x="1" y="2"/>
                    <a:pt x="2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12" y="5"/>
                    <a:pt x="13" y="5"/>
                  </a:cubicBezTo>
                  <a:cubicBezTo>
                    <a:pt x="15" y="5"/>
                    <a:pt x="23" y="6"/>
                    <a:pt x="25" y="6"/>
                  </a:cubicBezTo>
                  <a:cubicBezTo>
                    <a:pt x="27" y="6"/>
                    <a:pt x="30" y="2"/>
                    <a:pt x="33" y="2"/>
                  </a:cubicBezTo>
                  <a:cubicBezTo>
                    <a:pt x="35" y="2"/>
                    <a:pt x="40" y="3"/>
                    <a:pt x="42" y="3"/>
                  </a:cubicBezTo>
                  <a:cubicBezTo>
                    <a:pt x="43" y="3"/>
                    <a:pt x="48" y="4"/>
                    <a:pt x="48" y="4"/>
                  </a:cubicBezTo>
                  <a:cubicBezTo>
                    <a:pt x="48" y="5"/>
                    <a:pt x="48" y="6"/>
                    <a:pt x="48" y="7"/>
                  </a:cubicBezTo>
                  <a:cubicBezTo>
                    <a:pt x="48" y="8"/>
                    <a:pt x="42" y="9"/>
                    <a:pt x="41" y="10"/>
                  </a:cubicBezTo>
                  <a:cubicBezTo>
                    <a:pt x="41" y="12"/>
                    <a:pt x="40" y="15"/>
                    <a:pt x="41" y="17"/>
                  </a:cubicBezTo>
                  <a:cubicBezTo>
                    <a:pt x="41" y="18"/>
                    <a:pt x="41" y="18"/>
                    <a:pt x="41" y="19"/>
                  </a:cubicBezTo>
                  <a:cubicBezTo>
                    <a:pt x="41" y="19"/>
                    <a:pt x="38" y="19"/>
                    <a:pt x="37" y="19"/>
                  </a:cubicBezTo>
                  <a:cubicBezTo>
                    <a:pt x="36" y="19"/>
                    <a:pt x="31" y="21"/>
                    <a:pt x="30" y="21"/>
                  </a:cubicBezTo>
                  <a:cubicBezTo>
                    <a:pt x="29" y="22"/>
                    <a:pt x="27" y="23"/>
                    <a:pt x="26" y="25"/>
                  </a:cubicBezTo>
                  <a:cubicBezTo>
                    <a:pt x="25" y="26"/>
                    <a:pt x="20" y="25"/>
                    <a:pt x="19" y="24"/>
                  </a:cubicBezTo>
                  <a:cubicBezTo>
                    <a:pt x="18" y="24"/>
                    <a:pt x="13" y="24"/>
                    <a:pt x="11" y="24"/>
                  </a:cubicBezTo>
                  <a:cubicBezTo>
                    <a:pt x="10" y="24"/>
                    <a:pt x="7" y="26"/>
                    <a:pt x="5" y="27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4" y="21"/>
                    <a:pt x="0" y="20"/>
                    <a:pt x="0" y="18"/>
                  </a:cubicBezTo>
                  <a:cubicBezTo>
                    <a:pt x="0" y="17"/>
                    <a:pt x="0" y="15"/>
                    <a:pt x="1" y="1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20" name="Freeform 474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6527600" y="3551833"/>
              <a:ext cx="76150" cy="33552"/>
            </a:xfrm>
            <a:custGeom>
              <a:avLst/>
              <a:gdLst>
                <a:gd name="T0" fmla="*/ 2147483647 w 22"/>
                <a:gd name="T1" fmla="*/ 2147483647 h 9"/>
                <a:gd name="T2" fmla="*/ 0 w 22"/>
                <a:gd name="T3" fmla="*/ 2147483647 h 9"/>
                <a:gd name="T4" fmla="*/ 2147483647 w 22"/>
                <a:gd name="T5" fmla="*/ 2147483647 h 9"/>
                <a:gd name="T6" fmla="*/ 2147483647 w 22"/>
                <a:gd name="T7" fmla="*/ 2147483647 h 9"/>
                <a:gd name="T8" fmla="*/ 2147483647 w 22"/>
                <a:gd name="T9" fmla="*/ 2147483647 h 9"/>
                <a:gd name="T10" fmla="*/ 2147483647 w 22"/>
                <a:gd name="T11" fmla="*/ 2147483647 h 9"/>
                <a:gd name="T12" fmla="*/ 2147483647 w 22"/>
                <a:gd name="T13" fmla="*/ 2147483647 h 9"/>
                <a:gd name="T14" fmla="*/ 2147483647 w 22"/>
                <a:gd name="T15" fmla="*/ 2147483647 h 9"/>
                <a:gd name="T16" fmla="*/ 2147483647 w 22"/>
                <a:gd name="T17" fmla="*/ 2147483647 h 9"/>
                <a:gd name="T18" fmla="*/ 2147483647 w 2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2"/>
                <a:gd name="T31" fmla="*/ 0 h 9"/>
                <a:gd name="T32" fmla="*/ 22 w 2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2" h="9">
                  <a:moveTo>
                    <a:pt x="5" y="5"/>
                  </a:moveTo>
                  <a:cubicBezTo>
                    <a:pt x="4" y="5"/>
                    <a:pt x="0" y="3"/>
                    <a:pt x="0" y="3"/>
                  </a:cubicBezTo>
                  <a:cubicBezTo>
                    <a:pt x="0" y="1"/>
                    <a:pt x="0" y="0"/>
                    <a:pt x="2" y="1"/>
                  </a:cubicBezTo>
                  <a:cubicBezTo>
                    <a:pt x="4" y="1"/>
                    <a:pt x="14" y="2"/>
                    <a:pt x="15" y="2"/>
                  </a:cubicBezTo>
                  <a:cubicBezTo>
                    <a:pt x="17" y="2"/>
                    <a:pt x="17" y="4"/>
                    <a:pt x="18" y="4"/>
                  </a:cubicBezTo>
                  <a:cubicBezTo>
                    <a:pt x="19" y="4"/>
                    <a:pt x="22" y="3"/>
                    <a:pt x="22" y="4"/>
                  </a:cubicBezTo>
                  <a:cubicBezTo>
                    <a:pt x="22" y="5"/>
                    <a:pt x="22" y="7"/>
                    <a:pt x="22" y="8"/>
                  </a:cubicBezTo>
                  <a:cubicBezTo>
                    <a:pt x="22" y="9"/>
                    <a:pt x="19" y="8"/>
                    <a:pt x="16" y="8"/>
                  </a:cubicBezTo>
                  <a:cubicBezTo>
                    <a:pt x="13" y="8"/>
                    <a:pt x="10" y="8"/>
                    <a:pt x="9" y="8"/>
                  </a:cubicBezTo>
                  <a:cubicBezTo>
                    <a:pt x="8" y="8"/>
                    <a:pt x="7" y="5"/>
                    <a:pt x="5" y="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21" name="Freeform 475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434985" y="3340937"/>
              <a:ext cx="172881" cy="184534"/>
            </a:xfrm>
            <a:custGeom>
              <a:avLst/>
              <a:gdLst>
                <a:gd name="T0" fmla="*/ 2147483647 w 49"/>
                <a:gd name="T1" fmla="*/ 2147483647 h 50"/>
                <a:gd name="T2" fmla="*/ 0 w 49"/>
                <a:gd name="T3" fmla="*/ 2147483647 h 50"/>
                <a:gd name="T4" fmla="*/ 2147483647 w 49"/>
                <a:gd name="T5" fmla="*/ 2147483647 h 50"/>
                <a:gd name="T6" fmla="*/ 2147483647 w 49"/>
                <a:gd name="T7" fmla="*/ 2147483647 h 50"/>
                <a:gd name="T8" fmla="*/ 2147483647 w 49"/>
                <a:gd name="T9" fmla="*/ 2147483647 h 50"/>
                <a:gd name="T10" fmla="*/ 2147483647 w 49"/>
                <a:gd name="T11" fmla="*/ 2147483647 h 50"/>
                <a:gd name="T12" fmla="*/ 2147483647 w 49"/>
                <a:gd name="T13" fmla="*/ 2147483647 h 50"/>
                <a:gd name="T14" fmla="*/ 2147483647 w 49"/>
                <a:gd name="T15" fmla="*/ 2147483647 h 50"/>
                <a:gd name="T16" fmla="*/ 2147483647 w 49"/>
                <a:gd name="T17" fmla="*/ 2147483647 h 50"/>
                <a:gd name="T18" fmla="*/ 2147483647 w 49"/>
                <a:gd name="T19" fmla="*/ 2147483647 h 50"/>
                <a:gd name="T20" fmla="*/ 2147483647 w 49"/>
                <a:gd name="T21" fmla="*/ 0 h 50"/>
                <a:gd name="T22" fmla="*/ 2147483647 w 49"/>
                <a:gd name="T23" fmla="*/ 2147483647 h 50"/>
                <a:gd name="T24" fmla="*/ 2147483647 w 49"/>
                <a:gd name="T25" fmla="*/ 2147483647 h 50"/>
                <a:gd name="T26" fmla="*/ 2147483647 w 49"/>
                <a:gd name="T27" fmla="*/ 2147483647 h 50"/>
                <a:gd name="T28" fmla="*/ 2147483647 w 49"/>
                <a:gd name="T29" fmla="*/ 2147483647 h 50"/>
                <a:gd name="T30" fmla="*/ 2147483647 w 49"/>
                <a:gd name="T31" fmla="*/ 2147483647 h 50"/>
                <a:gd name="T32" fmla="*/ 2147483647 w 49"/>
                <a:gd name="T33" fmla="*/ 2147483647 h 50"/>
                <a:gd name="T34" fmla="*/ 2147483647 w 49"/>
                <a:gd name="T35" fmla="*/ 2147483647 h 50"/>
                <a:gd name="T36" fmla="*/ 2147483647 w 49"/>
                <a:gd name="T37" fmla="*/ 2147483647 h 50"/>
                <a:gd name="T38" fmla="*/ 2147483647 w 49"/>
                <a:gd name="T39" fmla="*/ 2147483647 h 50"/>
                <a:gd name="T40" fmla="*/ 2147483647 w 49"/>
                <a:gd name="T41" fmla="*/ 2147483647 h 50"/>
                <a:gd name="T42" fmla="*/ 2147483647 w 49"/>
                <a:gd name="T43" fmla="*/ 2147483647 h 50"/>
                <a:gd name="T44" fmla="*/ 2147483647 w 49"/>
                <a:gd name="T45" fmla="*/ 2147483647 h 50"/>
                <a:gd name="T46" fmla="*/ 2147483647 w 49"/>
                <a:gd name="T47" fmla="*/ 2147483647 h 50"/>
                <a:gd name="T48" fmla="*/ 2147483647 w 49"/>
                <a:gd name="T49" fmla="*/ 2147483647 h 50"/>
                <a:gd name="T50" fmla="*/ 2147483647 w 49"/>
                <a:gd name="T51" fmla="*/ 2147483647 h 50"/>
                <a:gd name="T52" fmla="*/ 2147483647 w 49"/>
                <a:gd name="T53" fmla="*/ 2147483647 h 50"/>
                <a:gd name="T54" fmla="*/ 2147483647 w 49"/>
                <a:gd name="T55" fmla="*/ 2147483647 h 50"/>
                <a:gd name="T56" fmla="*/ 2147483647 w 49"/>
                <a:gd name="T57" fmla="*/ 2147483647 h 50"/>
                <a:gd name="T58" fmla="*/ 2147483647 w 49"/>
                <a:gd name="T59" fmla="*/ 2147483647 h 50"/>
                <a:gd name="T60" fmla="*/ 2147483647 w 49"/>
                <a:gd name="T61" fmla="*/ 2147483647 h 50"/>
                <a:gd name="T62" fmla="*/ 2147483647 w 49"/>
                <a:gd name="T63" fmla="*/ 2147483647 h 50"/>
                <a:gd name="T64" fmla="*/ 2147483647 w 49"/>
                <a:gd name="T65" fmla="*/ 2147483647 h 50"/>
                <a:gd name="T66" fmla="*/ 2147483647 w 49"/>
                <a:gd name="T67" fmla="*/ 2147483647 h 50"/>
                <a:gd name="T68" fmla="*/ 2147483647 w 49"/>
                <a:gd name="T69" fmla="*/ 2147483647 h 50"/>
                <a:gd name="T70" fmla="*/ 2147483647 w 49"/>
                <a:gd name="T71" fmla="*/ 2147483647 h 5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9"/>
                <a:gd name="T109" fmla="*/ 0 h 50"/>
                <a:gd name="T110" fmla="*/ 49 w 49"/>
                <a:gd name="T111" fmla="*/ 50 h 5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9" h="50">
                  <a:moveTo>
                    <a:pt x="3" y="26"/>
                  </a:moveTo>
                  <a:cubicBezTo>
                    <a:pt x="2" y="24"/>
                    <a:pt x="1" y="23"/>
                    <a:pt x="0" y="21"/>
                  </a:cubicBezTo>
                  <a:cubicBezTo>
                    <a:pt x="3" y="18"/>
                    <a:pt x="7" y="14"/>
                    <a:pt x="7" y="13"/>
                  </a:cubicBezTo>
                  <a:cubicBezTo>
                    <a:pt x="7" y="13"/>
                    <a:pt x="7" y="12"/>
                    <a:pt x="7" y="11"/>
                  </a:cubicBezTo>
                  <a:cubicBezTo>
                    <a:pt x="7" y="11"/>
                    <a:pt x="13" y="8"/>
                    <a:pt x="14" y="8"/>
                  </a:cubicBezTo>
                  <a:cubicBezTo>
                    <a:pt x="15" y="7"/>
                    <a:pt x="19" y="6"/>
                    <a:pt x="21" y="6"/>
                  </a:cubicBezTo>
                  <a:cubicBezTo>
                    <a:pt x="21" y="6"/>
                    <a:pt x="21" y="6"/>
                    <a:pt x="22" y="6"/>
                  </a:cubicBezTo>
                  <a:cubicBezTo>
                    <a:pt x="24" y="5"/>
                    <a:pt x="27" y="3"/>
                    <a:pt x="28" y="3"/>
                  </a:cubicBezTo>
                  <a:cubicBezTo>
                    <a:pt x="30" y="3"/>
                    <a:pt x="35" y="3"/>
                    <a:pt x="36" y="3"/>
                  </a:cubicBezTo>
                  <a:cubicBezTo>
                    <a:pt x="37" y="4"/>
                    <a:pt x="42" y="5"/>
                    <a:pt x="43" y="4"/>
                  </a:cubicBezTo>
                  <a:cubicBezTo>
                    <a:pt x="44" y="2"/>
                    <a:pt x="46" y="1"/>
                    <a:pt x="47" y="0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4" y="9"/>
                    <a:pt x="41" y="9"/>
                    <a:pt x="40" y="9"/>
                  </a:cubicBezTo>
                  <a:cubicBezTo>
                    <a:pt x="38" y="9"/>
                    <a:pt x="33" y="9"/>
                    <a:pt x="32" y="10"/>
                  </a:cubicBezTo>
                  <a:cubicBezTo>
                    <a:pt x="30" y="11"/>
                    <a:pt x="27" y="12"/>
                    <a:pt x="29" y="13"/>
                  </a:cubicBezTo>
                  <a:cubicBezTo>
                    <a:pt x="32" y="15"/>
                    <a:pt x="34" y="17"/>
                    <a:pt x="32" y="17"/>
                  </a:cubicBezTo>
                  <a:cubicBezTo>
                    <a:pt x="31" y="18"/>
                    <a:pt x="27" y="20"/>
                    <a:pt x="26" y="18"/>
                  </a:cubicBezTo>
                  <a:cubicBezTo>
                    <a:pt x="25" y="17"/>
                    <a:pt x="23" y="13"/>
                    <a:pt x="21" y="13"/>
                  </a:cubicBezTo>
                  <a:cubicBezTo>
                    <a:pt x="20" y="13"/>
                    <a:pt x="19" y="16"/>
                    <a:pt x="19" y="18"/>
                  </a:cubicBezTo>
                  <a:cubicBezTo>
                    <a:pt x="20" y="21"/>
                    <a:pt x="24" y="23"/>
                    <a:pt x="24" y="25"/>
                  </a:cubicBezTo>
                  <a:cubicBezTo>
                    <a:pt x="24" y="27"/>
                    <a:pt x="25" y="27"/>
                    <a:pt x="28" y="29"/>
                  </a:cubicBezTo>
                  <a:cubicBezTo>
                    <a:pt x="30" y="31"/>
                    <a:pt x="32" y="34"/>
                    <a:pt x="32" y="35"/>
                  </a:cubicBezTo>
                  <a:cubicBezTo>
                    <a:pt x="33" y="35"/>
                    <a:pt x="37" y="38"/>
                    <a:pt x="37" y="38"/>
                  </a:cubicBezTo>
                  <a:cubicBezTo>
                    <a:pt x="36" y="39"/>
                    <a:pt x="32" y="37"/>
                    <a:pt x="30" y="38"/>
                  </a:cubicBezTo>
                  <a:cubicBezTo>
                    <a:pt x="29" y="38"/>
                    <a:pt x="26" y="35"/>
                    <a:pt x="25" y="37"/>
                  </a:cubicBezTo>
                  <a:cubicBezTo>
                    <a:pt x="24" y="38"/>
                    <a:pt x="26" y="41"/>
                    <a:pt x="25" y="41"/>
                  </a:cubicBezTo>
                  <a:cubicBezTo>
                    <a:pt x="24" y="42"/>
                    <a:pt x="21" y="39"/>
                    <a:pt x="20" y="41"/>
                  </a:cubicBezTo>
                  <a:cubicBezTo>
                    <a:pt x="20" y="42"/>
                    <a:pt x="24" y="50"/>
                    <a:pt x="22" y="50"/>
                  </a:cubicBezTo>
                  <a:cubicBezTo>
                    <a:pt x="21" y="50"/>
                    <a:pt x="17" y="48"/>
                    <a:pt x="16" y="48"/>
                  </a:cubicBezTo>
                  <a:cubicBezTo>
                    <a:pt x="15" y="47"/>
                    <a:pt x="11" y="47"/>
                    <a:pt x="11" y="46"/>
                  </a:cubicBezTo>
                  <a:cubicBezTo>
                    <a:pt x="11" y="44"/>
                    <a:pt x="14" y="42"/>
                    <a:pt x="12" y="41"/>
                  </a:cubicBezTo>
                  <a:cubicBezTo>
                    <a:pt x="10" y="39"/>
                    <a:pt x="8" y="37"/>
                    <a:pt x="9" y="37"/>
                  </a:cubicBezTo>
                  <a:cubicBezTo>
                    <a:pt x="10" y="36"/>
                    <a:pt x="12" y="36"/>
                    <a:pt x="14" y="36"/>
                  </a:cubicBezTo>
                  <a:cubicBezTo>
                    <a:pt x="15" y="36"/>
                    <a:pt x="10" y="33"/>
                    <a:pt x="8" y="32"/>
                  </a:cubicBezTo>
                  <a:cubicBezTo>
                    <a:pt x="6" y="30"/>
                    <a:pt x="5" y="28"/>
                    <a:pt x="3" y="2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22" name="Freeform 476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6449392" y="3328955"/>
              <a:ext cx="63801" cy="52724"/>
            </a:xfrm>
            <a:custGeom>
              <a:avLst/>
              <a:gdLst>
                <a:gd name="T0" fmla="*/ 2147483647 w 18"/>
                <a:gd name="T1" fmla="*/ 2147483647 h 14"/>
                <a:gd name="T2" fmla="*/ 0 w 18"/>
                <a:gd name="T3" fmla="*/ 2147483647 h 14"/>
                <a:gd name="T4" fmla="*/ 0 w 18"/>
                <a:gd name="T5" fmla="*/ 2147483647 h 14"/>
                <a:gd name="T6" fmla="*/ 2147483647 w 18"/>
                <a:gd name="T7" fmla="*/ 0 h 14"/>
                <a:gd name="T8" fmla="*/ 2147483647 w 18"/>
                <a:gd name="T9" fmla="*/ 2147483647 h 14"/>
                <a:gd name="T10" fmla="*/ 2147483647 w 18"/>
                <a:gd name="T11" fmla="*/ 2147483647 h 14"/>
                <a:gd name="T12" fmla="*/ 2147483647 w 18"/>
                <a:gd name="T13" fmla="*/ 2147483647 h 14"/>
                <a:gd name="T14" fmla="*/ 2147483647 w 18"/>
                <a:gd name="T15" fmla="*/ 2147483647 h 14"/>
                <a:gd name="T16" fmla="*/ 2147483647 w 18"/>
                <a:gd name="T17" fmla="*/ 2147483647 h 14"/>
                <a:gd name="T18" fmla="*/ 2147483647 w 18"/>
                <a:gd name="T19" fmla="*/ 2147483647 h 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8"/>
                <a:gd name="T31" fmla="*/ 0 h 14"/>
                <a:gd name="T32" fmla="*/ 18 w 18"/>
                <a:gd name="T33" fmla="*/ 14 h 1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8" h="14">
                  <a:moveTo>
                    <a:pt x="1" y="12"/>
                  </a:moveTo>
                  <a:cubicBezTo>
                    <a:pt x="0" y="12"/>
                    <a:pt x="0" y="9"/>
                    <a:pt x="0" y="6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2"/>
                    <a:pt x="17" y="3"/>
                    <a:pt x="18" y="5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5" y="9"/>
                    <a:pt x="11" y="10"/>
                    <a:pt x="10" y="11"/>
                  </a:cubicBezTo>
                  <a:cubicBezTo>
                    <a:pt x="9" y="11"/>
                    <a:pt x="3" y="14"/>
                    <a:pt x="3" y="14"/>
                  </a:cubicBezTo>
                  <a:cubicBezTo>
                    <a:pt x="2" y="13"/>
                    <a:pt x="2" y="12"/>
                    <a:pt x="1" y="12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23" name="Freeform 477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6402056" y="3197145"/>
              <a:ext cx="111138" cy="143793"/>
            </a:xfrm>
            <a:custGeom>
              <a:avLst/>
              <a:gdLst>
                <a:gd name="T0" fmla="*/ 2147483647 w 32"/>
                <a:gd name="T1" fmla="*/ 2147483647 h 39"/>
                <a:gd name="T2" fmla="*/ 2147483647 w 32"/>
                <a:gd name="T3" fmla="*/ 2147483647 h 39"/>
                <a:gd name="T4" fmla="*/ 0 w 32"/>
                <a:gd name="T5" fmla="*/ 2147483647 h 39"/>
                <a:gd name="T6" fmla="*/ 2147483647 w 32"/>
                <a:gd name="T7" fmla="*/ 2147483647 h 39"/>
                <a:gd name="T8" fmla="*/ 2147483647 w 32"/>
                <a:gd name="T9" fmla="*/ 0 h 39"/>
                <a:gd name="T10" fmla="*/ 2147483647 w 32"/>
                <a:gd name="T11" fmla="*/ 0 h 39"/>
                <a:gd name="T12" fmla="*/ 2147483647 w 32"/>
                <a:gd name="T13" fmla="*/ 2147483647 h 39"/>
                <a:gd name="T14" fmla="*/ 2147483647 w 32"/>
                <a:gd name="T15" fmla="*/ 2147483647 h 39"/>
                <a:gd name="T16" fmla="*/ 2147483647 w 32"/>
                <a:gd name="T17" fmla="*/ 2147483647 h 39"/>
                <a:gd name="T18" fmla="*/ 2147483647 w 32"/>
                <a:gd name="T19" fmla="*/ 2147483647 h 39"/>
                <a:gd name="T20" fmla="*/ 2147483647 w 32"/>
                <a:gd name="T21" fmla="*/ 2147483647 h 39"/>
                <a:gd name="T22" fmla="*/ 2147483647 w 32"/>
                <a:gd name="T23" fmla="*/ 2147483647 h 39"/>
                <a:gd name="T24" fmla="*/ 2147483647 w 32"/>
                <a:gd name="T25" fmla="*/ 2147483647 h 39"/>
                <a:gd name="T26" fmla="*/ 2147483647 w 32"/>
                <a:gd name="T27" fmla="*/ 2147483647 h 39"/>
                <a:gd name="T28" fmla="*/ 2147483647 w 32"/>
                <a:gd name="T29" fmla="*/ 2147483647 h 39"/>
                <a:gd name="T30" fmla="*/ 2147483647 w 32"/>
                <a:gd name="T31" fmla="*/ 2147483647 h 39"/>
                <a:gd name="T32" fmla="*/ 2147483647 w 32"/>
                <a:gd name="T33" fmla="*/ 2147483647 h 39"/>
                <a:gd name="T34" fmla="*/ 2147483647 w 32"/>
                <a:gd name="T35" fmla="*/ 2147483647 h 39"/>
                <a:gd name="T36" fmla="*/ 2147483647 w 32"/>
                <a:gd name="T37" fmla="*/ 2147483647 h 39"/>
                <a:gd name="T38" fmla="*/ 2147483647 w 32"/>
                <a:gd name="T39" fmla="*/ 2147483647 h 39"/>
                <a:gd name="T40" fmla="*/ 2147483647 w 32"/>
                <a:gd name="T41" fmla="*/ 2147483647 h 39"/>
                <a:gd name="T42" fmla="*/ 2147483647 w 32"/>
                <a:gd name="T43" fmla="*/ 2147483647 h 39"/>
                <a:gd name="T44" fmla="*/ 2147483647 w 32"/>
                <a:gd name="T45" fmla="*/ 2147483647 h 39"/>
                <a:gd name="T46" fmla="*/ 2147483647 w 32"/>
                <a:gd name="T47" fmla="*/ 2147483647 h 3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2"/>
                <a:gd name="T73" fmla="*/ 0 h 39"/>
                <a:gd name="T74" fmla="*/ 32 w 32"/>
                <a:gd name="T75" fmla="*/ 39 h 3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2" h="39">
                  <a:moveTo>
                    <a:pt x="3" y="10"/>
                  </a:moveTo>
                  <a:cubicBezTo>
                    <a:pt x="3" y="9"/>
                    <a:pt x="2" y="8"/>
                    <a:pt x="1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4" y="1"/>
                    <a:pt x="10" y="0"/>
                    <a:pt x="1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5"/>
                    <a:pt x="17" y="8"/>
                    <a:pt x="18" y="10"/>
                  </a:cubicBezTo>
                  <a:cubicBezTo>
                    <a:pt x="20" y="12"/>
                    <a:pt x="19" y="13"/>
                    <a:pt x="22" y="14"/>
                  </a:cubicBezTo>
                  <a:cubicBezTo>
                    <a:pt x="25" y="15"/>
                    <a:pt x="29" y="17"/>
                    <a:pt x="29" y="17"/>
                  </a:cubicBezTo>
                  <a:cubicBezTo>
                    <a:pt x="29" y="17"/>
                    <a:pt x="29" y="17"/>
                    <a:pt x="29" y="18"/>
                  </a:cubicBezTo>
                  <a:cubicBezTo>
                    <a:pt x="28" y="20"/>
                    <a:pt x="28" y="21"/>
                    <a:pt x="28" y="22"/>
                  </a:cubicBezTo>
                  <a:cubicBezTo>
                    <a:pt x="28" y="24"/>
                    <a:pt x="31" y="27"/>
                    <a:pt x="32" y="28"/>
                  </a:cubicBezTo>
                  <a:cubicBezTo>
                    <a:pt x="32" y="30"/>
                    <a:pt x="29" y="30"/>
                    <a:pt x="28" y="32"/>
                  </a:cubicBezTo>
                  <a:cubicBezTo>
                    <a:pt x="27" y="33"/>
                    <a:pt x="27" y="35"/>
                    <a:pt x="27" y="36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3" y="38"/>
                    <a:pt x="13" y="37"/>
                    <a:pt x="13" y="37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2"/>
                    <a:pt x="12" y="31"/>
                    <a:pt x="11" y="30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4"/>
                    <a:pt x="5" y="24"/>
                    <a:pt x="5" y="23"/>
                  </a:cubicBezTo>
                  <a:cubicBezTo>
                    <a:pt x="6" y="21"/>
                    <a:pt x="2" y="19"/>
                    <a:pt x="2" y="18"/>
                  </a:cubicBezTo>
                  <a:cubicBezTo>
                    <a:pt x="2" y="18"/>
                    <a:pt x="2" y="16"/>
                    <a:pt x="3" y="14"/>
                  </a:cubicBezTo>
                  <a:cubicBezTo>
                    <a:pt x="3" y="13"/>
                    <a:pt x="3" y="11"/>
                    <a:pt x="3" y="1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24" name="Freeform 478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6412346" y="3319368"/>
              <a:ext cx="47337" cy="100655"/>
            </a:xfrm>
            <a:custGeom>
              <a:avLst/>
              <a:gdLst>
                <a:gd name="T0" fmla="*/ 2147483647 w 14"/>
                <a:gd name="T1" fmla="*/ 2147483647 h 27"/>
                <a:gd name="T2" fmla="*/ 0 w 14"/>
                <a:gd name="T3" fmla="*/ 2147483647 h 27"/>
                <a:gd name="T4" fmla="*/ 2147483647 w 14"/>
                <a:gd name="T5" fmla="*/ 2147483647 h 27"/>
                <a:gd name="T6" fmla="*/ 2147483647 w 14"/>
                <a:gd name="T7" fmla="*/ 2147483647 h 27"/>
                <a:gd name="T8" fmla="*/ 2147483647 w 14"/>
                <a:gd name="T9" fmla="*/ 0 h 27"/>
                <a:gd name="T10" fmla="*/ 2147483647 w 14"/>
                <a:gd name="T11" fmla="*/ 2147483647 h 27"/>
                <a:gd name="T12" fmla="*/ 2147483647 w 14"/>
                <a:gd name="T13" fmla="*/ 2147483647 h 27"/>
                <a:gd name="T14" fmla="*/ 2147483647 w 14"/>
                <a:gd name="T15" fmla="*/ 2147483647 h 27"/>
                <a:gd name="T16" fmla="*/ 2147483647 w 14"/>
                <a:gd name="T17" fmla="*/ 2147483647 h 27"/>
                <a:gd name="T18" fmla="*/ 2147483647 w 14"/>
                <a:gd name="T19" fmla="*/ 2147483647 h 27"/>
                <a:gd name="T20" fmla="*/ 2147483647 w 14"/>
                <a:gd name="T21" fmla="*/ 2147483647 h 27"/>
                <a:gd name="T22" fmla="*/ 2147483647 w 14"/>
                <a:gd name="T23" fmla="*/ 2147483647 h 27"/>
                <a:gd name="T24" fmla="*/ 2147483647 w 14"/>
                <a:gd name="T25" fmla="*/ 2147483647 h 27"/>
                <a:gd name="T26" fmla="*/ 2147483647 w 14"/>
                <a:gd name="T27" fmla="*/ 2147483647 h 27"/>
                <a:gd name="T28" fmla="*/ 2147483647 w 14"/>
                <a:gd name="T29" fmla="*/ 2147483647 h 2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4"/>
                <a:gd name="T46" fmla="*/ 0 h 27"/>
                <a:gd name="T47" fmla="*/ 14 w 14"/>
                <a:gd name="T48" fmla="*/ 27 h 2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4" h="27">
                  <a:moveTo>
                    <a:pt x="3" y="8"/>
                  </a:moveTo>
                  <a:cubicBezTo>
                    <a:pt x="2" y="7"/>
                    <a:pt x="1" y="6"/>
                    <a:pt x="0" y="5"/>
                  </a:cubicBezTo>
                  <a:cubicBezTo>
                    <a:pt x="1" y="4"/>
                    <a:pt x="3" y="2"/>
                    <a:pt x="3" y="2"/>
                  </a:cubicBezTo>
                  <a:cubicBezTo>
                    <a:pt x="4" y="2"/>
                    <a:pt x="6" y="1"/>
                    <a:pt x="7" y="1"/>
                  </a:cubicBezTo>
                  <a:cubicBezTo>
                    <a:pt x="7" y="1"/>
                    <a:pt x="8" y="1"/>
                    <a:pt x="8" y="0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5"/>
                    <a:pt x="11" y="6"/>
                  </a:cubicBezTo>
                  <a:cubicBezTo>
                    <a:pt x="11" y="7"/>
                    <a:pt x="11" y="8"/>
                    <a:pt x="11" y="9"/>
                  </a:cubicBezTo>
                  <a:cubicBezTo>
                    <a:pt x="11" y="12"/>
                    <a:pt x="11" y="15"/>
                    <a:pt x="12" y="15"/>
                  </a:cubicBezTo>
                  <a:cubicBezTo>
                    <a:pt x="13" y="15"/>
                    <a:pt x="13" y="16"/>
                    <a:pt x="14" y="17"/>
                  </a:cubicBezTo>
                  <a:cubicBezTo>
                    <a:pt x="14" y="18"/>
                    <a:pt x="14" y="19"/>
                    <a:pt x="14" y="19"/>
                  </a:cubicBezTo>
                  <a:cubicBezTo>
                    <a:pt x="14" y="20"/>
                    <a:pt x="10" y="24"/>
                    <a:pt x="7" y="27"/>
                  </a:cubicBezTo>
                  <a:cubicBezTo>
                    <a:pt x="7" y="27"/>
                    <a:pt x="6" y="26"/>
                    <a:pt x="6" y="26"/>
                  </a:cubicBezTo>
                  <a:cubicBezTo>
                    <a:pt x="3" y="23"/>
                    <a:pt x="2" y="23"/>
                    <a:pt x="2" y="20"/>
                  </a:cubicBezTo>
                  <a:cubicBezTo>
                    <a:pt x="2" y="17"/>
                    <a:pt x="6" y="10"/>
                    <a:pt x="3" y="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25" name="Freeform 479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6428811" y="5119174"/>
              <a:ext cx="255206" cy="258827"/>
            </a:xfrm>
            <a:custGeom>
              <a:avLst/>
              <a:gdLst>
                <a:gd name="T0" fmla="*/ 0 w 73"/>
                <a:gd name="T1" fmla="*/ 2147483647 h 70"/>
                <a:gd name="T2" fmla="*/ 0 w 73"/>
                <a:gd name="T3" fmla="*/ 2147483647 h 70"/>
                <a:gd name="T4" fmla="*/ 2147483647 w 73"/>
                <a:gd name="T5" fmla="*/ 2147483647 h 70"/>
                <a:gd name="T6" fmla="*/ 2147483647 w 73"/>
                <a:gd name="T7" fmla="*/ 2147483647 h 70"/>
                <a:gd name="T8" fmla="*/ 2147483647 w 73"/>
                <a:gd name="T9" fmla="*/ 2147483647 h 70"/>
                <a:gd name="T10" fmla="*/ 2147483647 w 73"/>
                <a:gd name="T11" fmla="*/ 2147483647 h 70"/>
                <a:gd name="T12" fmla="*/ 2147483647 w 73"/>
                <a:gd name="T13" fmla="*/ 2147483647 h 70"/>
                <a:gd name="T14" fmla="*/ 2147483647 w 73"/>
                <a:gd name="T15" fmla="*/ 0 h 70"/>
                <a:gd name="T16" fmla="*/ 2147483647 w 73"/>
                <a:gd name="T17" fmla="*/ 2147483647 h 70"/>
                <a:gd name="T18" fmla="*/ 2147483647 w 73"/>
                <a:gd name="T19" fmla="*/ 2147483647 h 70"/>
                <a:gd name="T20" fmla="*/ 2147483647 w 73"/>
                <a:gd name="T21" fmla="*/ 2147483647 h 70"/>
                <a:gd name="T22" fmla="*/ 2147483647 w 73"/>
                <a:gd name="T23" fmla="*/ 2147483647 h 70"/>
                <a:gd name="T24" fmla="*/ 2147483647 w 73"/>
                <a:gd name="T25" fmla="*/ 2147483647 h 70"/>
                <a:gd name="T26" fmla="*/ 2147483647 w 73"/>
                <a:gd name="T27" fmla="*/ 2147483647 h 70"/>
                <a:gd name="T28" fmla="*/ 2147483647 w 73"/>
                <a:gd name="T29" fmla="*/ 2147483647 h 70"/>
                <a:gd name="T30" fmla="*/ 2147483647 w 73"/>
                <a:gd name="T31" fmla="*/ 2147483647 h 70"/>
                <a:gd name="T32" fmla="*/ 2147483647 w 73"/>
                <a:gd name="T33" fmla="*/ 2147483647 h 70"/>
                <a:gd name="T34" fmla="*/ 2147483647 w 73"/>
                <a:gd name="T35" fmla="*/ 2147483647 h 70"/>
                <a:gd name="T36" fmla="*/ 2147483647 w 73"/>
                <a:gd name="T37" fmla="*/ 2147483647 h 70"/>
                <a:gd name="T38" fmla="*/ 2147483647 w 73"/>
                <a:gd name="T39" fmla="*/ 2147483647 h 70"/>
                <a:gd name="T40" fmla="*/ 2147483647 w 73"/>
                <a:gd name="T41" fmla="*/ 2147483647 h 70"/>
                <a:gd name="T42" fmla="*/ 2147483647 w 73"/>
                <a:gd name="T43" fmla="*/ 2147483647 h 70"/>
                <a:gd name="T44" fmla="*/ 2147483647 w 73"/>
                <a:gd name="T45" fmla="*/ 2147483647 h 70"/>
                <a:gd name="T46" fmla="*/ 2147483647 w 73"/>
                <a:gd name="T47" fmla="*/ 2147483647 h 70"/>
                <a:gd name="T48" fmla="*/ 0 w 73"/>
                <a:gd name="T49" fmla="*/ 2147483647 h 7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3"/>
                <a:gd name="T76" fmla="*/ 0 h 70"/>
                <a:gd name="T77" fmla="*/ 73 w 73"/>
                <a:gd name="T78" fmla="*/ 70 h 7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3" h="70">
                  <a:moveTo>
                    <a:pt x="0" y="53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2" y="4"/>
                    <a:pt x="23" y="1"/>
                    <a:pt x="23" y="1"/>
                  </a:cubicBezTo>
                  <a:cubicBezTo>
                    <a:pt x="26" y="1"/>
                    <a:pt x="28" y="4"/>
                    <a:pt x="29" y="3"/>
                  </a:cubicBezTo>
                  <a:cubicBezTo>
                    <a:pt x="31" y="2"/>
                    <a:pt x="34" y="2"/>
                    <a:pt x="35" y="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5" y="4"/>
                    <a:pt x="49" y="12"/>
                    <a:pt x="52" y="14"/>
                  </a:cubicBezTo>
                  <a:cubicBezTo>
                    <a:pt x="54" y="15"/>
                    <a:pt x="57" y="19"/>
                    <a:pt x="57" y="19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60" y="18"/>
                    <a:pt x="61" y="24"/>
                    <a:pt x="61" y="25"/>
                  </a:cubicBezTo>
                  <a:cubicBezTo>
                    <a:pt x="62" y="26"/>
                    <a:pt x="68" y="28"/>
                    <a:pt x="71" y="29"/>
                  </a:cubicBezTo>
                  <a:cubicBezTo>
                    <a:pt x="71" y="29"/>
                    <a:pt x="72" y="30"/>
                    <a:pt x="73" y="30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4" y="38"/>
                    <a:pt x="62" y="39"/>
                    <a:pt x="60" y="41"/>
                  </a:cubicBezTo>
                  <a:cubicBezTo>
                    <a:pt x="58" y="42"/>
                    <a:pt x="54" y="47"/>
                    <a:pt x="54" y="49"/>
                  </a:cubicBezTo>
                  <a:cubicBezTo>
                    <a:pt x="54" y="51"/>
                    <a:pt x="48" y="52"/>
                    <a:pt x="46" y="53"/>
                  </a:cubicBezTo>
                  <a:cubicBezTo>
                    <a:pt x="45" y="54"/>
                    <a:pt x="43" y="59"/>
                    <a:pt x="42" y="61"/>
                  </a:cubicBezTo>
                  <a:cubicBezTo>
                    <a:pt x="41" y="63"/>
                    <a:pt x="28" y="59"/>
                    <a:pt x="25" y="58"/>
                  </a:cubicBezTo>
                  <a:cubicBezTo>
                    <a:pt x="22" y="58"/>
                    <a:pt x="20" y="63"/>
                    <a:pt x="19" y="66"/>
                  </a:cubicBezTo>
                  <a:cubicBezTo>
                    <a:pt x="17" y="69"/>
                    <a:pt x="9" y="70"/>
                    <a:pt x="8" y="69"/>
                  </a:cubicBezTo>
                  <a:cubicBezTo>
                    <a:pt x="6" y="69"/>
                    <a:pt x="8" y="53"/>
                    <a:pt x="5" y="53"/>
                  </a:cubicBezTo>
                  <a:lnTo>
                    <a:pt x="0" y="53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26" name="Freeform 480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6391765" y="3288213"/>
              <a:ext cx="51453" cy="47931"/>
            </a:xfrm>
            <a:custGeom>
              <a:avLst/>
              <a:gdLst>
                <a:gd name="T0" fmla="*/ 2147483647 w 15"/>
                <a:gd name="T1" fmla="*/ 2147483647 h 13"/>
                <a:gd name="T2" fmla="*/ 2147483647 w 15"/>
                <a:gd name="T3" fmla="*/ 0 h 13"/>
                <a:gd name="T4" fmla="*/ 2147483647 w 15"/>
                <a:gd name="T5" fmla="*/ 2147483647 h 13"/>
                <a:gd name="T6" fmla="*/ 2147483647 w 15"/>
                <a:gd name="T7" fmla="*/ 2147483647 h 13"/>
                <a:gd name="T8" fmla="*/ 2147483647 w 15"/>
                <a:gd name="T9" fmla="*/ 2147483647 h 13"/>
                <a:gd name="T10" fmla="*/ 2147483647 w 15"/>
                <a:gd name="T11" fmla="*/ 2147483647 h 13"/>
                <a:gd name="T12" fmla="*/ 2147483647 w 15"/>
                <a:gd name="T13" fmla="*/ 2147483647 h 13"/>
                <a:gd name="T14" fmla="*/ 2147483647 w 15"/>
                <a:gd name="T15" fmla="*/ 2147483647 h 13"/>
                <a:gd name="T16" fmla="*/ 0 w 15"/>
                <a:gd name="T17" fmla="*/ 2147483647 h 13"/>
                <a:gd name="T18" fmla="*/ 2147483647 w 15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"/>
                <a:gd name="T31" fmla="*/ 0 h 13"/>
                <a:gd name="T32" fmla="*/ 15 w 15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" h="13">
                  <a:moveTo>
                    <a:pt x="2" y="4"/>
                  </a:moveTo>
                  <a:cubicBezTo>
                    <a:pt x="2" y="4"/>
                    <a:pt x="5" y="2"/>
                    <a:pt x="6" y="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6"/>
                    <a:pt x="14" y="7"/>
                    <a:pt x="14" y="8"/>
                  </a:cubicBezTo>
                  <a:cubicBezTo>
                    <a:pt x="14" y="9"/>
                    <a:pt x="13" y="9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9" y="10"/>
                    <a:pt x="7" y="12"/>
                    <a:pt x="6" y="13"/>
                  </a:cubicBezTo>
                  <a:cubicBezTo>
                    <a:pt x="5" y="12"/>
                    <a:pt x="3" y="11"/>
                    <a:pt x="1" y="10"/>
                  </a:cubicBezTo>
                  <a:cubicBezTo>
                    <a:pt x="1" y="10"/>
                    <a:pt x="1" y="10"/>
                    <a:pt x="0" y="10"/>
                  </a:cubicBezTo>
                  <a:cubicBezTo>
                    <a:pt x="1" y="8"/>
                    <a:pt x="2" y="5"/>
                    <a:pt x="2" y="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27" name="Freeform 481"/>
            <p:cNvSpPr>
              <a:spLocks noEditPoints="1"/>
            </p:cNvSpPr>
            <p:nvPr>
              <p:custDataLst>
                <p:tags r:id="rId186"/>
              </p:custDataLst>
            </p:nvPr>
          </p:nvSpPr>
          <p:spPr bwMode="auto">
            <a:xfrm>
              <a:off x="6340312" y="5231812"/>
              <a:ext cx="440435" cy="400223"/>
            </a:xfrm>
            <a:custGeom>
              <a:avLst/>
              <a:gdLst>
                <a:gd name="T0" fmla="*/ 2147483647 w 125"/>
                <a:gd name="T1" fmla="*/ 2147483647 h 109"/>
                <a:gd name="T2" fmla="*/ 2147483647 w 125"/>
                <a:gd name="T3" fmla="*/ 2147483647 h 109"/>
                <a:gd name="T4" fmla="*/ 2147483647 w 125"/>
                <a:gd name="T5" fmla="*/ 2147483647 h 109"/>
                <a:gd name="T6" fmla="*/ 2147483647 w 125"/>
                <a:gd name="T7" fmla="*/ 2147483647 h 109"/>
                <a:gd name="T8" fmla="*/ 2147483647 w 125"/>
                <a:gd name="T9" fmla="*/ 2147483647 h 109"/>
                <a:gd name="T10" fmla="*/ 2147483647 w 125"/>
                <a:gd name="T11" fmla="*/ 2147483647 h 109"/>
                <a:gd name="T12" fmla="*/ 2147483647 w 125"/>
                <a:gd name="T13" fmla="*/ 2147483647 h 109"/>
                <a:gd name="T14" fmla="*/ 0 w 125"/>
                <a:gd name="T15" fmla="*/ 2147483647 h 109"/>
                <a:gd name="T16" fmla="*/ 2147483647 w 125"/>
                <a:gd name="T17" fmla="*/ 2147483647 h 109"/>
                <a:gd name="T18" fmla="*/ 2147483647 w 125"/>
                <a:gd name="T19" fmla="*/ 2147483647 h 109"/>
                <a:gd name="T20" fmla="*/ 2147483647 w 125"/>
                <a:gd name="T21" fmla="*/ 2147483647 h 109"/>
                <a:gd name="T22" fmla="*/ 2147483647 w 125"/>
                <a:gd name="T23" fmla="*/ 2147483647 h 109"/>
                <a:gd name="T24" fmla="*/ 2147483647 w 125"/>
                <a:gd name="T25" fmla="*/ 2147483647 h 109"/>
                <a:gd name="T26" fmla="*/ 2147483647 w 125"/>
                <a:gd name="T27" fmla="*/ 2147483647 h 109"/>
                <a:gd name="T28" fmla="*/ 2147483647 w 125"/>
                <a:gd name="T29" fmla="*/ 2147483647 h 109"/>
                <a:gd name="T30" fmla="*/ 2147483647 w 125"/>
                <a:gd name="T31" fmla="*/ 2147483647 h 109"/>
                <a:gd name="T32" fmla="*/ 2147483647 w 125"/>
                <a:gd name="T33" fmla="*/ 2147483647 h 109"/>
                <a:gd name="T34" fmla="*/ 2147483647 w 125"/>
                <a:gd name="T35" fmla="*/ 2147483647 h 109"/>
                <a:gd name="T36" fmla="*/ 2147483647 w 125"/>
                <a:gd name="T37" fmla="*/ 2147483647 h 109"/>
                <a:gd name="T38" fmla="*/ 2147483647 w 125"/>
                <a:gd name="T39" fmla="*/ 2147483647 h 109"/>
                <a:gd name="T40" fmla="*/ 2147483647 w 125"/>
                <a:gd name="T41" fmla="*/ 2147483647 h 109"/>
                <a:gd name="T42" fmla="*/ 2147483647 w 125"/>
                <a:gd name="T43" fmla="*/ 0 h 109"/>
                <a:gd name="T44" fmla="*/ 2147483647 w 125"/>
                <a:gd name="T45" fmla="*/ 2147483647 h 109"/>
                <a:gd name="T46" fmla="*/ 2147483647 w 125"/>
                <a:gd name="T47" fmla="*/ 2147483647 h 109"/>
                <a:gd name="T48" fmla="*/ 2147483647 w 125"/>
                <a:gd name="T49" fmla="*/ 2147483647 h 109"/>
                <a:gd name="T50" fmla="*/ 2147483647 w 125"/>
                <a:gd name="T51" fmla="*/ 2147483647 h 109"/>
                <a:gd name="T52" fmla="*/ 2147483647 w 125"/>
                <a:gd name="T53" fmla="*/ 2147483647 h 109"/>
                <a:gd name="T54" fmla="*/ 2147483647 w 125"/>
                <a:gd name="T55" fmla="*/ 2147483647 h 109"/>
                <a:gd name="T56" fmla="*/ 2147483647 w 125"/>
                <a:gd name="T57" fmla="*/ 2147483647 h 109"/>
                <a:gd name="T58" fmla="*/ 2147483647 w 125"/>
                <a:gd name="T59" fmla="*/ 2147483647 h 109"/>
                <a:gd name="T60" fmla="*/ 2147483647 w 125"/>
                <a:gd name="T61" fmla="*/ 2147483647 h 109"/>
                <a:gd name="T62" fmla="*/ 2147483647 w 125"/>
                <a:gd name="T63" fmla="*/ 2147483647 h 109"/>
                <a:gd name="T64" fmla="*/ 2147483647 w 125"/>
                <a:gd name="T65" fmla="*/ 2147483647 h 109"/>
                <a:gd name="T66" fmla="*/ 2147483647 w 125"/>
                <a:gd name="T67" fmla="*/ 2147483647 h 109"/>
                <a:gd name="T68" fmla="*/ 2147483647 w 125"/>
                <a:gd name="T69" fmla="*/ 2147483647 h 109"/>
                <a:gd name="T70" fmla="*/ 2147483647 w 125"/>
                <a:gd name="T71" fmla="*/ 2147483647 h 109"/>
                <a:gd name="T72" fmla="*/ 2147483647 w 125"/>
                <a:gd name="T73" fmla="*/ 2147483647 h 109"/>
                <a:gd name="T74" fmla="*/ 2147483647 w 125"/>
                <a:gd name="T75" fmla="*/ 2147483647 h 109"/>
                <a:gd name="T76" fmla="*/ 2147483647 w 125"/>
                <a:gd name="T77" fmla="*/ 2147483647 h 109"/>
                <a:gd name="T78" fmla="*/ 2147483647 w 125"/>
                <a:gd name="T79" fmla="*/ 2147483647 h 109"/>
                <a:gd name="T80" fmla="*/ 2147483647 w 125"/>
                <a:gd name="T81" fmla="*/ 2147483647 h 109"/>
                <a:gd name="T82" fmla="*/ 2147483647 w 125"/>
                <a:gd name="T83" fmla="*/ 2147483647 h 109"/>
                <a:gd name="T84" fmla="*/ 2147483647 w 125"/>
                <a:gd name="T85" fmla="*/ 2147483647 h 109"/>
                <a:gd name="T86" fmla="*/ 2147483647 w 125"/>
                <a:gd name="T87" fmla="*/ 2147483647 h 109"/>
                <a:gd name="T88" fmla="*/ 2147483647 w 125"/>
                <a:gd name="T89" fmla="*/ 2147483647 h 109"/>
                <a:gd name="T90" fmla="*/ 2147483647 w 125"/>
                <a:gd name="T91" fmla="*/ 2147483647 h 109"/>
                <a:gd name="T92" fmla="*/ 2147483647 w 125"/>
                <a:gd name="T93" fmla="*/ 2147483647 h 109"/>
                <a:gd name="T94" fmla="*/ 2147483647 w 125"/>
                <a:gd name="T95" fmla="*/ 2147483647 h 109"/>
                <a:gd name="T96" fmla="*/ 0 w 125"/>
                <a:gd name="T97" fmla="*/ 2147483647 h 10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25"/>
                <a:gd name="T148" fmla="*/ 0 h 109"/>
                <a:gd name="T149" fmla="*/ 125 w 125"/>
                <a:gd name="T150" fmla="*/ 109 h 10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25" h="109">
                  <a:moveTo>
                    <a:pt x="80" y="62"/>
                  </a:moveTo>
                  <a:cubicBezTo>
                    <a:pt x="79" y="64"/>
                    <a:pt x="81" y="65"/>
                    <a:pt x="82" y="66"/>
                  </a:cubicBezTo>
                  <a:cubicBezTo>
                    <a:pt x="82" y="66"/>
                    <a:pt x="87" y="73"/>
                    <a:pt x="88" y="72"/>
                  </a:cubicBezTo>
                  <a:cubicBezTo>
                    <a:pt x="90" y="70"/>
                    <a:pt x="92" y="67"/>
                    <a:pt x="93" y="67"/>
                  </a:cubicBezTo>
                  <a:cubicBezTo>
                    <a:pt x="94" y="67"/>
                    <a:pt x="98" y="62"/>
                    <a:pt x="98" y="60"/>
                  </a:cubicBezTo>
                  <a:cubicBezTo>
                    <a:pt x="98" y="58"/>
                    <a:pt x="95" y="54"/>
                    <a:pt x="92" y="54"/>
                  </a:cubicBezTo>
                  <a:cubicBezTo>
                    <a:pt x="88" y="53"/>
                    <a:pt x="81" y="61"/>
                    <a:pt x="80" y="62"/>
                  </a:cubicBezTo>
                  <a:close/>
                  <a:moveTo>
                    <a:pt x="0" y="55"/>
                  </a:moveTo>
                  <a:cubicBezTo>
                    <a:pt x="1" y="53"/>
                    <a:pt x="3" y="50"/>
                    <a:pt x="5" y="50"/>
                  </a:cubicBezTo>
                  <a:cubicBezTo>
                    <a:pt x="7" y="50"/>
                    <a:pt x="8" y="56"/>
                    <a:pt x="10" y="56"/>
                  </a:cubicBezTo>
                  <a:cubicBezTo>
                    <a:pt x="13" y="56"/>
                    <a:pt x="25" y="54"/>
                    <a:pt x="25" y="54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3" y="23"/>
                    <a:pt x="31" y="39"/>
                    <a:pt x="33" y="39"/>
                  </a:cubicBezTo>
                  <a:cubicBezTo>
                    <a:pt x="34" y="40"/>
                    <a:pt x="42" y="39"/>
                    <a:pt x="44" y="36"/>
                  </a:cubicBezTo>
                  <a:cubicBezTo>
                    <a:pt x="45" y="33"/>
                    <a:pt x="47" y="28"/>
                    <a:pt x="50" y="28"/>
                  </a:cubicBezTo>
                  <a:cubicBezTo>
                    <a:pt x="53" y="29"/>
                    <a:pt x="66" y="33"/>
                    <a:pt x="67" y="31"/>
                  </a:cubicBezTo>
                  <a:cubicBezTo>
                    <a:pt x="68" y="29"/>
                    <a:pt x="70" y="24"/>
                    <a:pt x="71" y="23"/>
                  </a:cubicBezTo>
                  <a:cubicBezTo>
                    <a:pt x="73" y="22"/>
                    <a:pt x="79" y="21"/>
                    <a:pt x="79" y="19"/>
                  </a:cubicBezTo>
                  <a:cubicBezTo>
                    <a:pt x="79" y="17"/>
                    <a:pt x="83" y="12"/>
                    <a:pt x="85" y="11"/>
                  </a:cubicBezTo>
                  <a:cubicBezTo>
                    <a:pt x="87" y="9"/>
                    <a:pt x="89" y="8"/>
                    <a:pt x="92" y="7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0" y="1"/>
                    <a:pt x="103" y="2"/>
                    <a:pt x="105" y="2"/>
                  </a:cubicBezTo>
                  <a:cubicBezTo>
                    <a:pt x="107" y="2"/>
                    <a:pt x="111" y="2"/>
                    <a:pt x="112" y="3"/>
                  </a:cubicBezTo>
                  <a:cubicBezTo>
                    <a:pt x="112" y="3"/>
                    <a:pt x="112" y="3"/>
                    <a:pt x="112" y="3"/>
                  </a:cubicBezTo>
                  <a:cubicBezTo>
                    <a:pt x="112" y="4"/>
                    <a:pt x="113" y="4"/>
                    <a:pt x="113" y="5"/>
                  </a:cubicBezTo>
                  <a:cubicBezTo>
                    <a:pt x="113" y="7"/>
                    <a:pt x="114" y="14"/>
                    <a:pt x="116" y="16"/>
                  </a:cubicBezTo>
                  <a:cubicBezTo>
                    <a:pt x="118" y="19"/>
                    <a:pt x="117" y="28"/>
                    <a:pt x="117" y="30"/>
                  </a:cubicBezTo>
                  <a:cubicBezTo>
                    <a:pt x="117" y="30"/>
                    <a:pt x="117" y="31"/>
                    <a:pt x="117" y="32"/>
                  </a:cubicBezTo>
                  <a:cubicBezTo>
                    <a:pt x="117" y="32"/>
                    <a:pt x="116" y="29"/>
                    <a:pt x="113" y="30"/>
                  </a:cubicBezTo>
                  <a:cubicBezTo>
                    <a:pt x="110" y="31"/>
                    <a:pt x="108" y="36"/>
                    <a:pt x="108" y="39"/>
                  </a:cubicBezTo>
                  <a:cubicBezTo>
                    <a:pt x="108" y="41"/>
                    <a:pt x="106" y="43"/>
                    <a:pt x="109" y="44"/>
                  </a:cubicBezTo>
                  <a:cubicBezTo>
                    <a:pt x="119" y="46"/>
                    <a:pt x="117" y="39"/>
                    <a:pt x="117" y="39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5" y="41"/>
                    <a:pt x="124" y="42"/>
                    <a:pt x="124" y="43"/>
                  </a:cubicBezTo>
                  <a:cubicBezTo>
                    <a:pt x="123" y="46"/>
                    <a:pt x="120" y="54"/>
                    <a:pt x="118" y="57"/>
                  </a:cubicBezTo>
                  <a:cubicBezTo>
                    <a:pt x="115" y="59"/>
                    <a:pt x="109" y="69"/>
                    <a:pt x="107" y="71"/>
                  </a:cubicBezTo>
                  <a:cubicBezTo>
                    <a:pt x="105" y="73"/>
                    <a:pt x="87" y="92"/>
                    <a:pt x="83" y="94"/>
                  </a:cubicBezTo>
                  <a:cubicBezTo>
                    <a:pt x="79" y="96"/>
                    <a:pt x="75" y="100"/>
                    <a:pt x="68" y="100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45" y="100"/>
                    <a:pt x="42" y="102"/>
                    <a:pt x="39" y="103"/>
                  </a:cubicBezTo>
                  <a:cubicBezTo>
                    <a:pt x="36" y="103"/>
                    <a:pt x="27" y="109"/>
                    <a:pt x="24" y="108"/>
                  </a:cubicBezTo>
                  <a:cubicBezTo>
                    <a:pt x="21" y="106"/>
                    <a:pt x="20" y="102"/>
                    <a:pt x="17" y="102"/>
                  </a:cubicBezTo>
                  <a:cubicBezTo>
                    <a:pt x="14" y="102"/>
                    <a:pt x="13" y="101"/>
                    <a:pt x="13" y="98"/>
                  </a:cubicBezTo>
                  <a:cubicBezTo>
                    <a:pt x="12" y="95"/>
                    <a:pt x="10" y="92"/>
                    <a:pt x="10" y="91"/>
                  </a:cubicBezTo>
                  <a:cubicBezTo>
                    <a:pt x="10" y="89"/>
                    <a:pt x="14" y="85"/>
                    <a:pt x="14" y="83"/>
                  </a:cubicBezTo>
                  <a:cubicBezTo>
                    <a:pt x="14" y="82"/>
                    <a:pt x="13" y="79"/>
                    <a:pt x="11" y="77"/>
                  </a:cubicBezTo>
                  <a:cubicBezTo>
                    <a:pt x="8" y="74"/>
                    <a:pt x="6" y="70"/>
                    <a:pt x="4" y="65"/>
                  </a:cubicBezTo>
                  <a:cubicBezTo>
                    <a:pt x="3" y="61"/>
                    <a:pt x="2" y="58"/>
                    <a:pt x="0" y="5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28" name="Freeform 482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6286801" y="4285176"/>
              <a:ext cx="343704" cy="244448"/>
            </a:xfrm>
            <a:custGeom>
              <a:avLst/>
              <a:gdLst>
                <a:gd name="T0" fmla="*/ 2147483647 w 97"/>
                <a:gd name="T1" fmla="*/ 2147483647 h 66"/>
                <a:gd name="T2" fmla="*/ 0 w 97"/>
                <a:gd name="T3" fmla="*/ 2147483647 h 66"/>
                <a:gd name="T4" fmla="*/ 2147483647 w 97"/>
                <a:gd name="T5" fmla="*/ 2147483647 h 66"/>
                <a:gd name="T6" fmla="*/ 2147483647 w 97"/>
                <a:gd name="T7" fmla="*/ 2147483647 h 66"/>
                <a:gd name="T8" fmla="*/ 2147483647 w 97"/>
                <a:gd name="T9" fmla="*/ 2147483647 h 66"/>
                <a:gd name="T10" fmla="*/ 2147483647 w 97"/>
                <a:gd name="T11" fmla="*/ 2147483647 h 66"/>
                <a:gd name="T12" fmla="*/ 2147483647 w 97"/>
                <a:gd name="T13" fmla="*/ 2147483647 h 66"/>
                <a:gd name="T14" fmla="*/ 2147483647 w 97"/>
                <a:gd name="T15" fmla="*/ 2147483647 h 66"/>
                <a:gd name="T16" fmla="*/ 2147483647 w 97"/>
                <a:gd name="T17" fmla="*/ 2147483647 h 66"/>
                <a:gd name="T18" fmla="*/ 2147483647 w 97"/>
                <a:gd name="T19" fmla="*/ 2147483647 h 66"/>
                <a:gd name="T20" fmla="*/ 2147483647 w 97"/>
                <a:gd name="T21" fmla="*/ 2147483647 h 66"/>
                <a:gd name="T22" fmla="*/ 2147483647 w 97"/>
                <a:gd name="T23" fmla="*/ 2147483647 h 66"/>
                <a:gd name="T24" fmla="*/ 2147483647 w 97"/>
                <a:gd name="T25" fmla="*/ 2147483647 h 66"/>
                <a:gd name="T26" fmla="*/ 2147483647 w 97"/>
                <a:gd name="T27" fmla="*/ 2147483647 h 66"/>
                <a:gd name="T28" fmla="*/ 2147483647 w 97"/>
                <a:gd name="T29" fmla="*/ 2147483647 h 66"/>
                <a:gd name="T30" fmla="*/ 2147483647 w 97"/>
                <a:gd name="T31" fmla="*/ 2147483647 h 66"/>
                <a:gd name="T32" fmla="*/ 2147483647 w 97"/>
                <a:gd name="T33" fmla="*/ 2147483647 h 66"/>
                <a:gd name="T34" fmla="*/ 2147483647 w 97"/>
                <a:gd name="T35" fmla="*/ 2147483647 h 66"/>
                <a:gd name="T36" fmla="*/ 2147483647 w 97"/>
                <a:gd name="T37" fmla="*/ 2147483647 h 66"/>
                <a:gd name="T38" fmla="*/ 2147483647 w 97"/>
                <a:gd name="T39" fmla="*/ 2147483647 h 66"/>
                <a:gd name="T40" fmla="*/ 2147483647 w 97"/>
                <a:gd name="T41" fmla="*/ 2147483647 h 66"/>
                <a:gd name="T42" fmla="*/ 2147483647 w 97"/>
                <a:gd name="T43" fmla="*/ 2147483647 h 66"/>
                <a:gd name="T44" fmla="*/ 2147483647 w 97"/>
                <a:gd name="T45" fmla="*/ 2147483647 h 66"/>
                <a:gd name="T46" fmla="*/ 2147483647 w 97"/>
                <a:gd name="T47" fmla="*/ 2147483647 h 66"/>
                <a:gd name="T48" fmla="*/ 2147483647 w 97"/>
                <a:gd name="T49" fmla="*/ 2147483647 h 66"/>
                <a:gd name="T50" fmla="*/ 2147483647 w 97"/>
                <a:gd name="T51" fmla="*/ 2147483647 h 66"/>
                <a:gd name="T52" fmla="*/ 2147483647 w 97"/>
                <a:gd name="T53" fmla="*/ 2147483647 h 66"/>
                <a:gd name="T54" fmla="*/ 2147483647 w 97"/>
                <a:gd name="T55" fmla="*/ 2147483647 h 66"/>
                <a:gd name="T56" fmla="*/ 2147483647 w 97"/>
                <a:gd name="T57" fmla="*/ 2147483647 h 6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97"/>
                <a:gd name="T88" fmla="*/ 0 h 66"/>
                <a:gd name="T89" fmla="*/ 97 w 97"/>
                <a:gd name="T90" fmla="*/ 66 h 6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97" h="66">
                  <a:moveTo>
                    <a:pt x="11" y="63"/>
                  </a:moveTo>
                  <a:cubicBezTo>
                    <a:pt x="9" y="61"/>
                    <a:pt x="1" y="51"/>
                    <a:pt x="0" y="47"/>
                  </a:cubicBezTo>
                  <a:cubicBezTo>
                    <a:pt x="0" y="44"/>
                    <a:pt x="1" y="36"/>
                    <a:pt x="3" y="33"/>
                  </a:cubicBezTo>
                  <a:cubicBezTo>
                    <a:pt x="4" y="31"/>
                    <a:pt x="6" y="30"/>
                    <a:pt x="6" y="28"/>
                  </a:cubicBezTo>
                  <a:cubicBezTo>
                    <a:pt x="6" y="28"/>
                    <a:pt x="10" y="29"/>
                    <a:pt x="13" y="28"/>
                  </a:cubicBezTo>
                  <a:cubicBezTo>
                    <a:pt x="15" y="27"/>
                    <a:pt x="28" y="24"/>
                    <a:pt x="31" y="23"/>
                  </a:cubicBezTo>
                  <a:cubicBezTo>
                    <a:pt x="33" y="23"/>
                    <a:pt x="35" y="17"/>
                    <a:pt x="36" y="16"/>
                  </a:cubicBezTo>
                  <a:cubicBezTo>
                    <a:pt x="38" y="16"/>
                    <a:pt x="44" y="16"/>
                    <a:pt x="46" y="14"/>
                  </a:cubicBezTo>
                  <a:cubicBezTo>
                    <a:pt x="48" y="12"/>
                    <a:pt x="53" y="3"/>
                    <a:pt x="54" y="3"/>
                  </a:cubicBezTo>
                  <a:cubicBezTo>
                    <a:pt x="56" y="2"/>
                    <a:pt x="61" y="0"/>
                    <a:pt x="63" y="2"/>
                  </a:cubicBezTo>
                  <a:cubicBezTo>
                    <a:pt x="64" y="4"/>
                    <a:pt x="69" y="8"/>
                    <a:pt x="69" y="11"/>
                  </a:cubicBezTo>
                  <a:cubicBezTo>
                    <a:pt x="69" y="14"/>
                    <a:pt x="68" y="19"/>
                    <a:pt x="68" y="19"/>
                  </a:cubicBezTo>
                  <a:cubicBezTo>
                    <a:pt x="68" y="19"/>
                    <a:pt x="77" y="21"/>
                    <a:pt x="77" y="23"/>
                  </a:cubicBezTo>
                  <a:cubicBezTo>
                    <a:pt x="78" y="25"/>
                    <a:pt x="80" y="28"/>
                    <a:pt x="82" y="29"/>
                  </a:cubicBezTo>
                  <a:cubicBezTo>
                    <a:pt x="84" y="30"/>
                    <a:pt x="89" y="34"/>
                    <a:pt x="90" y="35"/>
                  </a:cubicBezTo>
                  <a:cubicBezTo>
                    <a:pt x="91" y="36"/>
                    <a:pt x="97" y="41"/>
                    <a:pt x="97" y="41"/>
                  </a:cubicBezTo>
                  <a:cubicBezTo>
                    <a:pt x="96" y="46"/>
                    <a:pt x="96" y="46"/>
                    <a:pt x="96" y="46"/>
                  </a:cubicBezTo>
                  <a:cubicBezTo>
                    <a:pt x="95" y="46"/>
                    <a:pt x="93" y="45"/>
                    <a:pt x="92" y="45"/>
                  </a:cubicBezTo>
                  <a:cubicBezTo>
                    <a:pt x="89" y="45"/>
                    <a:pt x="81" y="46"/>
                    <a:pt x="79" y="47"/>
                  </a:cubicBezTo>
                  <a:cubicBezTo>
                    <a:pt x="77" y="48"/>
                    <a:pt x="67" y="49"/>
                    <a:pt x="64" y="49"/>
                  </a:cubicBezTo>
                  <a:cubicBezTo>
                    <a:pt x="62" y="49"/>
                    <a:pt x="62" y="53"/>
                    <a:pt x="60" y="54"/>
                  </a:cubicBezTo>
                  <a:cubicBezTo>
                    <a:pt x="57" y="55"/>
                    <a:pt x="49" y="52"/>
                    <a:pt x="46" y="52"/>
                  </a:cubicBezTo>
                  <a:cubicBezTo>
                    <a:pt x="43" y="52"/>
                    <a:pt x="39" y="47"/>
                    <a:pt x="36" y="47"/>
                  </a:cubicBezTo>
                  <a:cubicBezTo>
                    <a:pt x="33" y="47"/>
                    <a:pt x="32" y="53"/>
                    <a:pt x="31" y="54"/>
                  </a:cubicBezTo>
                  <a:cubicBezTo>
                    <a:pt x="31" y="54"/>
                    <a:pt x="31" y="56"/>
                    <a:pt x="31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5"/>
                    <a:pt x="11" y="63"/>
                    <a:pt x="11" y="6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29" name="Freeform 483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6315615" y="3233093"/>
              <a:ext cx="107022" cy="93465"/>
            </a:xfrm>
            <a:custGeom>
              <a:avLst/>
              <a:gdLst>
                <a:gd name="T0" fmla="*/ 2147483647 w 30"/>
                <a:gd name="T1" fmla="*/ 2147483647 h 25"/>
                <a:gd name="T2" fmla="*/ 2147483647 w 30"/>
                <a:gd name="T3" fmla="*/ 0 h 25"/>
                <a:gd name="T4" fmla="*/ 2147483647 w 30"/>
                <a:gd name="T5" fmla="*/ 0 h 25"/>
                <a:gd name="T6" fmla="*/ 2147483647 w 30"/>
                <a:gd name="T7" fmla="*/ 2147483647 h 25"/>
                <a:gd name="T8" fmla="*/ 2147483647 w 30"/>
                <a:gd name="T9" fmla="*/ 2147483647 h 25"/>
                <a:gd name="T10" fmla="*/ 2147483647 w 30"/>
                <a:gd name="T11" fmla="*/ 2147483647 h 25"/>
                <a:gd name="T12" fmla="*/ 2147483647 w 30"/>
                <a:gd name="T13" fmla="*/ 2147483647 h 25"/>
                <a:gd name="T14" fmla="*/ 2147483647 w 30"/>
                <a:gd name="T15" fmla="*/ 2147483647 h 25"/>
                <a:gd name="T16" fmla="*/ 2147483647 w 30"/>
                <a:gd name="T17" fmla="*/ 2147483647 h 25"/>
                <a:gd name="T18" fmla="*/ 2147483647 w 30"/>
                <a:gd name="T19" fmla="*/ 2147483647 h 25"/>
                <a:gd name="T20" fmla="*/ 2147483647 w 30"/>
                <a:gd name="T21" fmla="*/ 2147483647 h 25"/>
                <a:gd name="T22" fmla="*/ 2147483647 w 30"/>
                <a:gd name="T23" fmla="*/ 2147483647 h 25"/>
                <a:gd name="T24" fmla="*/ 2147483647 w 30"/>
                <a:gd name="T25" fmla="*/ 2147483647 h 25"/>
                <a:gd name="T26" fmla="*/ 2147483647 w 30"/>
                <a:gd name="T27" fmla="*/ 2147483647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0"/>
                <a:gd name="T43" fmla="*/ 0 h 25"/>
                <a:gd name="T44" fmla="*/ 30 w 30"/>
                <a:gd name="T45" fmla="*/ 25 h 2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0" h="25">
                  <a:moveTo>
                    <a:pt x="2" y="3"/>
                  </a:moveTo>
                  <a:cubicBezTo>
                    <a:pt x="2" y="2"/>
                    <a:pt x="0" y="0"/>
                    <a:pt x="2" y="0"/>
                  </a:cubicBezTo>
                  <a:cubicBezTo>
                    <a:pt x="4" y="0"/>
                    <a:pt x="8" y="0"/>
                    <a:pt x="8" y="0"/>
                  </a:cubicBezTo>
                  <a:cubicBezTo>
                    <a:pt x="10" y="0"/>
                    <a:pt x="19" y="2"/>
                    <a:pt x="20" y="2"/>
                  </a:cubicBezTo>
                  <a:cubicBezTo>
                    <a:pt x="22" y="2"/>
                    <a:pt x="26" y="4"/>
                    <a:pt x="27" y="4"/>
                  </a:cubicBezTo>
                  <a:cubicBezTo>
                    <a:pt x="26" y="6"/>
                    <a:pt x="26" y="8"/>
                    <a:pt x="26" y="8"/>
                  </a:cubicBezTo>
                  <a:cubicBezTo>
                    <a:pt x="26" y="9"/>
                    <a:pt x="30" y="11"/>
                    <a:pt x="29" y="13"/>
                  </a:cubicBezTo>
                  <a:cubicBezTo>
                    <a:pt x="29" y="14"/>
                    <a:pt x="28" y="14"/>
                    <a:pt x="27" y="15"/>
                  </a:cubicBezTo>
                  <a:cubicBezTo>
                    <a:pt x="26" y="17"/>
                    <a:pt x="23" y="19"/>
                    <a:pt x="23" y="19"/>
                  </a:cubicBezTo>
                  <a:cubicBezTo>
                    <a:pt x="23" y="20"/>
                    <a:pt x="22" y="23"/>
                    <a:pt x="21" y="25"/>
                  </a:cubicBezTo>
                  <a:cubicBezTo>
                    <a:pt x="19" y="23"/>
                    <a:pt x="17" y="22"/>
                    <a:pt x="14" y="21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1" y="14"/>
                    <a:pt x="10" y="13"/>
                  </a:cubicBezTo>
                  <a:cubicBezTo>
                    <a:pt x="8" y="11"/>
                    <a:pt x="2" y="4"/>
                    <a:pt x="2" y="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30" name="Freeform 484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6264162" y="3180369"/>
              <a:ext cx="148184" cy="131810"/>
            </a:xfrm>
            <a:custGeom>
              <a:avLst/>
              <a:gdLst>
                <a:gd name="T0" fmla="*/ 0 w 42"/>
                <a:gd name="T1" fmla="*/ 2147483647 h 35"/>
                <a:gd name="T2" fmla="*/ 2147483647 w 42"/>
                <a:gd name="T3" fmla="*/ 2147483647 h 35"/>
                <a:gd name="T4" fmla="*/ 2147483647 w 42"/>
                <a:gd name="T5" fmla="*/ 2147483647 h 35"/>
                <a:gd name="T6" fmla="*/ 2147483647 w 42"/>
                <a:gd name="T7" fmla="*/ 2147483647 h 35"/>
                <a:gd name="T8" fmla="*/ 2147483647 w 42"/>
                <a:gd name="T9" fmla="*/ 2147483647 h 35"/>
                <a:gd name="T10" fmla="*/ 2147483647 w 42"/>
                <a:gd name="T11" fmla="*/ 2147483647 h 35"/>
                <a:gd name="T12" fmla="*/ 2147483647 w 42"/>
                <a:gd name="T13" fmla="*/ 0 h 35"/>
                <a:gd name="T14" fmla="*/ 2147483647 w 42"/>
                <a:gd name="T15" fmla="*/ 2147483647 h 35"/>
                <a:gd name="T16" fmla="*/ 2147483647 w 42"/>
                <a:gd name="T17" fmla="*/ 2147483647 h 35"/>
                <a:gd name="T18" fmla="*/ 2147483647 w 42"/>
                <a:gd name="T19" fmla="*/ 2147483647 h 35"/>
                <a:gd name="T20" fmla="*/ 2147483647 w 42"/>
                <a:gd name="T21" fmla="*/ 2147483647 h 35"/>
                <a:gd name="T22" fmla="*/ 2147483647 w 42"/>
                <a:gd name="T23" fmla="*/ 2147483647 h 35"/>
                <a:gd name="T24" fmla="*/ 2147483647 w 42"/>
                <a:gd name="T25" fmla="*/ 2147483647 h 35"/>
                <a:gd name="T26" fmla="*/ 2147483647 w 42"/>
                <a:gd name="T27" fmla="*/ 2147483647 h 35"/>
                <a:gd name="T28" fmla="*/ 2147483647 w 42"/>
                <a:gd name="T29" fmla="*/ 2147483647 h 35"/>
                <a:gd name="T30" fmla="*/ 2147483647 w 42"/>
                <a:gd name="T31" fmla="*/ 2147483647 h 35"/>
                <a:gd name="T32" fmla="*/ 2147483647 w 42"/>
                <a:gd name="T33" fmla="*/ 2147483647 h 35"/>
                <a:gd name="T34" fmla="*/ 2147483647 w 42"/>
                <a:gd name="T35" fmla="*/ 2147483647 h 35"/>
                <a:gd name="T36" fmla="*/ 2147483647 w 42"/>
                <a:gd name="T37" fmla="*/ 2147483647 h 35"/>
                <a:gd name="T38" fmla="*/ 2147483647 w 42"/>
                <a:gd name="T39" fmla="*/ 2147483647 h 35"/>
                <a:gd name="T40" fmla="*/ 2147483647 w 42"/>
                <a:gd name="T41" fmla="*/ 2147483647 h 35"/>
                <a:gd name="T42" fmla="*/ 2147483647 w 42"/>
                <a:gd name="T43" fmla="*/ 2147483647 h 35"/>
                <a:gd name="T44" fmla="*/ 2147483647 w 42"/>
                <a:gd name="T45" fmla="*/ 2147483647 h 35"/>
                <a:gd name="T46" fmla="*/ 2147483647 w 42"/>
                <a:gd name="T47" fmla="*/ 2147483647 h 35"/>
                <a:gd name="T48" fmla="*/ 0 w 42"/>
                <a:gd name="T49" fmla="*/ 2147483647 h 35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2"/>
                <a:gd name="T76" fmla="*/ 0 h 35"/>
                <a:gd name="T77" fmla="*/ 42 w 42"/>
                <a:gd name="T78" fmla="*/ 35 h 35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2" h="35">
                  <a:moveTo>
                    <a:pt x="0" y="13"/>
                  </a:moveTo>
                  <a:cubicBezTo>
                    <a:pt x="0" y="13"/>
                    <a:pt x="1" y="12"/>
                    <a:pt x="1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11"/>
                    <a:pt x="12" y="12"/>
                    <a:pt x="12" y="11"/>
                  </a:cubicBezTo>
                  <a:cubicBezTo>
                    <a:pt x="13" y="9"/>
                    <a:pt x="15" y="7"/>
                    <a:pt x="15" y="6"/>
                  </a:cubicBezTo>
                  <a:cubicBezTo>
                    <a:pt x="15" y="5"/>
                    <a:pt x="17" y="4"/>
                    <a:pt x="18" y="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2"/>
                    <a:pt x="27" y="6"/>
                    <a:pt x="29" y="6"/>
                  </a:cubicBezTo>
                  <a:cubicBezTo>
                    <a:pt x="30" y="7"/>
                    <a:pt x="34" y="8"/>
                    <a:pt x="36" y="8"/>
                  </a:cubicBezTo>
                  <a:cubicBezTo>
                    <a:pt x="37" y="7"/>
                    <a:pt x="38" y="7"/>
                    <a:pt x="39" y="6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1" y="12"/>
                    <a:pt x="42" y="13"/>
                    <a:pt x="42" y="14"/>
                  </a:cubicBezTo>
                  <a:cubicBezTo>
                    <a:pt x="42" y="15"/>
                    <a:pt x="42" y="17"/>
                    <a:pt x="42" y="18"/>
                  </a:cubicBezTo>
                  <a:cubicBezTo>
                    <a:pt x="41" y="18"/>
                    <a:pt x="37" y="16"/>
                    <a:pt x="35" y="16"/>
                  </a:cubicBezTo>
                  <a:cubicBezTo>
                    <a:pt x="34" y="16"/>
                    <a:pt x="25" y="14"/>
                    <a:pt x="23" y="14"/>
                  </a:cubicBezTo>
                  <a:cubicBezTo>
                    <a:pt x="23" y="14"/>
                    <a:pt x="19" y="14"/>
                    <a:pt x="17" y="14"/>
                  </a:cubicBezTo>
                  <a:cubicBezTo>
                    <a:pt x="15" y="14"/>
                    <a:pt x="17" y="16"/>
                    <a:pt x="17" y="17"/>
                  </a:cubicBezTo>
                  <a:cubicBezTo>
                    <a:pt x="17" y="18"/>
                    <a:pt x="23" y="25"/>
                    <a:pt x="25" y="27"/>
                  </a:cubicBezTo>
                  <a:cubicBezTo>
                    <a:pt x="26" y="28"/>
                    <a:pt x="30" y="32"/>
                    <a:pt x="30" y="32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7" y="34"/>
                    <a:pt x="25" y="33"/>
                    <a:pt x="23" y="32"/>
                  </a:cubicBezTo>
                  <a:cubicBezTo>
                    <a:pt x="19" y="31"/>
                    <a:pt x="15" y="28"/>
                    <a:pt x="13" y="26"/>
                  </a:cubicBezTo>
                  <a:cubicBezTo>
                    <a:pt x="11" y="24"/>
                    <a:pt x="6" y="20"/>
                    <a:pt x="5" y="19"/>
                  </a:cubicBezTo>
                  <a:cubicBezTo>
                    <a:pt x="4" y="18"/>
                    <a:pt x="0" y="15"/>
                    <a:pt x="0" y="1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31" name="Freeform 485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6255930" y="3928091"/>
              <a:ext cx="279903" cy="464930"/>
            </a:xfrm>
            <a:custGeom>
              <a:avLst/>
              <a:gdLst>
                <a:gd name="T0" fmla="*/ 2147483647 w 80"/>
                <a:gd name="T1" fmla="*/ 2147483647 h 126"/>
                <a:gd name="T2" fmla="*/ 2147483647 w 80"/>
                <a:gd name="T3" fmla="*/ 2147483647 h 126"/>
                <a:gd name="T4" fmla="*/ 2147483647 w 80"/>
                <a:gd name="T5" fmla="*/ 2147483647 h 126"/>
                <a:gd name="T6" fmla="*/ 2147483647 w 80"/>
                <a:gd name="T7" fmla="*/ 2147483647 h 126"/>
                <a:gd name="T8" fmla="*/ 2147483647 w 80"/>
                <a:gd name="T9" fmla="*/ 2147483647 h 126"/>
                <a:gd name="T10" fmla="*/ 2147483647 w 80"/>
                <a:gd name="T11" fmla="*/ 2147483647 h 126"/>
                <a:gd name="T12" fmla="*/ 2147483647 w 80"/>
                <a:gd name="T13" fmla="*/ 2147483647 h 126"/>
                <a:gd name="T14" fmla="*/ 2147483647 w 80"/>
                <a:gd name="T15" fmla="*/ 2147483647 h 126"/>
                <a:gd name="T16" fmla="*/ 0 w 80"/>
                <a:gd name="T17" fmla="*/ 2147483647 h 126"/>
                <a:gd name="T18" fmla="*/ 2147483647 w 80"/>
                <a:gd name="T19" fmla="*/ 2147483647 h 126"/>
                <a:gd name="T20" fmla="*/ 2147483647 w 80"/>
                <a:gd name="T21" fmla="*/ 2147483647 h 126"/>
                <a:gd name="T22" fmla="*/ 2147483647 w 80"/>
                <a:gd name="T23" fmla="*/ 2147483647 h 126"/>
                <a:gd name="T24" fmla="*/ 2147483647 w 80"/>
                <a:gd name="T25" fmla="*/ 2147483647 h 126"/>
                <a:gd name="T26" fmla="*/ 2147483647 w 80"/>
                <a:gd name="T27" fmla="*/ 2147483647 h 126"/>
                <a:gd name="T28" fmla="*/ 2147483647 w 80"/>
                <a:gd name="T29" fmla="*/ 2147483647 h 126"/>
                <a:gd name="T30" fmla="*/ 2147483647 w 80"/>
                <a:gd name="T31" fmla="*/ 2147483647 h 126"/>
                <a:gd name="T32" fmla="*/ 2147483647 w 80"/>
                <a:gd name="T33" fmla="*/ 0 h 126"/>
                <a:gd name="T34" fmla="*/ 2147483647 w 80"/>
                <a:gd name="T35" fmla="*/ 2147483647 h 126"/>
                <a:gd name="T36" fmla="*/ 2147483647 w 80"/>
                <a:gd name="T37" fmla="*/ 2147483647 h 126"/>
                <a:gd name="T38" fmla="*/ 2147483647 w 80"/>
                <a:gd name="T39" fmla="*/ 2147483647 h 126"/>
                <a:gd name="T40" fmla="*/ 2147483647 w 80"/>
                <a:gd name="T41" fmla="*/ 2147483647 h 126"/>
                <a:gd name="T42" fmla="*/ 2147483647 w 80"/>
                <a:gd name="T43" fmla="*/ 2147483647 h 126"/>
                <a:gd name="T44" fmla="*/ 2147483647 w 80"/>
                <a:gd name="T45" fmla="*/ 2147483647 h 126"/>
                <a:gd name="T46" fmla="*/ 2147483647 w 80"/>
                <a:gd name="T47" fmla="*/ 2147483647 h 126"/>
                <a:gd name="T48" fmla="*/ 2147483647 w 80"/>
                <a:gd name="T49" fmla="*/ 2147483647 h 126"/>
                <a:gd name="T50" fmla="*/ 2147483647 w 80"/>
                <a:gd name="T51" fmla="*/ 2147483647 h 126"/>
                <a:gd name="T52" fmla="*/ 2147483647 w 80"/>
                <a:gd name="T53" fmla="*/ 2147483647 h 126"/>
                <a:gd name="T54" fmla="*/ 2147483647 w 80"/>
                <a:gd name="T55" fmla="*/ 2147483647 h 126"/>
                <a:gd name="T56" fmla="*/ 2147483647 w 80"/>
                <a:gd name="T57" fmla="*/ 2147483647 h 126"/>
                <a:gd name="T58" fmla="*/ 2147483647 w 80"/>
                <a:gd name="T59" fmla="*/ 2147483647 h 126"/>
                <a:gd name="T60" fmla="*/ 2147483647 w 80"/>
                <a:gd name="T61" fmla="*/ 2147483647 h 126"/>
                <a:gd name="T62" fmla="*/ 2147483647 w 80"/>
                <a:gd name="T63" fmla="*/ 2147483647 h 12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0"/>
                <a:gd name="T97" fmla="*/ 0 h 126"/>
                <a:gd name="T98" fmla="*/ 80 w 80"/>
                <a:gd name="T99" fmla="*/ 126 h 12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0" h="126">
                  <a:moveTo>
                    <a:pt x="14" y="120"/>
                  </a:moveTo>
                  <a:cubicBezTo>
                    <a:pt x="12" y="116"/>
                    <a:pt x="4" y="108"/>
                    <a:pt x="4" y="108"/>
                  </a:cubicBezTo>
                  <a:cubicBezTo>
                    <a:pt x="7" y="106"/>
                    <a:pt x="7" y="106"/>
                    <a:pt x="7" y="106"/>
                  </a:cubicBezTo>
                  <a:cubicBezTo>
                    <a:pt x="7" y="106"/>
                    <a:pt x="16" y="108"/>
                    <a:pt x="17" y="106"/>
                  </a:cubicBezTo>
                  <a:cubicBezTo>
                    <a:pt x="17" y="104"/>
                    <a:pt x="13" y="95"/>
                    <a:pt x="14" y="90"/>
                  </a:cubicBezTo>
                  <a:cubicBezTo>
                    <a:pt x="15" y="86"/>
                    <a:pt x="12" y="87"/>
                    <a:pt x="10" y="84"/>
                  </a:cubicBezTo>
                  <a:cubicBezTo>
                    <a:pt x="9" y="82"/>
                    <a:pt x="8" y="81"/>
                    <a:pt x="7" y="81"/>
                  </a:cubicBezTo>
                  <a:cubicBezTo>
                    <a:pt x="6" y="81"/>
                    <a:pt x="3" y="82"/>
                    <a:pt x="3" y="8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" y="76"/>
                    <a:pt x="0" y="72"/>
                    <a:pt x="1" y="71"/>
                  </a:cubicBezTo>
                  <a:cubicBezTo>
                    <a:pt x="1" y="70"/>
                    <a:pt x="15" y="53"/>
                    <a:pt x="15" y="52"/>
                  </a:cubicBezTo>
                  <a:cubicBezTo>
                    <a:pt x="16" y="51"/>
                    <a:pt x="16" y="32"/>
                    <a:pt x="17" y="30"/>
                  </a:cubicBezTo>
                  <a:cubicBezTo>
                    <a:pt x="18" y="28"/>
                    <a:pt x="20" y="25"/>
                    <a:pt x="20" y="25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80" y="61"/>
                    <a:pt x="80" y="61"/>
                    <a:pt x="80" y="61"/>
                  </a:cubicBezTo>
                  <a:cubicBezTo>
                    <a:pt x="80" y="61"/>
                    <a:pt x="73" y="62"/>
                    <a:pt x="72" y="63"/>
                  </a:cubicBezTo>
                  <a:cubicBezTo>
                    <a:pt x="70" y="65"/>
                    <a:pt x="69" y="72"/>
                    <a:pt x="68" y="75"/>
                  </a:cubicBezTo>
                  <a:cubicBezTo>
                    <a:pt x="68" y="78"/>
                    <a:pt x="65" y="80"/>
                    <a:pt x="64" y="83"/>
                  </a:cubicBezTo>
                  <a:cubicBezTo>
                    <a:pt x="64" y="87"/>
                    <a:pt x="68" y="85"/>
                    <a:pt x="68" y="86"/>
                  </a:cubicBezTo>
                  <a:cubicBezTo>
                    <a:pt x="68" y="88"/>
                    <a:pt x="71" y="90"/>
                    <a:pt x="73" y="92"/>
                  </a:cubicBezTo>
                  <a:cubicBezTo>
                    <a:pt x="72" y="99"/>
                    <a:pt x="72" y="99"/>
                    <a:pt x="72" y="99"/>
                  </a:cubicBezTo>
                  <a:cubicBezTo>
                    <a:pt x="70" y="97"/>
                    <a:pt x="65" y="99"/>
                    <a:pt x="63" y="100"/>
                  </a:cubicBezTo>
                  <a:cubicBezTo>
                    <a:pt x="62" y="100"/>
                    <a:pt x="57" y="109"/>
                    <a:pt x="55" y="111"/>
                  </a:cubicBezTo>
                  <a:cubicBezTo>
                    <a:pt x="53" y="113"/>
                    <a:pt x="47" y="113"/>
                    <a:pt x="45" y="113"/>
                  </a:cubicBezTo>
                  <a:cubicBezTo>
                    <a:pt x="44" y="114"/>
                    <a:pt x="42" y="120"/>
                    <a:pt x="40" y="120"/>
                  </a:cubicBezTo>
                  <a:cubicBezTo>
                    <a:pt x="37" y="121"/>
                    <a:pt x="24" y="124"/>
                    <a:pt x="22" y="125"/>
                  </a:cubicBezTo>
                  <a:cubicBezTo>
                    <a:pt x="19" y="126"/>
                    <a:pt x="15" y="125"/>
                    <a:pt x="15" y="125"/>
                  </a:cubicBezTo>
                  <a:cubicBezTo>
                    <a:pt x="16" y="124"/>
                    <a:pt x="16" y="122"/>
                    <a:pt x="14" y="12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32" name="Freeform 486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6214768" y="4452935"/>
              <a:ext cx="522760" cy="532033"/>
            </a:xfrm>
            <a:custGeom>
              <a:avLst/>
              <a:gdLst>
                <a:gd name="T0" fmla="*/ 0 w 149"/>
                <a:gd name="T1" fmla="*/ 2147483647 h 144"/>
                <a:gd name="T2" fmla="*/ 2147483647 w 149"/>
                <a:gd name="T3" fmla="*/ 2147483647 h 144"/>
                <a:gd name="T4" fmla="*/ 2147483647 w 149"/>
                <a:gd name="T5" fmla="*/ 2147483647 h 144"/>
                <a:gd name="T6" fmla="*/ 2147483647 w 149"/>
                <a:gd name="T7" fmla="*/ 2147483647 h 144"/>
                <a:gd name="T8" fmla="*/ 2147483647 w 149"/>
                <a:gd name="T9" fmla="*/ 2147483647 h 144"/>
                <a:gd name="T10" fmla="*/ 2147483647 w 149"/>
                <a:gd name="T11" fmla="*/ 2147483647 h 144"/>
                <a:gd name="T12" fmla="*/ 2147483647 w 149"/>
                <a:gd name="T13" fmla="*/ 2147483647 h 144"/>
                <a:gd name="T14" fmla="*/ 2147483647 w 149"/>
                <a:gd name="T15" fmla="*/ 2147483647 h 144"/>
                <a:gd name="T16" fmla="*/ 2147483647 w 149"/>
                <a:gd name="T17" fmla="*/ 2147483647 h 144"/>
                <a:gd name="T18" fmla="*/ 2147483647 w 149"/>
                <a:gd name="T19" fmla="*/ 2147483647 h 144"/>
                <a:gd name="T20" fmla="*/ 2147483647 w 149"/>
                <a:gd name="T21" fmla="*/ 2147483647 h 144"/>
                <a:gd name="T22" fmla="*/ 2147483647 w 149"/>
                <a:gd name="T23" fmla="*/ 2147483647 h 144"/>
                <a:gd name="T24" fmla="*/ 2147483647 w 149"/>
                <a:gd name="T25" fmla="*/ 2147483647 h 144"/>
                <a:gd name="T26" fmla="*/ 2147483647 w 149"/>
                <a:gd name="T27" fmla="*/ 2147483647 h 144"/>
                <a:gd name="T28" fmla="*/ 2147483647 w 149"/>
                <a:gd name="T29" fmla="*/ 2147483647 h 144"/>
                <a:gd name="T30" fmla="*/ 2147483647 w 149"/>
                <a:gd name="T31" fmla="*/ 2147483647 h 144"/>
                <a:gd name="T32" fmla="*/ 2147483647 w 149"/>
                <a:gd name="T33" fmla="*/ 0 h 144"/>
                <a:gd name="T34" fmla="*/ 2147483647 w 149"/>
                <a:gd name="T35" fmla="*/ 2147483647 h 144"/>
                <a:gd name="T36" fmla="*/ 2147483647 w 149"/>
                <a:gd name="T37" fmla="*/ 2147483647 h 144"/>
                <a:gd name="T38" fmla="*/ 2147483647 w 149"/>
                <a:gd name="T39" fmla="*/ 2147483647 h 144"/>
                <a:gd name="T40" fmla="*/ 2147483647 w 149"/>
                <a:gd name="T41" fmla="*/ 2147483647 h 144"/>
                <a:gd name="T42" fmla="*/ 2147483647 w 149"/>
                <a:gd name="T43" fmla="*/ 2147483647 h 144"/>
                <a:gd name="T44" fmla="*/ 2147483647 w 149"/>
                <a:gd name="T45" fmla="*/ 2147483647 h 144"/>
                <a:gd name="T46" fmla="*/ 2147483647 w 149"/>
                <a:gd name="T47" fmla="*/ 2147483647 h 144"/>
                <a:gd name="T48" fmla="*/ 2147483647 w 149"/>
                <a:gd name="T49" fmla="*/ 2147483647 h 144"/>
                <a:gd name="T50" fmla="*/ 2147483647 w 149"/>
                <a:gd name="T51" fmla="*/ 2147483647 h 144"/>
                <a:gd name="T52" fmla="*/ 2147483647 w 149"/>
                <a:gd name="T53" fmla="*/ 2147483647 h 144"/>
                <a:gd name="T54" fmla="*/ 2147483647 w 149"/>
                <a:gd name="T55" fmla="*/ 2147483647 h 144"/>
                <a:gd name="T56" fmla="*/ 2147483647 w 149"/>
                <a:gd name="T57" fmla="*/ 2147483647 h 144"/>
                <a:gd name="T58" fmla="*/ 2147483647 w 149"/>
                <a:gd name="T59" fmla="*/ 2147483647 h 144"/>
                <a:gd name="T60" fmla="*/ 2147483647 w 149"/>
                <a:gd name="T61" fmla="*/ 2147483647 h 144"/>
                <a:gd name="T62" fmla="*/ 2147483647 w 149"/>
                <a:gd name="T63" fmla="*/ 2147483647 h 144"/>
                <a:gd name="T64" fmla="*/ 2147483647 w 149"/>
                <a:gd name="T65" fmla="*/ 2147483647 h 144"/>
                <a:gd name="T66" fmla="*/ 2147483647 w 149"/>
                <a:gd name="T67" fmla="*/ 2147483647 h 144"/>
                <a:gd name="T68" fmla="*/ 2147483647 w 149"/>
                <a:gd name="T69" fmla="*/ 2147483647 h 144"/>
                <a:gd name="T70" fmla="*/ 2147483647 w 149"/>
                <a:gd name="T71" fmla="*/ 2147483647 h 144"/>
                <a:gd name="T72" fmla="*/ 2147483647 w 149"/>
                <a:gd name="T73" fmla="*/ 2147483647 h 144"/>
                <a:gd name="T74" fmla="*/ 2147483647 w 149"/>
                <a:gd name="T75" fmla="*/ 2147483647 h 144"/>
                <a:gd name="T76" fmla="*/ 2147483647 w 149"/>
                <a:gd name="T77" fmla="*/ 2147483647 h 144"/>
                <a:gd name="T78" fmla="*/ 2147483647 w 149"/>
                <a:gd name="T79" fmla="*/ 2147483647 h 144"/>
                <a:gd name="T80" fmla="*/ 2147483647 w 149"/>
                <a:gd name="T81" fmla="*/ 2147483647 h 144"/>
                <a:gd name="T82" fmla="*/ 2147483647 w 149"/>
                <a:gd name="T83" fmla="*/ 2147483647 h 144"/>
                <a:gd name="T84" fmla="*/ 2147483647 w 149"/>
                <a:gd name="T85" fmla="*/ 2147483647 h 144"/>
                <a:gd name="T86" fmla="*/ 2147483647 w 149"/>
                <a:gd name="T87" fmla="*/ 2147483647 h 144"/>
                <a:gd name="T88" fmla="*/ 2147483647 w 149"/>
                <a:gd name="T89" fmla="*/ 2147483647 h 144"/>
                <a:gd name="T90" fmla="*/ 2147483647 w 149"/>
                <a:gd name="T91" fmla="*/ 2147483647 h 144"/>
                <a:gd name="T92" fmla="*/ 2147483647 w 149"/>
                <a:gd name="T93" fmla="*/ 2147483647 h 144"/>
                <a:gd name="T94" fmla="*/ 2147483647 w 149"/>
                <a:gd name="T95" fmla="*/ 2147483647 h 144"/>
                <a:gd name="T96" fmla="*/ 2147483647 w 149"/>
                <a:gd name="T97" fmla="*/ 2147483647 h 144"/>
                <a:gd name="T98" fmla="*/ 2147483647 w 149"/>
                <a:gd name="T99" fmla="*/ 2147483647 h 144"/>
                <a:gd name="T100" fmla="*/ 2147483647 w 149"/>
                <a:gd name="T101" fmla="*/ 2147483647 h 144"/>
                <a:gd name="T102" fmla="*/ 2147483647 w 149"/>
                <a:gd name="T103" fmla="*/ 2147483647 h 144"/>
                <a:gd name="T104" fmla="*/ 2147483647 w 149"/>
                <a:gd name="T105" fmla="*/ 2147483647 h 144"/>
                <a:gd name="T106" fmla="*/ 2147483647 w 149"/>
                <a:gd name="T107" fmla="*/ 2147483647 h 144"/>
                <a:gd name="T108" fmla="*/ 2147483647 w 149"/>
                <a:gd name="T109" fmla="*/ 2147483647 h 144"/>
                <a:gd name="T110" fmla="*/ 2147483647 w 149"/>
                <a:gd name="T111" fmla="*/ 2147483647 h 144"/>
                <a:gd name="T112" fmla="*/ 0 w 149"/>
                <a:gd name="T113" fmla="*/ 2147483647 h 14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49"/>
                <a:gd name="T172" fmla="*/ 0 h 144"/>
                <a:gd name="T173" fmla="*/ 149 w 149"/>
                <a:gd name="T174" fmla="*/ 144 h 14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49" h="144">
                  <a:moveTo>
                    <a:pt x="0" y="78"/>
                  </a:moveTo>
                  <a:cubicBezTo>
                    <a:pt x="1" y="77"/>
                    <a:pt x="5" y="75"/>
                    <a:pt x="7" y="75"/>
                  </a:cubicBezTo>
                  <a:cubicBezTo>
                    <a:pt x="9" y="75"/>
                    <a:pt x="11" y="77"/>
                    <a:pt x="14" y="76"/>
                  </a:cubicBezTo>
                  <a:cubicBezTo>
                    <a:pt x="16" y="75"/>
                    <a:pt x="18" y="75"/>
                    <a:pt x="19" y="74"/>
                  </a:cubicBezTo>
                  <a:cubicBezTo>
                    <a:pt x="21" y="74"/>
                    <a:pt x="22" y="79"/>
                    <a:pt x="25" y="77"/>
                  </a:cubicBezTo>
                  <a:cubicBezTo>
                    <a:pt x="27" y="75"/>
                    <a:pt x="33" y="69"/>
                    <a:pt x="33" y="64"/>
                  </a:cubicBezTo>
                  <a:cubicBezTo>
                    <a:pt x="33" y="59"/>
                    <a:pt x="35" y="52"/>
                    <a:pt x="39" y="49"/>
                  </a:cubicBezTo>
                  <a:cubicBezTo>
                    <a:pt x="42" y="47"/>
                    <a:pt x="46" y="43"/>
                    <a:pt x="46" y="40"/>
                  </a:cubicBezTo>
                  <a:cubicBezTo>
                    <a:pt x="46" y="36"/>
                    <a:pt x="48" y="25"/>
                    <a:pt x="49" y="23"/>
                  </a:cubicBezTo>
                  <a:cubicBezTo>
                    <a:pt x="50" y="21"/>
                    <a:pt x="51" y="16"/>
                    <a:pt x="52" y="13"/>
                  </a:cubicBezTo>
                  <a:cubicBezTo>
                    <a:pt x="52" y="11"/>
                    <a:pt x="52" y="9"/>
                    <a:pt x="52" y="9"/>
                  </a:cubicBezTo>
                  <a:cubicBezTo>
                    <a:pt x="53" y="8"/>
                    <a:pt x="54" y="2"/>
                    <a:pt x="57" y="2"/>
                  </a:cubicBezTo>
                  <a:cubicBezTo>
                    <a:pt x="60" y="2"/>
                    <a:pt x="64" y="7"/>
                    <a:pt x="67" y="7"/>
                  </a:cubicBezTo>
                  <a:cubicBezTo>
                    <a:pt x="70" y="7"/>
                    <a:pt x="78" y="10"/>
                    <a:pt x="81" y="9"/>
                  </a:cubicBezTo>
                  <a:cubicBezTo>
                    <a:pt x="83" y="8"/>
                    <a:pt x="83" y="4"/>
                    <a:pt x="85" y="4"/>
                  </a:cubicBezTo>
                  <a:cubicBezTo>
                    <a:pt x="88" y="4"/>
                    <a:pt x="98" y="3"/>
                    <a:pt x="100" y="2"/>
                  </a:cubicBezTo>
                  <a:cubicBezTo>
                    <a:pt x="102" y="1"/>
                    <a:pt x="110" y="0"/>
                    <a:pt x="113" y="0"/>
                  </a:cubicBezTo>
                  <a:cubicBezTo>
                    <a:pt x="114" y="0"/>
                    <a:pt x="116" y="1"/>
                    <a:pt x="117" y="1"/>
                  </a:cubicBezTo>
                  <a:cubicBezTo>
                    <a:pt x="119" y="2"/>
                    <a:pt x="120" y="3"/>
                    <a:pt x="121" y="4"/>
                  </a:cubicBezTo>
                  <a:cubicBezTo>
                    <a:pt x="123" y="6"/>
                    <a:pt x="124" y="8"/>
                    <a:pt x="129" y="8"/>
                  </a:cubicBezTo>
                  <a:cubicBezTo>
                    <a:pt x="134" y="8"/>
                    <a:pt x="133" y="4"/>
                    <a:pt x="135" y="5"/>
                  </a:cubicBezTo>
                  <a:cubicBezTo>
                    <a:pt x="137" y="6"/>
                    <a:pt x="139" y="9"/>
                    <a:pt x="139" y="9"/>
                  </a:cubicBezTo>
                  <a:cubicBezTo>
                    <a:pt x="146" y="13"/>
                    <a:pt x="146" y="13"/>
                    <a:pt x="146" y="13"/>
                  </a:cubicBezTo>
                  <a:cubicBezTo>
                    <a:pt x="145" y="13"/>
                    <a:pt x="144" y="19"/>
                    <a:pt x="144" y="21"/>
                  </a:cubicBezTo>
                  <a:cubicBezTo>
                    <a:pt x="144" y="22"/>
                    <a:pt x="149" y="25"/>
                    <a:pt x="149" y="25"/>
                  </a:cubicBezTo>
                  <a:cubicBezTo>
                    <a:pt x="149" y="25"/>
                    <a:pt x="144" y="31"/>
                    <a:pt x="142" y="33"/>
                  </a:cubicBezTo>
                  <a:cubicBezTo>
                    <a:pt x="139" y="35"/>
                    <a:pt x="137" y="39"/>
                    <a:pt x="136" y="41"/>
                  </a:cubicBezTo>
                  <a:cubicBezTo>
                    <a:pt x="136" y="43"/>
                    <a:pt x="135" y="49"/>
                    <a:pt x="133" y="51"/>
                  </a:cubicBezTo>
                  <a:cubicBezTo>
                    <a:pt x="132" y="52"/>
                    <a:pt x="129" y="57"/>
                    <a:pt x="129" y="60"/>
                  </a:cubicBezTo>
                  <a:cubicBezTo>
                    <a:pt x="129" y="61"/>
                    <a:pt x="130" y="62"/>
                    <a:pt x="130" y="63"/>
                  </a:cubicBezTo>
                  <a:cubicBezTo>
                    <a:pt x="130" y="65"/>
                    <a:pt x="131" y="67"/>
                    <a:pt x="131" y="69"/>
                  </a:cubicBezTo>
                  <a:cubicBezTo>
                    <a:pt x="132" y="70"/>
                    <a:pt x="132" y="72"/>
                    <a:pt x="133" y="75"/>
                  </a:cubicBezTo>
                  <a:cubicBezTo>
                    <a:pt x="134" y="79"/>
                    <a:pt x="134" y="84"/>
                    <a:pt x="134" y="86"/>
                  </a:cubicBezTo>
                  <a:cubicBezTo>
                    <a:pt x="134" y="88"/>
                    <a:pt x="138" y="92"/>
                    <a:pt x="140" y="94"/>
                  </a:cubicBezTo>
                  <a:cubicBezTo>
                    <a:pt x="142" y="95"/>
                    <a:pt x="143" y="99"/>
                    <a:pt x="144" y="102"/>
                  </a:cubicBezTo>
                  <a:cubicBezTo>
                    <a:pt x="131" y="105"/>
                    <a:pt x="131" y="105"/>
                    <a:pt x="131" y="105"/>
                  </a:cubicBezTo>
                  <a:cubicBezTo>
                    <a:pt x="131" y="105"/>
                    <a:pt x="125" y="110"/>
                    <a:pt x="127" y="112"/>
                  </a:cubicBezTo>
                  <a:cubicBezTo>
                    <a:pt x="128" y="115"/>
                    <a:pt x="127" y="125"/>
                    <a:pt x="128" y="128"/>
                  </a:cubicBezTo>
                  <a:cubicBezTo>
                    <a:pt x="129" y="131"/>
                    <a:pt x="137" y="132"/>
                    <a:pt x="137" y="134"/>
                  </a:cubicBezTo>
                  <a:cubicBezTo>
                    <a:pt x="137" y="136"/>
                    <a:pt x="137" y="143"/>
                    <a:pt x="135" y="144"/>
                  </a:cubicBezTo>
                  <a:cubicBezTo>
                    <a:pt x="135" y="144"/>
                    <a:pt x="135" y="144"/>
                    <a:pt x="135" y="144"/>
                  </a:cubicBezTo>
                  <a:cubicBezTo>
                    <a:pt x="132" y="144"/>
                    <a:pt x="129" y="141"/>
                    <a:pt x="127" y="138"/>
                  </a:cubicBezTo>
                  <a:cubicBezTo>
                    <a:pt x="124" y="136"/>
                    <a:pt x="119" y="131"/>
                    <a:pt x="117" y="129"/>
                  </a:cubicBezTo>
                  <a:cubicBezTo>
                    <a:pt x="117" y="127"/>
                    <a:pt x="114" y="132"/>
                    <a:pt x="111" y="132"/>
                  </a:cubicBezTo>
                  <a:cubicBezTo>
                    <a:pt x="109" y="132"/>
                    <a:pt x="103" y="127"/>
                    <a:pt x="103" y="127"/>
                  </a:cubicBezTo>
                  <a:cubicBezTo>
                    <a:pt x="103" y="127"/>
                    <a:pt x="94" y="125"/>
                    <a:pt x="92" y="125"/>
                  </a:cubicBezTo>
                  <a:cubicBezTo>
                    <a:pt x="90" y="125"/>
                    <a:pt x="80" y="126"/>
                    <a:pt x="81" y="124"/>
                  </a:cubicBezTo>
                  <a:cubicBezTo>
                    <a:pt x="81" y="122"/>
                    <a:pt x="79" y="115"/>
                    <a:pt x="77" y="113"/>
                  </a:cubicBezTo>
                  <a:cubicBezTo>
                    <a:pt x="75" y="111"/>
                    <a:pt x="75" y="96"/>
                    <a:pt x="75" y="96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9" y="93"/>
                    <a:pt x="58" y="101"/>
                    <a:pt x="56" y="101"/>
                  </a:cubicBezTo>
                  <a:cubicBezTo>
                    <a:pt x="54" y="101"/>
                    <a:pt x="45" y="103"/>
                    <a:pt x="43" y="103"/>
                  </a:cubicBezTo>
                  <a:cubicBezTo>
                    <a:pt x="41" y="103"/>
                    <a:pt x="37" y="86"/>
                    <a:pt x="35" y="86"/>
                  </a:cubicBezTo>
                  <a:cubicBezTo>
                    <a:pt x="34" y="86"/>
                    <a:pt x="17" y="85"/>
                    <a:pt x="13" y="85"/>
                  </a:cubicBezTo>
                  <a:cubicBezTo>
                    <a:pt x="10" y="85"/>
                    <a:pt x="7" y="87"/>
                    <a:pt x="4" y="89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2" y="84"/>
                    <a:pt x="2" y="81"/>
                    <a:pt x="0" y="7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33" name="Freeform 487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6212710" y="5088019"/>
              <a:ext cx="366343" cy="349896"/>
            </a:xfrm>
            <a:custGeom>
              <a:avLst/>
              <a:gdLst>
                <a:gd name="T0" fmla="*/ 2147483647 w 105"/>
                <a:gd name="T1" fmla="*/ 2147483647 h 95"/>
                <a:gd name="T2" fmla="*/ 0 w 105"/>
                <a:gd name="T3" fmla="*/ 2147483647 h 95"/>
                <a:gd name="T4" fmla="*/ 2147483647 w 105"/>
                <a:gd name="T5" fmla="*/ 2147483647 h 95"/>
                <a:gd name="T6" fmla="*/ 2147483647 w 105"/>
                <a:gd name="T7" fmla="*/ 0 h 95"/>
                <a:gd name="T8" fmla="*/ 2147483647 w 105"/>
                <a:gd name="T9" fmla="*/ 2147483647 h 95"/>
                <a:gd name="T10" fmla="*/ 2147483647 w 105"/>
                <a:gd name="T11" fmla="*/ 2147483647 h 95"/>
                <a:gd name="T12" fmla="*/ 2147483647 w 105"/>
                <a:gd name="T13" fmla="*/ 2147483647 h 95"/>
                <a:gd name="T14" fmla="*/ 2147483647 w 105"/>
                <a:gd name="T15" fmla="*/ 2147483647 h 95"/>
                <a:gd name="T16" fmla="*/ 2147483647 w 105"/>
                <a:gd name="T17" fmla="*/ 2147483647 h 95"/>
                <a:gd name="T18" fmla="*/ 2147483647 w 105"/>
                <a:gd name="T19" fmla="*/ 2147483647 h 95"/>
                <a:gd name="T20" fmla="*/ 2147483647 w 105"/>
                <a:gd name="T21" fmla="*/ 2147483647 h 95"/>
                <a:gd name="T22" fmla="*/ 2147483647 w 105"/>
                <a:gd name="T23" fmla="*/ 2147483647 h 95"/>
                <a:gd name="T24" fmla="*/ 2147483647 w 105"/>
                <a:gd name="T25" fmla="*/ 2147483647 h 95"/>
                <a:gd name="T26" fmla="*/ 2147483647 w 105"/>
                <a:gd name="T27" fmla="*/ 2147483647 h 95"/>
                <a:gd name="T28" fmla="*/ 2147483647 w 105"/>
                <a:gd name="T29" fmla="*/ 2147483647 h 95"/>
                <a:gd name="T30" fmla="*/ 2147483647 w 105"/>
                <a:gd name="T31" fmla="*/ 2147483647 h 95"/>
                <a:gd name="T32" fmla="*/ 2147483647 w 105"/>
                <a:gd name="T33" fmla="*/ 2147483647 h 95"/>
                <a:gd name="T34" fmla="*/ 2147483647 w 105"/>
                <a:gd name="T35" fmla="*/ 2147483647 h 95"/>
                <a:gd name="T36" fmla="*/ 2147483647 w 105"/>
                <a:gd name="T37" fmla="*/ 2147483647 h 95"/>
                <a:gd name="T38" fmla="*/ 2147483647 w 105"/>
                <a:gd name="T39" fmla="*/ 2147483647 h 95"/>
                <a:gd name="T40" fmla="*/ 2147483647 w 105"/>
                <a:gd name="T41" fmla="*/ 2147483647 h 95"/>
                <a:gd name="T42" fmla="*/ 2147483647 w 105"/>
                <a:gd name="T43" fmla="*/ 2147483647 h 95"/>
                <a:gd name="T44" fmla="*/ 2147483647 w 105"/>
                <a:gd name="T45" fmla="*/ 2147483647 h 95"/>
                <a:gd name="T46" fmla="*/ 2147483647 w 105"/>
                <a:gd name="T47" fmla="*/ 2147483647 h 95"/>
                <a:gd name="T48" fmla="*/ 2147483647 w 105"/>
                <a:gd name="T49" fmla="*/ 2147483647 h 95"/>
                <a:gd name="T50" fmla="*/ 2147483647 w 105"/>
                <a:gd name="T51" fmla="*/ 2147483647 h 95"/>
                <a:gd name="T52" fmla="*/ 2147483647 w 105"/>
                <a:gd name="T53" fmla="*/ 2147483647 h 95"/>
                <a:gd name="T54" fmla="*/ 2147483647 w 105"/>
                <a:gd name="T55" fmla="*/ 2147483647 h 95"/>
                <a:gd name="T56" fmla="*/ 2147483647 w 105"/>
                <a:gd name="T57" fmla="*/ 2147483647 h 95"/>
                <a:gd name="T58" fmla="*/ 2147483647 w 105"/>
                <a:gd name="T59" fmla="*/ 2147483647 h 95"/>
                <a:gd name="T60" fmla="*/ 2147483647 w 105"/>
                <a:gd name="T61" fmla="*/ 2147483647 h 95"/>
                <a:gd name="T62" fmla="*/ 2147483647 w 105"/>
                <a:gd name="T63" fmla="*/ 2147483647 h 95"/>
                <a:gd name="T64" fmla="*/ 2147483647 w 105"/>
                <a:gd name="T65" fmla="*/ 2147483647 h 9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5"/>
                <a:gd name="T100" fmla="*/ 0 h 95"/>
                <a:gd name="T101" fmla="*/ 105 w 105"/>
                <a:gd name="T102" fmla="*/ 95 h 9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5" h="95">
                  <a:moveTo>
                    <a:pt x="1" y="7"/>
                  </a:moveTo>
                  <a:cubicBezTo>
                    <a:pt x="0" y="6"/>
                    <a:pt x="0" y="3"/>
                    <a:pt x="0" y="1"/>
                  </a:cubicBezTo>
                  <a:cubicBezTo>
                    <a:pt x="0" y="1"/>
                    <a:pt x="4" y="2"/>
                    <a:pt x="7" y="2"/>
                  </a:cubicBezTo>
                  <a:cubicBezTo>
                    <a:pt x="9" y="2"/>
                    <a:pt x="11" y="0"/>
                    <a:pt x="13" y="0"/>
                  </a:cubicBezTo>
                  <a:cubicBezTo>
                    <a:pt x="16" y="0"/>
                    <a:pt x="18" y="3"/>
                    <a:pt x="19" y="3"/>
                  </a:cubicBezTo>
                  <a:cubicBezTo>
                    <a:pt x="20" y="3"/>
                    <a:pt x="51" y="3"/>
                    <a:pt x="51" y="3"/>
                  </a:cubicBezTo>
                  <a:cubicBezTo>
                    <a:pt x="51" y="3"/>
                    <a:pt x="54" y="7"/>
                    <a:pt x="56" y="7"/>
                  </a:cubicBezTo>
                  <a:cubicBezTo>
                    <a:pt x="57" y="7"/>
                    <a:pt x="62" y="7"/>
                    <a:pt x="66" y="7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5"/>
                    <a:pt x="85" y="5"/>
                    <a:pt x="87" y="4"/>
                  </a:cubicBezTo>
                  <a:cubicBezTo>
                    <a:pt x="93" y="4"/>
                    <a:pt x="100" y="3"/>
                    <a:pt x="101" y="4"/>
                  </a:cubicBezTo>
                  <a:cubicBezTo>
                    <a:pt x="101" y="5"/>
                    <a:pt x="102" y="5"/>
                    <a:pt x="103" y="5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3" y="11"/>
                    <a:pt x="91" y="12"/>
                  </a:cubicBezTo>
                  <a:cubicBezTo>
                    <a:pt x="90" y="13"/>
                    <a:pt x="88" y="10"/>
                    <a:pt x="85" y="10"/>
                  </a:cubicBezTo>
                  <a:cubicBezTo>
                    <a:pt x="85" y="10"/>
                    <a:pt x="74" y="13"/>
                    <a:pt x="71" y="13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50" y="95"/>
                    <a:pt x="47" y="95"/>
                  </a:cubicBezTo>
                  <a:cubicBezTo>
                    <a:pt x="45" y="95"/>
                    <a:pt x="44" y="89"/>
                    <a:pt x="42" y="89"/>
                  </a:cubicBezTo>
                  <a:cubicBezTo>
                    <a:pt x="40" y="89"/>
                    <a:pt x="38" y="92"/>
                    <a:pt x="37" y="94"/>
                  </a:cubicBezTo>
                  <a:cubicBezTo>
                    <a:pt x="37" y="94"/>
                    <a:pt x="37" y="94"/>
                    <a:pt x="37" y="94"/>
                  </a:cubicBezTo>
                  <a:cubicBezTo>
                    <a:pt x="37" y="93"/>
                    <a:pt x="36" y="92"/>
                    <a:pt x="35" y="92"/>
                  </a:cubicBezTo>
                  <a:cubicBezTo>
                    <a:pt x="31" y="88"/>
                    <a:pt x="26" y="84"/>
                    <a:pt x="25" y="78"/>
                  </a:cubicBezTo>
                  <a:cubicBezTo>
                    <a:pt x="25" y="72"/>
                    <a:pt x="24" y="66"/>
                    <a:pt x="22" y="62"/>
                  </a:cubicBezTo>
                  <a:cubicBezTo>
                    <a:pt x="21" y="58"/>
                    <a:pt x="21" y="56"/>
                    <a:pt x="21" y="52"/>
                  </a:cubicBezTo>
                  <a:cubicBezTo>
                    <a:pt x="21" y="49"/>
                    <a:pt x="22" y="46"/>
                    <a:pt x="19" y="41"/>
                  </a:cubicBezTo>
                  <a:cubicBezTo>
                    <a:pt x="17" y="36"/>
                    <a:pt x="12" y="27"/>
                    <a:pt x="9" y="23"/>
                  </a:cubicBezTo>
                  <a:cubicBezTo>
                    <a:pt x="6" y="19"/>
                    <a:pt x="1" y="12"/>
                    <a:pt x="1" y="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34" name="Freeform 488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6212710" y="4766882"/>
              <a:ext cx="327239" cy="345103"/>
            </a:xfrm>
            <a:custGeom>
              <a:avLst/>
              <a:gdLst>
                <a:gd name="T0" fmla="*/ 0 w 94"/>
                <a:gd name="T1" fmla="*/ 2147483647 h 94"/>
                <a:gd name="T2" fmla="*/ 2147483647 w 94"/>
                <a:gd name="T3" fmla="*/ 2147483647 h 94"/>
                <a:gd name="T4" fmla="*/ 2147483647 w 94"/>
                <a:gd name="T5" fmla="*/ 2147483647 h 94"/>
                <a:gd name="T6" fmla="*/ 2147483647 w 94"/>
                <a:gd name="T7" fmla="*/ 2147483647 h 94"/>
                <a:gd name="T8" fmla="*/ 2147483647 w 94"/>
                <a:gd name="T9" fmla="*/ 2147483647 h 94"/>
                <a:gd name="T10" fmla="*/ 2147483647 w 94"/>
                <a:gd name="T11" fmla="*/ 2147483647 h 94"/>
                <a:gd name="T12" fmla="*/ 2147483647 w 94"/>
                <a:gd name="T13" fmla="*/ 2147483647 h 94"/>
                <a:gd name="T14" fmla="*/ 2147483647 w 94"/>
                <a:gd name="T15" fmla="*/ 2147483647 h 94"/>
                <a:gd name="T16" fmla="*/ 2147483647 w 94"/>
                <a:gd name="T17" fmla="*/ 2147483647 h 94"/>
                <a:gd name="T18" fmla="*/ 2147483647 w 94"/>
                <a:gd name="T19" fmla="*/ 0 h 94"/>
                <a:gd name="T20" fmla="*/ 2147483647 w 94"/>
                <a:gd name="T21" fmla="*/ 2147483647 h 94"/>
                <a:gd name="T22" fmla="*/ 2147483647 w 94"/>
                <a:gd name="T23" fmla="*/ 2147483647 h 94"/>
                <a:gd name="T24" fmla="*/ 2147483647 w 94"/>
                <a:gd name="T25" fmla="*/ 2147483647 h 94"/>
                <a:gd name="T26" fmla="*/ 2147483647 w 94"/>
                <a:gd name="T27" fmla="*/ 2147483647 h 94"/>
                <a:gd name="T28" fmla="*/ 2147483647 w 94"/>
                <a:gd name="T29" fmla="*/ 2147483647 h 94"/>
                <a:gd name="T30" fmla="*/ 2147483647 w 94"/>
                <a:gd name="T31" fmla="*/ 2147483647 h 94"/>
                <a:gd name="T32" fmla="*/ 2147483647 w 94"/>
                <a:gd name="T33" fmla="*/ 2147483647 h 94"/>
                <a:gd name="T34" fmla="*/ 2147483647 w 94"/>
                <a:gd name="T35" fmla="*/ 2147483647 h 94"/>
                <a:gd name="T36" fmla="*/ 2147483647 w 94"/>
                <a:gd name="T37" fmla="*/ 2147483647 h 94"/>
                <a:gd name="T38" fmla="*/ 2147483647 w 94"/>
                <a:gd name="T39" fmla="*/ 2147483647 h 94"/>
                <a:gd name="T40" fmla="*/ 2147483647 w 94"/>
                <a:gd name="T41" fmla="*/ 2147483647 h 94"/>
                <a:gd name="T42" fmla="*/ 2147483647 w 94"/>
                <a:gd name="T43" fmla="*/ 2147483647 h 94"/>
                <a:gd name="T44" fmla="*/ 2147483647 w 94"/>
                <a:gd name="T45" fmla="*/ 2147483647 h 94"/>
                <a:gd name="T46" fmla="*/ 2147483647 w 94"/>
                <a:gd name="T47" fmla="*/ 2147483647 h 94"/>
                <a:gd name="T48" fmla="*/ 2147483647 w 94"/>
                <a:gd name="T49" fmla="*/ 2147483647 h 94"/>
                <a:gd name="T50" fmla="*/ 2147483647 w 94"/>
                <a:gd name="T51" fmla="*/ 2147483647 h 94"/>
                <a:gd name="T52" fmla="*/ 2147483647 w 94"/>
                <a:gd name="T53" fmla="*/ 2147483647 h 94"/>
                <a:gd name="T54" fmla="*/ 2147483647 w 94"/>
                <a:gd name="T55" fmla="*/ 2147483647 h 94"/>
                <a:gd name="T56" fmla="*/ 2147483647 w 94"/>
                <a:gd name="T57" fmla="*/ 2147483647 h 94"/>
                <a:gd name="T58" fmla="*/ 2147483647 w 94"/>
                <a:gd name="T59" fmla="*/ 2147483647 h 94"/>
                <a:gd name="T60" fmla="*/ 0 w 94"/>
                <a:gd name="T61" fmla="*/ 2147483647 h 9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94"/>
                <a:gd name="T94" fmla="*/ 0 h 94"/>
                <a:gd name="T95" fmla="*/ 94 w 94"/>
                <a:gd name="T96" fmla="*/ 94 h 9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94" h="94">
                  <a:moveTo>
                    <a:pt x="0" y="88"/>
                  </a:moveTo>
                  <a:cubicBezTo>
                    <a:pt x="0" y="85"/>
                    <a:pt x="0" y="81"/>
                    <a:pt x="1" y="79"/>
                  </a:cubicBezTo>
                  <a:cubicBezTo>
                    <a:pt x="2" y="75"/>
                    <a:pt x="4" y="70"/>
                    <a:pt x="5" y="67"/>
                  </a:cubicBezTo>
                  <a:cubicBezTo>
                    <a:pt x="5" y="64"/>
                    <a:pt x="6" y="59"/>
                    <a:pt x="6" y="58"/>
                  </a:cubicBezTo>
                  <a:cubicBezTo>
                    <a:pt x="6" y="57"/>
                    <a:pt x="12" y="53"/>
                    <a:pt x="13" y="51"/>
                  </a:cubicBezTo>
                  <a:cubicBezTo>
                    <a:pt x="15" y="48"/>
                    <a:pt x="18" y="43"/>
                    <a:pt x="16" y="39"/>
                  </a:cubicBezTo>
                  <a:cubicBezTo>
                    <a:pt x="14" y="34"/>
                    <a:pt x="10" y="29"/>
                    <a:pt x="9" y="26"/>
                  </a:cubicBezTo>
                  <a:cubicBezTo>
                    <a:pt x="9" y="24"/>
                    <a:pt x="13" y="23"/>
                    <a:pt x="13" y="20"/>
                  </a:cubicBezTo>
                  <a:cubicBezTo>
                    <a:pt x="12" y="18"/>
                    <a:pt x="7" y="8"/>
                    <a:pt x="5" y="4"/>
                  </a:cubicBezTo>
                  <a:cubicBezTo>
                    <a:pt x="8" y="2"/>
                    <a:pt x="11" y="0"/>
                    <a:pt x="14" y="0"/>
                  </a:cubicBezTo>
                  <a:cubicBezTo>
                    <a:pt x="18" y="0"/>
                    <a:pt x="35" y="1"/>
                    <a:pt x="36" y="1"/>
                  </a:cubicBezTo>
                  <a:cubicBezTo>
                    <a:pt x="38" y="1"/>
                    <a:pt x="42" y="18"/>
                    <a:pt x="44" y="18"/>
                  </a:cubicBezTo>
                  <a:cubicBezTo>
                    <a:pt x="46" y="18"/>
                    <a:pt x="55" y="16"/>
                    <a:pt x="57" y="16"/>
                  </a:cubicBezTo>
                  <a:cubicBezTo>
                    <a:pt x="59" y="16"/>
                    <a:pt x="60" y="8"/>
                    <a:pt x="60" y="8"/>
                  </a:cubicBezTo>
                  <a:cubicBezTo>
                    <a:pt x="76" y="11"/>
                    <a:pt x="76" y="11"/>
                    <a:pt x="76" y="11"/>
                  </a:cubicBezTo>
                  <a:cubicBezTo>
                    <a:pt x="76" y="11"/>
                    <a:pt x="76" y="26"/>
                    <a:pt x="78" y="28"/>
                  </a:cubicBezTo>
                  <a:cubicBezTo>
                    <a:pt x="80" y="30"/>
                    <a:pt x="82" y="37"/>
                    <a:pt x="82" y="39"/>
                  </a:cubicBezTo>
                  <a:cubicBezTo>
                    <a:pt x="81" y="41"/>
                    <a:pt x="91" y="40"/>
                    <a:pt x="93" y="4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87" y="91"/>
                    <a:pt x="87" y="91"/>
                    <a:pt x="87" y="91"/>
                  </a:cubicBezTo>
                  <a:cubicBezTo>
                    <a:pt x="85" y="92"/>
                    <a:pt x="83" y="92"/>
                    <a:pt x="82" y="92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2" y="94"/>
                    <a:pt x="57" y="94"/>
                    <a:pt x="56" y="94"/>
                  </a:cubicBezTo>
                  <a:cubicBezTo>
                    <a:pt x="54" y="94"/>
                    <a:pt x="51" y="90"/>
                    <a:pt x="51" y="90"/>
                  </a:cubicBezTo>
                  <a:cubicBezTo>
                    <a:pt x="51" y="90"/>
                    <a:pt x="20" y="90"/>
                    <a:pt x="19" y="90"/>
                  </a:cubicBezTo>
                  <a:cubicBezTo>
                    <a:pt x="18" y="90"/>
                    <a:pt x="16" y="87"/>
                    <a:pt x="13" y="87"/>
                  </a:cubicBezTo>
                  <a:cubicBezTo>
                    <a:pt x="11" y="87"/>
                    <a:pt x="9" y="89"/>
                    <a:pt x="7" y="89"/>
                  </a:cubicBezTo>
                  <a:cubicBezTo>
                    <a:pt x="4" y="89"/>
                    <a:pt x="0" y="88"/>
                    <a:pt x="0" y="8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35" name="Freeform 489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6192128" y="4500866"/>
              <a:ext cx="205811" cy="242051"/>
            </a:xfrm>
            <a:custGeom>
              <a:avLst/>
              <a:gdLst>
                <a:gd name="T0" fmla="*/ 2147483647 w 59"/>
                <a:gd name="T1" fmla="*/ 2147483647 h 66"/>
                <a:gd name="T2" fmla="*/ 0 w 59"/>
                <a:gd name="T3" fmla="*/ 2147483647 h 66"/>
                <a:gd name="T4" fmla="*/ 2147483647 w 59"/>
                <a:gd name="T5" fmla="*/ 2147483647 h 66"/>
                <a:gd name="T6" fmla="*/ 2147483647 w 59"/>
                <a:gd name="T7" fmla="*/ 2147483647 h 66"/>
                <a:gd name="T8" fmla="*/ 2147483647 w 59"/>
                <a:gd name="T9" fmla="*/ 2147483647 h 66"/>
                <a:gd name="T10" fmla="*/ 2147483647 w 59"/>
                <a:gd name="T11" fmla="*/ 2147483647 h 66"/>
                <a:gd name="T12" fmla="*/ 2147483647 w 59"/>
                <a:gd name="T13" fmla="*/ 2147483647 h 66"/>
                <a:gd name="T14" fmla="*/ 2147483647 w 59"/>
                <a:gd name="T15" fmla="*/ 2147483647 h 66"/>
                <a:gd name="T16" fmla="*/ 2147483647 w 59"/>
                <a:gd name="T17" fmla="*/ 2147483647 h 66"/>
                <a:gd name="T18" fmla="*/ 2147483647 w 59"/>
                <a:gd name="T19" fmla="*/ 2147483647 h 66"/>
                <a:gd name="T20" fmla="*/ 2147483647 w 59"/>
                <a:gd name="T21" fmla="*/ 2147483647 h 66"/>
                <a:gd name="T22" fmla="*/ 2147483647 w 59"/>
                <a:gd name="T23" fmla="*/ 2147483647 h 66"/>
                <a:gd name="T24" fmla="*/ 2147483647 w 59"/>
                <a:gd name="T25" fmla="*/ 2147483647 h 66"/>
                <a:gd name="T26" fmla="*/ 2147483647 w 59"/>
                <a:gd name="T27" fmla="*/ 2147483647 h 66"/>
                <a:gd name="T28" fmla="*/ 2147483647 w 59"/>
                <a:gd name="T29" fmla="*/ 2147483647 h 66"/>
                <a:gd name="T30" fmla="*/ 2147483647 w 59"/>
                <a:gd name="T31" fmla="*/ 2147483647 h 66"/>
                <a:gd name="T32" fmla="*/ 2147483647 w 59"/>
                <a:gd name="T33" fmla="*/ 2147483647 h 66"/>
                <a:gd name="T34" fmla="*/ 2147483647 w 59"/>
                <a:gd name="T35" fmla="*/ 2147483647 h 66"/>
                <a:gd name="T36" fmla="*/ 2147483647 w 59"/>
                <a:gd name="T37" fmla="*/ 2147483647 h 66"/>
                <a:gd name="T38" fmla="*/ 2147483647 w 59"/>
                <a:gd name="T39" fmla="*/ 0 h 66"/>
                <a:gd name="T40" fmla="*/ 2147483647 w 59"/>
                <a:gd name="T41" fmla="*/ 0 h 66"/>
                <a:gd name="T42" fmla="*/ 2147483647 w 59"/>
                <a:gd name="T43" fmla="*/ 2147483647 h 66"/>
                <a:gd name="T44" fmla="*/ 2147483647 w 59"/>
                <a:gd name="T45" fmla="*/ 2147483647 h 66"/>
                <a:gd name="T46" fmla="*/ 2147483647 w 59"/>
                <a:gd name="T47" fmla="*/ 2147483647 h 66"/>
                <a:gd name="T48" fmla="*/ 2147483647 w 59"/>
                <a:gd name="T49" fmla="*/ 2147483647 h 66"/>
                <a:gd name="T50" fmla="*/ 2147483647 w 59"/>
                <a:gd name="T51" fmla="*/ 2147483647 h 66"/>
                <a:gd name="T52" fmla="*/ 2147483647 w 59"/>
                <a:gd name="T53" fmla="*/ 2147483647 h 66"/>
                <a:gd name="T54" fmla="*/ 2147483647 w 59"/>
                <a:gd name="T55" fmla="*/ 2147483647 h 66"/>
                <a:gd name="T56" fmla="*/ 2147483647 w 59"/>
                <a:gd name="T57" fmla="*/ 2147483647 h 66"/>
                <a:gd name="T58" fmla="*/ 2147483647 w 59"/>
                <a:gd name="T59" fmla="*/ 2147483647 h 66"/>
                <a:gd name="T60" fmla="*/ 2147483647 w 59"/>
                <a:gd name="T61" fmla="*/ 2147483647 h 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59"/>
                <a:gd name="T94" fmla="*/ 0 h 66"/>
                <a:gd name="T95" fmla="*/ 59 w 59"/>
                <a:gd name="T96" fmla="*/ 66 h 6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59" h="66">
                  <a:moveTo>
                    <a:pt x="7" y="64"/>
                  </a:moveTo>
                  <a:cubicBezTo>
                    <a:pt x="5" y="62"/>
                    <a:pt x="3" y="60"/>
                    <a:pt x="0" y="57"/>
                  </a:cubicBezTo>
                  <a:cubicBezTo>
                    <a:pt x="2" y="56"/>
                    <a:pt x="4" y="54"/>
                    <a:pt x="5" y="55"/>
                  </a:cubicBezTo>
                  <a:cubicBezTo>
                    <a:pt x="7" y="56"/>
                    <a:pt x="8" y="56"/>
                    <a:pt x="8" y="56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2"/>
                    <a:pt x="21" y="46"/>
                    <a:pt x="23" y="46"/>
                  </a:cubicBezTo>
                  <a:cubicBezTo>
                    <a:pt x="26" y="46"/>
                    <a:pt x="29" y="37"/>
                    <a:pt x="27" y="34"/>
                  </a:cubicBezTo>
                  <a:cubicBezTo>
                    <a:pt x="25" y="31"/>
                    <a:pt x="21" y="29"/>
                    <a:pt x="22" y="27"/>
                  </a:cubicBezTo>
                  <a:cubicBezTo>
                    <a:pt x="23" y="24"/>
                    <a:pt x="30" y="22"/>
                    <a:pt x="27" y="20"/>
                  </a:cubicBezTo>
                  <a:cubicBezTo>
                    <a:pt x="24" y="18"/>
                    <a:pt x="19" y="21"/>
                    <a:pt x="18" y="18"/>
                  </a:cubicBezTo>
                  <a:cubicBezTo>
                    <a:pt x="17" y="15"/>
                    <a:pt x="17" y="14"/>
                    <a:pt x="17" y="14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22" y="11"/>
                    <a:pt x="25" y="11"/>
                    <a:pt x="26" y="11"/>
                  </a:cubicBezTo>
                  <a:cubicBezTo>
                    <a:pt x="29" y="11"/>
                    <a:pt x="38" y="16"/>
                    <a:pt x="40" y="15"/>
                  </a:cubicBezTo>
                  <a:cubicBezTo>
                    <a:pt x="41" y="15"/>
                    <a:pt x="41" y="11"/>
                    <a:pt x="40" y="8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8" y="3"/>
                    <a:pt x="57" y="8"/>
                    <a:pt x="56" y="10"/>
                  </a:cubicBezTo>
                  <a:cubicBezTo>
                    <a:pt x="55" y="12"/>
                    <a:pt x="53" y="23"/>
                    <a:pt x="53" y="27"/>
                  </a:cubicBezTo>
                  <a:cubicBezTo>
                    <a:pt x="53" y="30"/>
                    <a:pt x="49" y="34"/>
                    <a:pt x="46" y="36"/>
                  </a:cubicBezTo>
                  <a:cubicBezTo>
                    <a:pt x="42" y="39"/>
                    <a:pt x="40" y="46"/>
                    <a:pt x="40" y="51"/>
                  </a:cubicBezTo>
                  <a:cubicBezTo>
                    <a:pt x="40" y="56"/>
                    <a:pt x="34" y="62"/>
                    <a:pt x="32" y="64"/>
                  </a:cubicBezTo>
                  <a:cubicBezTo>
                    <a:pt x="29" y="66"/>
                    <a:pt x="28" y="61"/>
                    <a:pt x="26" y="61"/>
                  </a:cubicBezTo>
                  <a:cubicBezTo>
                    <a:pt x="25" y="62"/>
                    <a:pt x="23" y="62"/>
                    <a:pt x="21" y="63"/>
                  </a:cubicBezTo>
                  <a:cubicBezTo>
                    <a:pt x="18" y="64"/>
                    <a:pt x="16" y="62"/>
                    <a:pt x="14" y="62"/>
                  </a:cubicBezTo>
                  <a:cubicBezTo>
                    <a:pt x="12" y="62"/>
                    <a:pt x="8" y="64"/>
                    <a:pt x="7" y="65"/>
                  </a:cubicBezTo>
                  <a:cubicBezTo>
                    <a:pt x="7" y="64"/>
                    <a:pt x="7" y="64"/>
                    <a:pt x="7" y="6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36" name="Freeform 490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6130385" y="4536814"/>
              <a:ext cx="164649" cy="174948"/>
            </a:xfrm>
            <a:custGeom>
              <a:avLst/>
              <a:gdLst>
                <a:gd name="T0" fmla="*/ 2147483647 w 47"/>
                <a:gd name="T1" fmla="*/ 2147483647 h 47"/>
                <a:gd name="T2" fmla="*/ 0 w 47"/>
                <a:gd name="T3" fmla="*/ 2147483647 h 47"/>
                <a:gd name="T4" fmla="*/ 2147483647 w 47"/>
                <a:gd name="T5" fmla="*/ 2147483647 h 47"/>
                <a:gd name="T6" fmla="*/ 2147483647 w 47"/>
                <a:gd name="T7" fmla="*/ 2147483647 h 47"/>
                <a:gd name="T8" fmla="*/ 2147483647 w 47"/>
                <a:gd name="T9" fmla="*/ 2147483647 h 47"/>
                <a:gd name="T10" fmla="*/ 2147483647 w 47"/>
                <a:gd name="T11" fmla="*/ 2147483647 h 47"/>
                <a:gd name="T12" fmla="*/ 2147483647 w 47"/>
                <a:gd name="T13" fmla="*/ 0 h 47"/>
                <a:gd name="T14" fmla="*/ 2147483647 w 47"/>
                <a:gd name="T15" fmla="*/ 0 h 47"/>
                <a:gd name="T16" fmla="*/ 2147483647 w 47"/>
                <a:gd name="T17" fmla="*/ 0 h 47"/>
                <a:gd name="T18" fmla="*/ 2147483647 w 47"/>
                <a:gd name="T19" fmla="*/ 2147483647 h 47"/>
                <a:gd name="T20" fmla="*/ 2147483647 w 47"/>
                <a:gd name="T21" fmla="*/ 2147483647 h 47"/>
                <a:gd name="T22" fmla="*/ 2147483647 w 47"/>
                <a:gd name="T23" fmla="*/ 2147483647 h 47"/>
                <a:gd name="T24" fmla="*/ 2147483647 w 47"/>
                <a:gd name="T25" fmla="*/ 2147483647 h 47"/>
                <a:gd name="T26" fmla="*/ 2147483647 w 47"/>
                <a:gd name="T27" fmla="*/ 2147483647 h 47"/>
                <a:gd name="T28" fmla="*/ 2147483647 w 47"/>
                <a:gd name="T29" fmla="*/ 2147483647 h 47"/>
                <a:gd name="T30" fmla="*/ 2147483647 w 47"/>
                <a:gd name="T31" fmla="*/ 2147483647 h 47"/>
                <a:gd name="T32" fmla="*/ 2147483647 w 47"/>
                <a:gd name="T33" fmla="*/ 2147483647 h 47"/>
                <a:gd name="T34" fmla="*/ 2147483647 w 47"/>
                <a:gd name="T35" fmla="*/ 2147483647 h 47"/>
                <a:gd name="T36" fmla="*/ 2147483647 w 47"/>
                <a:gd name="T37" fmla="*/ 2147483647 h 47"/>
                <a:gd name="T38" fmla="*/ 2147483647 w 47"/>
                <a:gd name="T39" fmla="*/ 2147483647 h 47"/>
                <a:gd name="T40" fmla="*/ 2147483647 w 47"/>
                <a:gd name="T41" fmla="*/ 2147483647 h 47"/>
                <a:gd name="T42" fmla="*/ 2147483647 w 47"/>
                <a:gd name="T43" fmla="*/ 2147483647 h 47"/>
                <a:gd name="T44" fmla="*/ 2147483647 w 47"/>
                <a:gd name="T45" fmla="*/ 2147483647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7"/>
                <a:gd name="T70" fmla="*/ 0 h 47"/>
                <a:gd name="T71" fmla="*/ 47 w 47"/>
                <a:gd name="T72" fmla="*/ 47 h 47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7" h="47">
                  <a:moveTo>
                    <a:pt x="3" y="30"/>
                  </a:moveTo>
                  <a:cubicBezTo>
                    <a:pt x="2" y="28"/>
                    <a:pt x="0" y="24"/>
                    <a:pt x="0" y="23"/>
                  </a:cubicBezTo>
                  <a:cubicBezTo>
                    <a:pt x="0" y="22"/>
                    <a:pt x="5" y="22"/>
                    <a:pt x="5" y="20"/>
                  </a:cubicBezTo>
                  <a:cubicBezTo>
                    <a:pt x="5" y="19"/>
                    <a:pt x="4" y="16"/>
                    <a:pt x="5" y="15"/>
                  </a:cubicBezTo>
                  <a:cubicBezTo>
                    <a:pt x="6" y="13"/>
                    <a:pt x="8" y="12"/>
                    <a:pt x="8" y="11"/>
                  </a:cubicBezTo>
                  <a:cubicBezTo>
                    <a:pt x="8" y="9"/>
                    <a:pt x="5" y="8"/>
                    <a:pt x="6" y="6"/>
                  </a:cubicBezTo>
                  <a:cubicBezTo>
                    <a:pt x="7" y="5"/>
                    <a:pt x="9" y="2"/>
                    <a:pt x="10" y="0"/>
                  </a:cubicBezTo>
                  <a:cubicBezTo>
                    <a:pt x="11" y="0"/>
                    <a:pt x="26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4" y="4"/>
                    <a:pt x="34" y="5"/>
                    <a:pt x="35" y="8"/>
                  </a:cubicBezTo>
                  <a:cubicBezTo>
                    <a:pt x="36" y="11"/>
                    <a:pt x="41" y="8"/>
                    <a:pt x="44" y="10"/>
                  </a:cubicBezTo>
                  <a:cubicBezTo>
                    <a:pt x="47" y="12"/>
                    <a:pt x="40" y="14"/>
                    <a:pt x="39" y="17"/>
                  </a:cubicBezTo>
                  <a:cubicBezTo>
                    <a:pt x="38" y="19"/>
                    <a:pt x="42" y="21"/>
                    <a:pt x="44" y="24"/>
                  </a:cubicBezTo>
                  <a:cubicBezTo>
                    <a:pt x="46" y="27"/>
                    <a:pt x="43" y="36"/>
                    <a:pt x="40" y="36"/>
                  </a:cubicBezTo>
                  <a:cubicBezTo>
                    <a:pt x="38" y="36"/>
                    <a:pt x="23" y="32"/>
                    <a:pt x="23" y="32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4" y="46"/>
                    <a:pt x="22" y="45"/>
                  </a:cubicBezTo>
                  <a:cubicBezTo>
                    <a:pt x="21" y="44"/>
                    <a:pt x="19" y="46"/>
                    <a:pt x="17" y="47"/>
                  </a:cubicBezTo>
                  <a:cubicBezTo>
                    <a:pt x="15" y="45"/>
                    <a:pt x="14" y="43"/>
                    <a:pt x="12" y="42"/>
                  </a:cubicBezTo>
                  <a:cubicBezTo>
                    <a:pt x="9" y="39"/>
                    <a:pt x="5" y="33"/>
                    <a:pt x="3" y="3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37" name="Freeform 491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6122153" y="4225263"/>
              <a:ext cx="211985" cy="335516"/>
            </a:xfrm>
            <a:custGeom>
              <a:avLst/>
              <a:gdLst>
                <a:gd name="T0" fmla="*/ 0 w 60"/>
                <a:gd name="T1" fmla="*/ 2147483647 h 90"/>
                <a:gd name="T2" fmla="*/ 2147483647 w 60"/>
                <a:gd name="T3" fmla="*/ 2147483647 h 90"/>
                <a:gd name="T4" fmla="*/ 2147483647 w 60"/>
                <a:gd name="T5" fmla="*/ 2147483647 h 90"/>
                <a:gd name="T6" fmla="*/ 2147483647 w 60"/>
                <a:gd name="T7" fmla="*/ 2147483647 h 90"/>
                <a:gd name="T8" fmla="*/ 2147483647 w 60"/>
                <a:gd name="T9" fmla="*/ 2147483647 h 90"/>
                <a:gd name="T10" fmla="*/ 2147483647 w 60"/>
                <a:gd name="T11" fmla="*/ 2147483647 h 90"/>
                <a:gd name="T12" fmla="*/ 2147483647 w 60"/>
                <a:gd name="T13" fmla="*/ 2147483647 h 90"/>
                <a:gd name="T14" fmla="*/ 2147483647 w 60"/>
                <a:gd name="T15" fmla="*/ 2147483647 h 90"/>
                <a:gd name="T16" fmla="*/ 2147483647 w 60"/>
                <a:gd name="T17" fmla="*/ 2147483647 h 90"/>
                <a:gd name="T18" fmla="*/ 2147483647 w 60"/>
                <a:gd name="T19" fmla="*/ 2147483647 h 90"/>
                <a:gd name="T20" fmla="*/ 2147483647 w 60"/>
                <a:gd name="T21" fmla="*/ 2147483647 h 90"/>
                <a:gd name="T22" fmla="*/ 2147483647 w 60"/>
                <a:gd name="T23" fmla="*/ 0 h 90"/>
                <a:gd name="T24" fmla="*/ 2147483647 w 60"/>
                <a:gd name="T25" fmla="*/ 2147483647 h 90"/>
                <a:gd name="T26" fmla="*/ 2147483647 w 60"/>
                <a:gd name="T27" fmla="*/ 2147483647 h 90"/>
                <a:gd name="T28" fmla="*/ 2147483647 w 60"/>
                <a:gd name="T29" fmla="*/ 2147483647 h 90"/>
                <a:gd name="T30" fmla="*/ 2147483647 w 60"/>
                <a:gd name="T31" fmla="*/ 2147483647 h 90"/>
                <a:gd name="T32" fmla="*/ 2147483647 w 60"/>
                <a:gd name="T33" fmla="*/ 2147483647 h 90"/>
                <a:gd name="T34" fmla="*/ 2147483647 w 60"/>
                <a:gd name="T35" fmla="*/ 2147483647 h 90"/>
                <a:gd name="T36" fmla="*/ 2147483647 w 60"/>
                <a:gd name="T37" fmla="*/ 2147483647 h 90"/>
                <a:gd name="T38" fmla="*/ 2147483647 w 60"/>
                <a:gd name="T39" fmla="*/ 2147483647 h 90"/>
                <a:gd name="T40" fmla="*/ 2147483647 w 60"/>
                <a:gd name="T41" fmla="*/ 2147483647 h 90"/>
                <a:gd name="T42" fmla="*/ 2147483647 w 60"/>
                <a:gd name="T43" fmla="*/ 2147483647 h 90"/>
                <a:gd name="T44" fmla="*/ 2147483647 w 60"/>
                <a:gd name="T45" fmla="*/ 2147483647 h 90"/>
                <a:gd name="T46" fmla="*/ 2147483647 w 60"/>
                <a:gd name="T47" fmla="*/ 2147483647 h 90"/>
                <a:gd name="T48" fmla="*/ 2147483647 w 60"/>
                <a:gd name="T49" fmla="*/ 2147483647 h 90"/>
                <a:gd name="T50" fmla="*/ 2147483647 w 60"/>
                <a:gd name="T51" fmla="*/ 2147483647 h 90"/>
                <a:gd name="T52" fmla="*/ 2147483647 w 60"/>
                <a:gd name="T53" fmla="*/ 2147483647 h 90"/>
                <a:gd name="T54" fmla="*/ 2147483647 w 60"/>
                <a:gd name="T55" fmla="*/ 2147483647 h 90"/>
                <a:gd name="T56" fmla="*/ 2147483647 w 60"/>
                <a:gd name="T57" fmla="*/ 2147483647 h 90"/>
                <a:gd name="T58" fmla="*/ 2147483647 w 60"/>
                <a:gd name="T59" fmla="*/ 2147483647 h 90"/>
                <a:gd name="T60" fmla="*/ 0 w 60"/>
                <a:gd name="T61" fmla="*/ 2147483647 h 9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60"/>
                <a:gd name="T94" fmla="*/ 0 h 90"/>
                <a:gd name="T95" fmla="*/ 60 w 60"/>
                <a:gd name="T96" fmla="*/ 90 h 9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60" h="90">
                  <a:moveTo>
                    <a:pt x="0" y="66"/>
                  </a:moveTo>
                  <a:cubicBezTo>
                    <a:pt x="0" y="66"/>
                    <a:pt x="1" y="60"/>
                    <a:pt x="3" y="57"/>
                  </a:cubicBezTo>
                  <a:cubicBezTo>
                    <a:pt x="4" y="55"/>
                    <a:pt x="11" y="48"/>
                    <a:pt x="13" y="48"/>
                  </a:cubicBezTo>
                  <a:cubicBezTo>
                    <a:pt x="15" y="48"/>
                    <a:pt x="16" y="48"/>
                    <a:pt x="18" y="48"/>
                  </a:cubicBezTo>
                  <a:cubicBezTo>
                    <a:pt x="19" y="49"/>
                    <a:pt x="20" y="53"/>
                    <a:pt x="22" y="52"/>
                  </a:cubicBezTo>
                  <a:cubicBezTo>
                    <a:pt x="24" y="51"/>
                    <a:pt x="26" y="43"/>
                    <a:pt x="29" y="39"/>
                  </a:cubicBezTo>
                  <a:cubicBezTo>
                    <a:pt x="32" y="35"/>
                    <a:pt x="36" y="30"/>
                    <a:pt x="36" y="27"/>
                  </a:cubicBezTo>
                  <a:cubicBezTo>
                    <a:pt x="36" y="25"/>
                    <a:pt x="38" y="17"/>
                    <a:pt x="40" y="15"/>
                  </a:cubicBezTo>
                  <a:cubicBezTo>
                    <a:pt x="42" y="14"/>
                    <a:pt x="47" y="13"/>
                    <a:pt x="45" y="10"/>
                  </a:cubicBezTo>
                  <a:cubicBezTo>
                    <a:pt x="44" y="7"/>
                    <a:pt x="42" y="6"/>
                    <a:pt x="42" y="6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4" y="0"/>
                    <a:pt x="45" y="0"/>
                  </a:cubicBezTo>
                  <a:cubicBezTo>
                    <a:pt x="46" y="0"/>
                    <a:pt x="47" y="1"/>
                    <a:pt x="48" y="3"/>
                  </a:cubicBezTo>
                  <a:cubicBezTo>
                    <a:pt x="50" y="6"/>
                    <a:pt x="53" y="5"/>
                    <a:pt x="52" y="9"/>
                  </a:cubicBezTo>
                  <a:cubicBezTo>
                    <a:pt x="51" y="14"/>
                    <a:pt x="55" y="23"/>
                    <a:pt x="55" y="25"/>
                  </a:cubicBezTo>
                  <a:cubicBezTo>
                    <a:pt x="54" y="27"/>
                    <a:pt x="45" y="25"/>
                    <a:pt x="45" y="25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50" y="35"/>
                    <a:pt x="52" y="39"/>
                  </a:cubicBezTo>
                  <a:cubicBezTo>
                    <a:pt x="54" y="41"/>
                    <a:pt x="54" y="43"/>
                    <a:pt x="53" y="44"/>
                  </a:cubicBezTo>
                  <a:cubicBezTo>
                    <a:pt x="53" y="46"/>
                    <a:pt x="51" y="47"/>
                    <a:pt x="50" y="49"/>
                  </a:cubicBezTo>
                  <a:cubicBezTo>
                    <a:pt x="48" y="52"/>
                    <a:pt x="47" y="60"/>
                    <a:pt x="47" y="63"/>
                  </a:cubicBezTo>
                  <a:cubicBezTo>
                    <a:pt x="48" y="67"/>
                    <a:pt x="56" y="77"/>
                    <a:pt x="58" y="79"/>
                  </a:cubicBezTo>
                  <a:cubicBezTo>
                    <a:pt x="58" y="79"/>
                    <a:pt x="59" y="81"/>
                    <a:pt x="59" y="82"/>
                  </a:cubicBezTo>
                  <a:cubicBezTo>
                    <a:pt x="60" y="85"/>
                    <a:pt x="60" y="89"/>
                    <a:pt x="59" y="89"/>
                  </a:cubicBezTo>
                  <a:cubicBezTo>
                    <a:pt x="57" y="90"/>
                    <a:pt x="48" y="85"/>
                    <a:pt x="45" y="85"/>
                  </a:cubicBezTo>
                  <a:cubicBezTo>
                    <a:pt x="44" y="85"/>
                    <a:pt x="41" y="85"/>
                    <a:pt x="37" y="84"/>
                  </a:cubicBezTo>
                  <a:cubicBezTo>
                    <a:pt x="28" y="84"/>
                    <a:pt x="13" y="84"/>
                    <a:pt x="12" y="84"/>
                  </a:cubicBezTo>
                  <a:cubicBezTo>
                    <a:pt x="12" y="84"/>
                    <a:pt x="12" y="83"/>
                    <a:pt x="12" y="83"/>
                  </a:cubicBezTo>
                  <a:cubicBezTo>
                    <a:pt x="12" y="81"/>
                    <a:pt x="13" y="76"/>
                    <a:pt x="10" y="74"/>
                  </a:cubicBezTo>
                  <a:cubicBezTo>
                    <a:pt x="7" y="72"/>
                    <a:pt x="2" y="66"/>
                    <a:pt x="2" y="66"/>
                  </a:cubicBezTo>
                  <a:cubicBezTo>
                    <a:pt x="2" y="66"/>
                    <a:pt x="1" y="66"/>
                    <a:pt x="0" y="6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38" name="Freeform 492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6089223" y="3494316"/>
              <a:ext cx="119370" cy="227672"/>
            </a:xfrm>
            <a:custGeom>
              <a:avLst/>
              <a:gdLst>
                <a:gd name="T0" fmla="*/ 2147483647 w 34"/>
                <a:gd name="T1" fmla="*/ 2147483647 h 61"/>
                <a:gd name="T2" fmla="*/ 2147483647 w 34"/>
                <a:gd name="T3" fmla="*/ 2147483647 h 61"/>
                <a:gd name="T4" fmla="*/ 2147483647 w 34"/>
                <a:gd name="T5" fmla="*/ 2147483647 h 61"/>
                <a:gd name="T6" fmla="*/ 2147483647 w 34"/>
                <a:gd name="T7" fmla="*/ 2147483647 h 61"/>
                <a:gd name="T8" fmla="*/ 2147483647 w 34"/>
                <a:gd name="T9" fmla="*/ 2147483647 h 61"/>
                <a:gd name="T10" fmla="*/ 2147483647 w 34"/>
                <a:gd name="T11" fmla="*/ 2147483647 h 61"/>
                <a:gd name="T12" fmla="*/ 2147483647 w 34"/>
                <a:gd name="T13" fmla="*/ 2147483647 h 61"/>
                <a:gd name="T14" fmla="*/ 2147483647 w 34"/>
                <a:gd name="T15" fmla="*/ 2147483647 h 61"/>
                <a:gd name="T16" fmla="*/ 2147483647 w 34"/>
                <a:gd name="T17" fmla="*/ 2147483647 h 61"/>
                <a:gd name="T18" fmla="*/ 2147483647 w 34"/>
                <a:gd name="T19" fmla="*/ 2147483647 h 61"/>
                <a:gd name="T20" fmla="*/ 2147483647 w 34"/>
                <a:gd name="T21" fmla="*/ 2147483647 h 61"/>
                <a:gd name="T22" fmla="*/ 2147483647 w 34"/>
                <a:gd name="T23" fmla="*/ 2147483647 h 61"/>
                <a:gd name="T24" fmla="*/ 2147483647 w 34"/>
                <a:gd name="T25" fmla="*/ 2147483647 h 61"/>
                <a:gd name="T26" fmla="*/ 2147483647 w 34"/>
                <a:gd name="T27" fmla="*/ 2147483647 h 61"/>
                <a:gd name="T28" fmla="*/ 2147483647 w 34"/>
                <a:gd name="T29" fmla="*/ 2147483647 h 61"/>
                <a:gd name="T30" fmla="*/ 2147483647 w 34"/>
                <a:gd name="T31" fmla="*/ 2147483647 h 61"/>
                <a:gd name="T32" fmla="*/ 2147483647 w 34"/>
                <a:gd name="T33" fmla="*/ 2147483647 h 61"/>
                <a:gd name="T34" fmla="*/ 2147483647 w 34"/>
                <a:gd name="T35" fmla="*/ 2147483647 h 61"/>
                <a:gd name="T36" fmla="*/ 2147483647 w 34"/>
                <a:gd name="T37" fmla="*/ 2147483647 h 61"/>
                <a:gd name="T38" fmla="*/ 2147483647 w 34"/>
                <a:gd name="T39" fmla="*/ 2147483647 h 61"/>
                <a:gd name="T40" fmla="*/ 2147483647 w 34"/>
                <a:gd name="T41" fmla="*/ 2147483647 h 61"/>
                <a:gd name="T42" fmla="*/ 2147483647 w 34"/>
                <a:gd name="T43" fmla="*/ 2147483647 h 61"/>
                <a:gd name="T44" fmla="*/ 2147483647 w 34"/>
                <a:gd name="T45" fmla="*/ 2147483647 h 61"/>
                <a:gd name="T46" fmla="*/ 2147483647 w 34"/>
                <a:gd name="T47" fmla="*/ 2147483647 h 6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4"/>
                <a:gd name="T73" fmla="*/ 0 h 61"/>
                <a:gd name="T74" fmla="*/ 34 w 34"/>
                <a:gd name="T75" fmla="*/ 61 h 6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4" h="61">
                  <a:moveTo>
                    <a:pt x="8" y="40"/>
                  </a:moveTo>
                  <a:cubicBezTo>
                    <a:pt x="7" y="39"/>
                    <a:pt x="4" y="36"/>
                    <a:pt x="2" y="34"/>
                  </a:cubicBezTo>
                  <a:cubicBezTo>
                    <a:pt x="0" y="31"/>
                    <a:pt x="5" y="27"/>
                    <a:pt x="7" y="25"/>
                  </a:cubicBezTo>
                  <a:cubicBezTo>
                    <a:pt x="8" y="24"/>
                    <a:pt x="9" y="14"/>
                    <a:pt x="9" y="12"/>
                  </a:cubicBezTo>
                  <a:cubicBezTo>
                    <a:pt x="9" y="10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2" y="3"/>
                    <a:pt x="15" y="2"/>
                  </a:cubicBezTo>
                  <a:cubicBezTo>
                    <a:pt x="17" y="1"/>
                    <a:pt x="20" y="0"/>
                    <a:pt x="22" y="1"/>
                  </a:cubicBezTo>
                  <a:cubicBezTo>
                    <a:pt x="23" y="1"/>
                    <a:pt x="22" y="6"/>
                    <a:pt x="24" y="6"/>
                  </a:cubicBezTo>
                  <a:cubicBezTo>
                    <a:pt x="25" y="6"/>
                    <a:pt x="29" y="2"/>
                    <a:pt x="30" y="3"/>
                  </a:cubicBezTo>
                  <a:cubicBezTo>
                    <a:pt x="31" y="4"/>
                    <a:pt x="32" y="4"/>
                    <a:pt x="32" y="5"/>
                  </a:cubicBezTo>
                  <a:cubicBezTo>
                    <a:pt x="32" y="6"/>
                    <a:pt x="24" y="10"/>
                    <a:pt x="25" y="11"/>
                  </a:cubicBezTo>
                  <a:cubicBezTo>
                    <a:pt x="27" y="12"/>
                    <a:pt x="30" y="15"/>
                    <a:pt x="30" y="17"/>
                  </a:cubicBezTo>
                  <a:cubicBezTo>
                    <a:pt x="30" y="18"/>
                    <a:pt x="28" y="25"/>
                    <a:pt x="25" y="25"/>
                  </a:cubicBezTo>
                  <a:cubicBezTo>
                    <a:pt x="23" y="26"/>
                    <a:pt x="20" y="28"/>
                    <a:pt x="22" y="30"/>
                  </a:cubicBezTo>
                  <a:cubicBezTo>
                    <a:pt x="23" y="32"/>
                    <a:pt x="28" y="30"/>
                    <a:pt x="29" y="32"/>
                  </a:cubicBezTo>
                  <a:cubicBezTo>
                    <a:pt x="30" y="33"/>
                    <a:pt x="32" y="35"/>
                    <a:pt x="34" y="36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3" y="37"/>
                    <a:pt x="34" y="42"/>
                    <a:pt x="32" y="44"/>
                  </a:cubicBezTo>
                  <a:cubicBezTo>
                    <a:pt x="31" y="45"/>
                    <a:pt x="27" y="50"/>
                    <a:pt x="26" y="51"/>
                  </a:cubicBezTo>
                  <a:cubicBezTo>
                    <a:pt x="24" y="53"/>
                    <a:pt x="26" y="60"/>
                    <a:pt x="25" y="61"/>
                  </a:cubicBezTo>
                  <a:cubicBezTo>
                    <a:pt x="25" y="61"/>
                    <a:pt x="21" y="61"/>
                    <a:pt x="18" y="61"/>
                  </a:cubicBezTo>
                  <a:cubicBezTo>
                    <a:pt x="16" y="56"/>
                    <a:pt x="14" y="48"/>
                    <a:pt x="13" y="47"/>
                  </a:cubicBezTo>
                  <a:cubicBezTo>
                    <a:pt x="13" y="45"/>
                    <a:pt x="8" y="41"/>
                    <a:pt x="8" y="4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39" name="Freeform 493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6140676" y="3628523"/>
              <a:ext cx="432203" cy="414602"/>
            </a:xfrm>
            <a:custGeom>
              <a:avLst/>
              <a:gdLst>
                <a:gd name="T0" fmla="*/ 2147483647 w 123"/>
                <a:gd name="T1" fmla="*/ 2147483647 h 112"/>
                <a:gd name="T2" fmla="*/ 2147483647 w 123"/>
                <a:gd name="T3" fmla="*/ 2147483647 h 112"/>
                <a:gd name="T4" fmla="*/ 2147483647 w 123"/>
                <a:gd name="T5" fmla="*/ 2147483647 h 112"/>
                <a:gd name="T6" fmla="*/ 2147483647 w 123"/>
                <a:gd name="T7" fmla="*/ 2147483647 h 112"/>
                <a:gd name="T8" fmla="*/ 2147483647 w 123"/>
                <a:gd name="T9" fmla="*/ 2147483647 h 112"/>
                <a:gd name="T10" fmla="*/ 2147483647 w 123"/>
                <a:gd name="T11" fmla="*/ 2147483647 h 112"/>
                <a:gd name="T12" fmla="*/ 2147483647 w 123"/>
                <a:gd name="T13" fmla="*/ 0 h 112"/>
                <a:gd name="T14" fmla="*/ 2147483647 w 123"/>
                <a:gd name="T15" fmla="*/ 0 h 112"/>
                <a:gd name="T16" fmla="*/ 2147483647 w 123"/>
                <a:gd name="T17" fmla="*/ 2147483647 h 112"/>
                <a:gd name="T18" fmla="*/ 2147483647 w 123"/>
                <a:gd name="T19" fmla="*/ 2147483647 h 112"/>
                <a:gd name="T20" fmla="*/ 2147483647 w 123"/>
                <a:gd name="T21" fmla="*/ 2147483647 h 112"/>
                <a:gd name="T22" fmla="*/ 2147483647 w 123"/>
                <a:gd name="T23" fmla="*/ 2147483647 h 112"/>
                <a:gd name="T24" fmla="*/ 2147483647 w 123"/>
                <a:gd name="T25" fmla="*/ 2147483647 h 112"/>
                <a:gd name="T26" fmla="*/ 2147483647 w 123"/>
                <a:gd name="T27" fmla="*/ 2147483647 h 112"/>
                <a:gd name="T28" fmla="*/ 2147483647 w 123"/>
                <a:gd name="T29" fmla="*/ 2147483647 h 112"/>
                <a:gd name="T30" fmla="*/ 2147483647 w 123"/>
                <a:gd name="T31" fmla="*/ 2147483647 h 112"/>
                <a:gd name="T32" fmla="*/ 2147483647 w 123"/>
                <a:gd name="T33" fmla="*/ 2147483647 h 112"/>
                <a:gd name="T34" fmla="*/ 2147483647 w 123"/>
                <a:gd name="T35" fmla="*/ 2147483647 h 112"/>
                <a:gd name="T36" fmla="*/ 2147483647 w 123"/>
                <a:gd name="T37" fmla="*/ 2147483647 h 112"/>
                <a:gd name="T38" fmla="*/ 2147483647 w 123"/>
                <a:gd name="T39" fmla="*/ 2147483647 h 112"/>
                <a:gd name="T40" fmla="*/ 2147483647 w 123"/>
                <a:gd name="T41" fmla="*/ 2147483647 h 112"/>
                <a:gd name="T42" fmla="*/ 2147483647 w 123"/>
                <a:gd name="T43" fmla="*/ 2147483647 h 112"/>
                <a:gd name="T44" fmla="*/ 2147483647 w 123"/>
                <a:gd name="T45" fmla="*/ 2147483647 h 112"/>
                <a:gd name="T46" fmla="*/ 2147483647 w 123"/>
                <a:gd name="T47" fmla="*/ 2147483647 h 112"/>
                <a:gd name="T48" fmla="*/ 2147483647 w 123"/>
                <a:gd name="T49" fmla="*/ 2147483647 h 112"/>
                <a:gd name="T50" fmla="*/ 2147483647 w 123"/>
                <a:gd name="T51" fmla="*/ 2147483647 h 112"/>
                <a:gd name="T52" fmla="*/ 2147483647 w 123"/>
                <a:gd name="T53" fmla="*/ 2147483647 h 112"/>
                <a:gd name="T54" fmla="*/ 2147483647 w 123"/>
                <a:gd name="T55" fmla="*/ 2147483647 h 112"/>
                <a:gd name="T56" fmla="*/ 2147483647 w 123"/>
                <a:gd name="T57" fmla="*/ 2147483647 h 112"/>
                <a:gd name="T58" fmla="*/ 2147483647 w 123"/>
                <a:gd name="T59" fmla="*/ 2147483647 h 112"/>
                <a:gd name="T60" fmla="*/ 2147483647 w 123"/>
                <a:gd name="T61" fmla="*/ 2147483647 h 112"/>
                <a:gd name="T62" fmla="*/ 2147483647 w 123"/>
                <a:gd name="T63" fmla="*/ 2147483647 h 112"/>
                <a:gd name="T64" fmla="*/ 2147483647 w 123"/>
                <a:gd name="T65" fmla="*/ 2147483647 h 112"/>
                <a:gd name="T66" fmla="*/ 2147483647 w 123"/>
                <a:gd name="T67" fmla="*/ 2147483647 h 112"/>
                <a:gd name="T68" fmla="*/ 2147483647 w 123"/>
                <a:gd name="T69" fmla="*/ 2147483647 h 112"/>
                <a:gd name="T70" fmla="*/ 2147483647 w 123"/>
                <a:gd name="T71" fmla="*/ 2147483647 h 112"/>
                <a:gd name="T72" fmla="*/ 2147483647 w 123"/>
                <a:gd name="T73" fmla="*/ 2147483647 h 112"/>
                <a:gd name="T74" fmla="*/ 2147483647 w 123"/>
                <a:gd name="T75" fmla="*/ 2147483647 h 112"/>
                <a:gd name="T76" fmla="*/ 2147483647 w 123"/>
                <a:gd name="T77" fmla="*/ 2147483647 h 11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3"/>
                <a:gd name="T118" fmla="*/ 0 h 112"/>
                <a:gd name="T119" fmla="*/ 123 w 123"/>
                <a:gd name="T120" fmla="*/ 112 h 11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3" h="112">
                  <a:moveTo>
                    <a:pt x="6" y="53"/>
                  </a:moveTo>
                  <a:cubicBezTo>
                    <a:pt x="6" y="51"/>
                    <a:pt x="5" y="34"/>
                    <a:pt x="4" y="29"/>
                  </a:cubicBezTo>
                  <a:cubicBezTo>
                    <a:pt x="4" y="28"/>
                    <a:pt x="3" y="27"/>
                    <a:pt x="3" y="25"/>
                  </a:cubicBezTo>
                  <a:cubicBezTo>
                    <a:pt x="6" y="25"/>
                    <a:pt x="10" y="25"/>
                    <a:pt x="10" y="25"/>
                  </a:cubicBezTo>
                  <a:cubicBezTo>
                    <a:pt x="11" y="24"/>
                    <a:pt x="9" y="17"/>
                    <a:pt x="11" y="15"/>
                  </a:cubicBezTo>
                  <a:cubicBezTo>
                    <a:pt x="12" y="14"/>
                    <a:pt x="16" y="9"/>
                    <a:pt x="17" y="8"/>
                  </a:cubicBezTo>
                  <a:cubicBezTo>
                    <a:pt x="19" y="6"/>
                    <a:pt x="18" y="1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1"/>
                    <a:pt x="20" y="1"/>
                    <a:pt x="21" y="1"/>
                  </a:cubicBezTo>
                  <a:cubicBezTo>
                    <a:pt x="23" y="3"/>
                    <a:pt x="30" y="3"/>
                    <a:pt x="32" y="3"/>
                  </a:cubicBezTo>
                  <a:cubicBezTo>
                    <a:pt x="35" y="3"/>
                    <a:pt x="45" y="6"/>
                    <a:pt x="46" y="8"/>
                  </a:cubicBezTo>
                  <a:cubicBezTo>
                    <a:pt x="48" y="9"/>
                    <a:pt x="50" y="15"/>
                    <a:pt x="52" y="16"/>
                  </a:cubicBezTo>
                  <a:cubicBezTo>
                    <a:pt x="54" y="17"/>
                    <a:pt x="62" y="17"/>
                    <a:pt x="65" y="18"/>
                  </a:cubicBezTo>
                  <a:cubicBezTo>
                    <a:pt x="68" y="20"/>
                    <a:pt x="72" y="25"/>
                    <a:pt x="75" y="25"/>
                  </a:cubicBezTo>
                  <a:cubicBezTo>
                    <a:pt x="78" y="25"/>
                    <a:pt x="84" y="22"/>
                    <a:pt x="84" y="19"/>
                  </a:cubicBezTo>
                  <a:cubicBezTo>
                    <a:pt x="84" y="16"/>
                    <a:pt x="81" y="13"/>
                    <a:pt x="84" y="10"/>
                  </a:cubicBezTo>
                  <a:cubicBezTo>
                    <a:pt x="86" y="7"/>
                    <a:pt x="91" y="4"/>
                    <a:pt x="94" y="3"/>
                  </a:cubicBezTo>
                  <a:cubicBezTo>
                    <a:pt x="97" y="3"/>
                    <a:pt x="104" y="4"/>
                    <a:pt x="105" y="4"/>
                  </a:cubicBezTo>
                  <a:cubicBezTo>
                    <a:pt x="106" y="5"/>
                    <a:pt x="105" y="8"/>
                    <a:pt x="106" y="8"/>
                  </a:cubicBezTo>
                  <a:cubicBezTo>
                    <a:pt x="108" y="8"/>
                    <a:pt x="118" y="11"/>
                    <a:pt x="119" y="11"/>
                  </a:cubicBezTo>
                  <a:cubicBezTo>
                    <a:pt x="121" y="11"/>
                    <a:pt x="120" y="15"/>
                    <a:pt x="122" y="15"/>
                  </a:cubicBezTo>
                  <a:cubicBezTo>
                    <a:pt x="122" y="15"/>
                    <a:pt x="123" y="15"/>
                    <a:pt x="123" y="15"/>
                  </a:cubicBezTo>
                  <a:cubicBezTo>
                    <a:pt x="123" y="15"/>
                    <a:pt x="123" y="19"/>
                    <a:pt x="123" y="21"/>
                  </a:cubicBezTo>
                  <a:cubicBezTo>
                    <a:pt x="123" y="23"/>
                    <a:pt x="119" y="23"/>
                    <a:pt x="119" y="26"/>
                  </a:cubicBezTo>
                  <a:cubicBezTo>
                    <a:pt x="119" y="30"/>
                    <a:pt x="121" y="35"/>
                    <a:pt x="121" y="35"/>
                  </a:cubicBezTo>
                  <a:cubicBezTo>
                    <a:pt x="121" y="92"/>
                    <a:pt x="121" y="92"/>
                    <a:pt x="121" y="92"/>
                  </a:cubicBezTo>
                  <a:cubicBezTo>
                    <a:pt x="121" y="109"/>
                    <a:pt x="121" y="109"/>
                    <a:pt x="121" y="109"/>
                  </a:cubicBezTo>
                  <a:cubicBezTo>
                    <a:pt x="113" y="109"/>
                    <a:pt x="113" y="109"/>
                    <a:pt x="113" y="109"/>
                  </a:cubicBezTo>
                  <a:cubicBezTo>
                    <a:pt x="113" y="112"/>
                    <a:pt x="113" y="112"/>
                    <a:pt x="113" y="112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1" y="80"/>
                    <a:pt x="20" y="81"/>
                  </a:cubicBezTo>
                  <a:cubicBezTo>
                    <a:pt x="17" y="73"/>
                    <a:pt x="17" y="73"/>
                    <a:pt x="17" y="73"/>
                  </a:cubicBezTo>
                  <a:cubicBezTo>
                    <a:pt x="16" y="72"/>
                    <a:pt x="10" y="71"/>
                    <a:pt x="8" y="71"/>
                  </a:cubicBezTo>
                  <a:cubicBezTo>
                    <a:pt x="7" y="70"/>
                    <a:pt x="5" y="63"/>
                    <a:pt x="2" y="60"/>
                  </a:cubicBezTo>
                  <a:cubicBezTo>
                    <a:pt x="0" y="58"/>
                    <a:pt x="6" y="55"/>
                    <a:pt x="6" y="5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40" name="Freeform 494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6111862" y="3369696"/>
              <a:ext cx="45278" cy="81483"/>
            </a:xfrm>
            <a:custGeom>
              <a:avLst/>
              <a:gdLst>
                <a:gd name="T0" fmla="*/ 2147483647 w 13"/>
                <a:gd name="T1" fmla="*/ 2147483647 h 22"/>
                <a:gd name="T2" fmla="*/ 2147483647 w 13"/>
                <a:gd name="T3" fmla="*/ 2147483647 h 22"/>
                <a:gd name="T4" fmla="*/ 2147483647 w 13"/>
                <a:gd name="T5" fmla="*/ 2147483647 h 22"/>
                <a:gd name="T6" fmla="*/ 2147483647 w 13"/>
                <a:gd name="T7" fmla="*/ 2147483647 h 22"/>
                <a:gd name="T8" fmla="*/ 2147483647 w 13"/>
                <a:gd name="T9" fmla="*/ 2147483647 h 22"/>
                <a:gd name="T10" fmla="*/ 2147483647 w 13"/>
                <a:gd name="T11" fmla="*/ 2147483647 h 22"/>
                <a:gd name="T12" fmla="*/ 2147483647 w 13"/>
                <a:gd name="T13" fmla="*/ 2147483647 h 22"/>
                <a:gd name="T14" fmla="*/ 2147483647 w 13"/>
                <a:gd name="T15" fmla="*/ 2147483647 h 22"/>
                <a:gd name="T16" fmla="*/ 2147483647 w 13"/>
                <a:gd name="T17" fmla="*/ 2147483647 h 22"/>
                <a:gd name="T18" fmla="*/ 2147483647 w 13"/>
                <a:gd name="T19" fmla="*/ 2147483647 h 22"/>
                <a:gd name="T20" fmla="*/ 2147483647 w 13"/>
                <a:gd name="T21" fmla="*/ 2147483647 h 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3"/>
                <a:gd name="T34" fmla="*/ 0 h 22"/>
                <a:gd name="T35" fmla="*/ 13 w 13"/>
                <a:gd name="T36" fmla="*/ 22 h 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3" h="22">
                  <a:moveTo>
                    <a:pt x="1" y="5"/>
                  </a:moveTo>
                  <a:cubicBezTo>
                    <a:pt x="2" y="3"/>
                    <a:pt x="6" y="4"/>
                    <a:pt x="7" y="3"/>
                  </a:cubicBezTo>
                  <a:cubicBezTo>
                    <a:pt x="8" y="2"/>
                    <a:pt x="10" y="0"/>
                    <a:pt x="11" y="1"/>
                  </a:cubicBezTo>
                  <a:cubicBezTo>
                    <a:pt x="12" y="3"/>
                    <a:pt x="12" y="6"/>
                    <a:pt x="12" y="9"/>
                  </a:cubicBezTo>
                  <a:cubicBezTo>
                    <a:pt x="12" y="11"/>
                    <a:pt x="13" y="19"/>
                    <a:pt x="11" y="18"/>
                  </a:cubicBezTo>
                  <a:cubicBezTo>
                    <a:pt x="10" y="17"/>
                    <a:pt x="9" y="17"/>
                    <a:pt x="8" y="17"/>
                  </a:cubicBezTo>
                  <a:cubicBezTo>
                    <a:pt x="7" y="18"/>
                    <a:pt x="6" y="22"/>
                    <a:pt x="5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3" y="20"/>
                    <a:pt x="2" y="18"/>
                    <a:pt x="3" y="16"/>
                  </a:cubicBezTo>
                  <a:cubicBezTo>
                    <a:pt x="3" y="13"/>
                    <a:pt x="4" y="9"/>
                    <a:pt x="3" y="8"/>
                  </a:cubicBezTo>
                  <a:cubicBezTo>
                    <a:pt x="1" y="7"/>
                    <a:pt x="0" y="7"/>
                    <a:pt x="1" y="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41" name="Freeform 495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5901935" y="3925695"/>
              <a:ext cx="426029" cy="345103"/>
            </a:xfrm>
            <a:custGeom>
              <a:avLst/>
              <a:gdLst>
                <a:gd name="T0" fmla="*/ 2147483647 w 121"/>
                <a:gd name="T1" fmla="*/ 2147483647 h 94"/>
                <a:gd name="T2" fmla="*/ 2147483647 w 121"/>
                <a:gd name="T3" fmla="*/ 2147483647 h 94"/>
                <a:gd name="T4" fmla="*/ 0 w 121"/>
                <a:gd name="T5" fmla="*/ 2147483647 h 94"/>
                <a:gd name="T6" fmla="*/ 2147483647 w 121"/>
                <a:gd name="T7" fmla="*/ 2147483647 h 94"/>
                <a:gd name="T8" fmla="*/ 2147483647 w 121"/>
                <a:gd name="T9" fmla="*/ 2147483647 h 94"/>
                <a:gd name="T10" fmla="*/ 2147483647 w 121"/>
                <a:gd name="T11" fmla="*/ 2147483647 h 94"/>
                <a:gd name="T12" fmla="*/ 2147483647 w 121"/>
                <a:gd name="T13" fmla="*/ 2147483647 h 94"/>
                <a:gd name="T14" fmla="*/ 2147483647 w 121"/>
                <a:gd name="T15" fmla="*/ 2147483647 h 94"/>
                <a:gd name="T16" fmla="*/ 2147483647 w 121"/>
                <a:gd name="T17" fmla="*/ 2147483647 h 94"/>
                <a:gd name="T18" fmla="*/ 2147483647 w 121"/>
                <a:gd name="T19" fmla="*/ 2147483647 h 94"/>
                <a:gd name="T20" fmla="*/ 2147483647 w 121"/>
                <a:gd name="T21" fmla="*/ 2147483647 h 94"/>
                <a:gd name="T22" fmla="*/ 2147483647 w 121"/>
                <a:gd name="T23" fmla="*/ 0 h 94"/>
                <a:gd name="T24" fmla="*/ 2147483647 w 121"/>
                <a:gd name="T25" fmla="*/ 2147483647 h 94"/>
                <a:gd name="T26" fmla="*/ 2147483647 w 121"/>
                <a:gd name="T27" fmla="*/ 2147483647 h 94"/>
                <a:gd name="T28" fmla="*/ 2147483647 w 121"/>
                <a:gd name="T29" fmla="*/ 2147483647 h 94"/>
                <a:gd name="T30" fmla="*/ 2147483647 w 121"/>
                <a:gd name="T31" fmla="*/ 2147483647 h 94"/>
                <a:gd name="T32" fmla="*/ 2147483647 w 121"/>
                <a:gd name="T33" fmla="*/ 2147483647 h 94"/>
                <a:gd name="T34" fmla="*/ 2147483647 w 121"/>
                <a:gd name="T35" fmla="*/ 2147483647 h 94"/>
                <a:gd name="T36" fmla="*/ 2147483647 w 121"/>
                <a:gd name="T37" fmla="*/ 2147483647 h 94"/>
                <a:gd name="T38" fmla="*/ 2147483647 w 121"/>
                <a:gd name="T39" fmla="*/ 2147483647 h 94"/>
                <a:gd name="T40" fmla="*/ 2147483647 w 121"/>
                <a:gd name="T41" fmla="*/ 2147483647 h 94"/>
                <a:gd name="T42" fmla="*/ 2147483647 w 121"/>
                <a:gd name="T43" fmla="*/ 2147483647 h 94"/>
                <a:gd name="T44" fmla="*/ 2147483647 w 121"/>
                <a:gd name="T45" fmla="*/ 2147483647 h 94"/>
                <a:gd name="T46" fmla="*/ 2147483647 w 121"/>
                <a:gd name="T47" fmla="*/ 2147483647 h 94"/>
                <a:gd name="T48" fmla="*/ 2147483647 w 121"/>
                <a:gd name="T49" fmla="*/ 2147483647 h 94"/>
                <a:gd name="T50" fmla="*/ 2147483647 w 121"/>
                <a:gd name="T51" fmla="*/ 2147483647 h 94"/>
                <a:gd name="T52" fmla="*/ 2147483647 w 121"/>
                <a:gd name="T53" fmla="*/ 2147483647 h 94"/>
                <a:gd name="T54" fmla="*/ 2147483647 w 121"/>
                <a:gd name="T55" fmla="*/ 2147483647 h 94"/>
                <a:gd name="T56" fmla="*/ 2147483647 w 121"/>
                <a:gd name="T57" fmla="*/ 2147483647 h 94"/>
                <a:gd name="T58" fmla="*/ 2147483647 w 121"/>
                <a:gd name="T59" fmla="*/ 2147483647 h 94"/>
                <a:gd name="T60" fmla="*/ 2147483647 w 121"/>
                <a:gd name="T61" fmla="*/ 2147483647 h 94"/>
                <a:gd name="T62" fmla="*/ 2147483647 w 121"/>
                <a:gd name="T63" fmla="*/ 2147483647 h 94"/>
                <a:gd name="T64" fmla="*/ 2147483647 w 121"/>
                <a:gd name="T65" fmla="*/ 2147483647 h 9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1"/>
                <a:gd name="T100" fmla="*/ 0 h 94"/>
                <a:gd name="T101" fmla="*/ 121 w 121"/>
                <a:gd name="T102" fmla="*/ 94 h 9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1" h="94">
                  <a:moveTo>
                    <a:pt x="11" y="86"/>
                  </a:moveTo>
                  <a:cubicBezTo>
                    <a:pt x="9" y="84"/>
                    <a:pt x="5" y="81"/>
                    <a:pt x="4" y="79"/>
                  </a:cubicBezTo>
                  <a:cubicBezTo>
                    <a:pt x="2" y="77"/>
                    <a:pt x="0" y="75"/>
                    <a:pt x="0" y="73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3" y="67"/>
                    <a:pt x="6" y="68"/>
                    <a:pt x="7" y="68"/>
                  </a:cubicBezTo>
                  <a:cubicBezTo>
                    <a:pt x="8" y="68"/>
                    <a:pt x="24" y="65"/>
                    <a:pt x="26" y="65"/>
                  </a:cubicBezTo>
                  <a:cubicBezTo>
                    <a:pt x="28" y="65"/>
                    <a:pt x="30" y="55"/>
                    <a:pt x="30" y="53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52" y="24"/>
                    <a:pt x="54" y="22"/>
                  </a:cubicBezTo>
                  <a:cubicBezTo>
                    <a:pt x="55" y="20"/>
                    <a:pt x="81" y="5"/>
                    <a:pt x="88" y="1"/>
                  </a:cubicBezTo>
                  <a:cubicBezTo>
                    <a:pt x="89" y="0"/>
                    <a:pt x="90" y="0"/>
                    <a:pt x="90" y="0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106" y="8"/>
                    <a:pt x="106" y="8"/>
                    <a:pt x="106" y="8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113" y="8"/>
                    <a:pt x="113" y="8"/>
                    <a:pt x="113" y="8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19" y="29"/>
                    <a:pt x="118" y="31"/>
                  </a:cubicBezTo>
                  <a:cubicBezTo>
                    <a:pt x="117" y="33"/>
                    <a:pt x="117" y="52"/>
                    <a:pt x="116" y="53"/>
                  </a:cubicBezTo>
                  <a:cubicBezTo>
                    <a:pt x="116" y="54"/>
                    <a:pt x="102" y="71"/>
                    <a:pt x="102" y="72"/>
                  </a:cubicBezTo>
                  <a:cubicBezTo>
                    <a:pt x="101" y="73"/>
                    <a:pt x="102" y="77"/>
                    <a:pt x="101" y="78"/>
                  </a:cubicBezTo>
                  <a:cubicBezTo>
                    <a:pt x="100" y="79"/>
                    <a:pt x="94" y="83"/>
                    <a:pt x="91" y="83"/>
                  </a:cubicBezTo>
                  <a:cubicBezTo>
                    <a:pt x="88" y="83"/>
                    <a:pt x="82" y="81"/>
                    <a:pt x="80" y="81"/>
                  </a:cubicBezTo>
                  <a:cubicBezTo>
                    <a:pt x="78" y="81"/>
                    <a:pt x="74" y="85"/>
                    <a:pt x="72" y="86"/>
                  </a:cubicBezTo>
                  <a:cubicBezTo>
                    <a:pt x="70" y="87"/>
                    <a:pt x="61" y="82"/>
                    <a:pt x="59" y="81"/>
                  </a:cubicBezTo>
                  <a:cubicBezTo>
                    <a:pt x="57" y="80"/>
                    <a:pt x="51" y="85"/>
                    <a:pt x="51" y="83"/>
                  </a:cubicBezTo>
                  <a:cubicBezTo>
                    <a:pt x="51" y="82"/>
                    <a:pt x="44" y="77"/>
                    <a:pt x="41" y="78"/>
                  </a:cubicBezTo>
                  <a:cubicBezTo>
                    <a:pt x="38" y="78"/>
                    <a:pt x="31" y="78"/>
                    <a:pt x="30" y="81"/>
                  </a:cubicBezTo>
                  <a:cubicBezTo>
                    <a:pt x="28" y="84"/>
                    <a:pt x="27" y="90"/>
                    <a:pt x="26" y="94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4" y="89"/>
                    <a:pt x="13" y="88"/>
                    <a:pt x="11" y="8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42" name="Freeform 496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5971911" y="4208487"/>
              <a:ext cx="314891" cy="277999"/>
            </a:xfrm>
            <a:custGeom>
              <a:avLst/>
              <a:gdLst>
                <a:gd name="T0" fmla="*/ 2147483647 w 90"/>
                <a:gd name="T1" fmla="*/ 2147483647 h 75"/>
                <a:gd name="T2" fmla="*/ 2147483647 w 90"/>
                <a:gd name="T3" fmla="*/ 2147483647 h 75"/>
                <a:gd name="T4" fmla="*/ 2147483647 w 90"/>
                <a:gd name="T5" fmla="*/ 2147483647 h 75"/>
                <a:gd name="T6" fmla="*/ 2147483647 w 90"/>
                <a:gd name="T7" fmla="*/ 2147483647 h 75"/>
                <a:gd name="T8" fmla="*/ 2147483647 w 90"/>
                <a:gd name="T9" fmla="*/ 2147483647 h 75"/>
                <a:gd name="T10" fmla="*/ 2147483647 w 90"/>
                <a:gd name="T11" fmla="*/ 2147483647 h 75"/>
                <a:gd name="T12" fmla="*/ 2147483647 w 90"/>
                <a:gd name="T13" fmla="*/ 2147483647 h 75"/>
                <a:gd name="T14" fmla="*/ 2147483647 w 90"/>
                <a:gd name="T15" fmla="*/ 2147483647 h 75"/>
                <a:gd name="T16" fmla="*/ 2147483647 w 90"/>
                <a:gd name="T17" fmla="*/ 2147483647 h 75"/>
                <a:gd name="T18" fmla="*/ 2147483647 w 90"/>
                <a:gd name="T19" fmla="*/ 2147483647 h 75"/>
                <a:gd name="T20" fmla="*/ 2147483647 w 90"/>
                <a:gd name="T21" fmla="*/ 2147483647 h 75"/>
                <a:gd name="T22" fmla="*/ 2147483647 w 90"/>
                <a:gd name="T23" fmla="*/ 2147483647 h 75"/>
                <a:gd name="T24" fmla="*/ 2147483647 w 90"/>
                <a:gd name="T25" fmla="*/ 2147483647 h 75"/>
                <a:gd name="T26" fmla="*/ 2147483647 w 90"/>
                <a:gd name="T27" fmla="*/ 2147483647 h 75"/>
                <a:gd name="T28" fmla="*/ 2147483647 w 90"/>
                <a:gd name="T29" fmla="*/ 2147483647 h 75"/>
                <a:gd name="T30" fmla="*/ 2147483647 w 90"/>
                <a:gd name="T31" fmla="*/ 2147483647 h 75"/>
                <a:gd name="T32" fmla="*/ 2147483647 w 90"/>
                <a:gd name="T33" fmla="*/ 2147483647 h 75"/>
                <a:gd name="T34" fmla="*/ 2147483647 w 90"/>
                <a:gd name="T35" fmla="*/ 2147483647 h 75"/>
                <a:gd name="T36" fmla="*/ 2147483647 w 90"/>
                <a:gd name="T37" fmla="*/ 2147483647 h 75"/>
                <a:gd name="T38" fmla="*/ 2147483647 w 90"/>
                <a:gd name="T39" fmla="*/ 2147483647 h 75"/>
                <a:gd name="T40" fmla="*/ 2147483647 w 90"/>
                <a:gd name="T41" fmla="*/ 2147483647 h 75"/>
                <a:gd name="T42" fmla="*/ 2147483647 w 90"/>
                <a:gd name="T43" fmla="*/ 2147483647 h 75"/>
                <a:gd name="T44" fmla="*/ 2147483647 w 90"/>
                <a:gd name="T45" fmla="*/ 2147483647 h 75"/>
                <a:gd name="T46" fmla="*/ 2147483647 w 90"/>
                <a:gd name="T47" fmla="*/ 2147483647 h 75"/>
                <a:gd name="T48" fmla="*/ 0 w 90"/>
                <a:gd name="T49" fmla="*/ 2147483647 h 75"/>
                <a:gd name="T50" fmla="*/ 2147483647 w 90"/>
                <a:gd name="T51" fmla="*/ 2147483647 h 75"/>
                <a:gd name="T52" fmla="*/ 2147483647 w 90"/>
                <a:gd name="T53" fmla="*/ 2147483647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90"/>
                <a:gd name="T82" fmla="*/ 0 h 75"/>
                <a:gd name="T83" fmla="*/ 90 w 90"/>
                <a:gd name="T84" fmla="*/ 75 h 7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90" h="75">
                  <a:moveTo>
                    <a:pt x="6" y="17"/>
                  </a:moveTo>
                  <a:cubicBezTo>
                    <a:pt x="7" y="13"/>
                    <a:pt x="8" y="7"/>
                    <a:pt x="10" y="4"/>
                  </a:cubicBezTo>
                  <a:cubicBezTo>
                    <a:pt x="11" y="1"/>
                    <a:pt x="18" y="1"/>
                    <a:pt x="21" y="1"/>
                  </a:cubicBezTo>
                  <a:cubicBezTo>
                    <a:pt x="24" y="0"/>
                    <a:pt x="31" y="5"/>
                    <a:pt x="31" y="6"/>
                  </a:cubicBezTo>
                  <a:cubicBezTo>
                    <a:pt x="31" y="8"/>
                    <a:pt x="37" y="3"/>
                    <a:pt x="39" y="4"/>
                  </a:cubicBezTo>
                  <a:cubicBezTo>
                    <a:pt x="41" y="5"/>
                    <a:pt x="50" y="10"/>
                    <a:pt x="52" y="9"/>
                  </a:cubicBezTo>
                  <a:cubicBezTo>
                    <a:pt x="54" y="8"/>
                    <a:pt x="58" y="4"/>
                    <a:pt x="60" y="4"/>
                  </a:cubicBezTo>
                  <a:cubicBezTo>
                    <a:pt x="62" y="4"/>
                    <a:pt x="68" y="6"/>
                    <a:pt x="71" y="6"/>
                  </a:cubicBezTo>
                  <a:cubicBezTo>
                    <a:pt x="74" y="6"/>
                    <a:pt x="80" y="2"/>
                    <a:pt x="81" y="1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11"/>
                    <a:pt x="87" y="12"/>
                    <a:pt x="88" y="15"/>
                  </a:cubicBezTo>
                  <a:cubicBezTo>
                    <a:pt x="90" y="18"/>
                    <a:pt x="85" y="19"/>
                    <a:pt x="83" y="20"/>
                  </a:cubicBezTo>
                  <a:cubicBezTo>
                    <a:pt x="81" y="22"/>
                    <a:pt x="79" y="30"/>
                    <a:pt x="79" y="32"/>
                  </a:cubicBezTo>
                  <a:cubicBezTo>
                    <a:pt x="79" y="35"/>
                    <a:pt x="75" y="40"/>
                    <a:pt x="72" y="44"/>
                  </a:cubicBezTo>
                  <a:cubicBezTo>
                    <a:pt x="69" y="48"/>
                    <a:pt x="67" y="56"/>
                    <a:pt x="65" y="57"/>
                  </a:cubicBezTo>
                  <a:cubicBezTo>
                    <a:pt x="63" y="58"/>
                    <a:pt x="62" y="54"/>
                    <a:pt x="61" y="53"/>
                  </a:cubicBezTo>
                  <a:cubicBezTo>
                    <a:pt x="59" y="53"/>
                    <a:pt x="58" y="53"/>
                    <a:pt x="56" y="53"/>
                  </a:cubicBezTo>
                  <a:cubicBezTo>
                    <a:pt x="54" y="53"/>
                    <a:pt x="47" y="60"/>
                    <a:pt x="46" y="62"/>
                  </a:cubicBezTo>
                  <a:cubicBezTo>
                    <a:pt x="44" y="65"/>
                    <a:pt x="43" y="71"/>
                    <a:pt x="43" y="71"/>
                  </a:cubicBezTo>
                  <a:cubicBezTo>
                    <a:pt x="40" y="72"/>
                    <a:pt x="36" y="73"/>
                    <a:pt x="34" y="73"/>
                  </a:cubicBezTo>
                  <a:cubicBezTo>
                    <a:pt x="32" y="73"/>
                    <a:pt x="25" y="75"/>
                    <a:pt x="23" y="72"/>
                  </a:cubicBezTo>
                  <a:cubicBezTo>
                    <a:pt x="20" y="70"/>
                    <a:pt x="18" y="60"/>
                    <a:pt x="13" y="58"/>
                  </a:cubicBezTo>
                  <a:cubicBezTo>
                    <a:pt x="11" y="57"/>
                    <a:pt x="6" y="57"/>
                    <a:pt x="1" y="5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5" y="32"/>
                    <a:pt x="7" y="28"/>
                  </a:cubicBezTo>
                  <a:cubicBezTo>
                    <a:pt x="9" y="25"/>
                    <a:pt x="6" y="21"/>
                    <a:pt x="6" y="1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43" name="Freeform 497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5912226" y="4249228"/>
              <a:ext cx="92615" cy="172551"/>
            </a:xfrm>
            <a:custGeom>
              <a:avLst/>
              <a:gdLst>
                <a:gd name="T0" fmla="*/ 2147483647 w 26"/>
                <a:gd name="T1" fmla="*/ 2147483647 h 47"/>
                <a:gd name="T2" fmla="*/ 0 w 26"/>
                <a:gd name="T3" fmla="*/ 2147483647 h 47"/>
                <a:gd name="T4" fmla="*/ 2147483647 w 26"/>
                <a:gd name="T5" fmla="*/ 2147483647 h 47"/>
                <a:gd name="T6" fmla="*/ 2147483647 w 26"/>
                <a:gd name="T7" fmla="*/ 2147483647 h 47"/>
                <a:gd name="T8" fmla="*/ 2147483647 w 26"/>
                <a:gd name="T9" fmla="*/ 2147483647 h 47"/>
                <a:gd name="T10" fmla="*/ 2147483647 w 26"/>
                <a:gd name="T11" fmla="*/ 2147483647 h 47"/>
                <a:gd name="T12" fmla="*/ 2147483647 w 26"/>
                <a:gd name="T13" fmla="*/ 0 h 47"/>
                <a:gd name="T14" fmla="*/ 2147483647 w 26"/>
                <a:gd name="T15" fmla="*/ 2147483647 h 47"/>
                <a:gd name="T16" fmla="*/ 2147483647 w 26"/>
                <a:gd name="T17" fmla="*/ 2147483647 h 47"/>
                <a:gd name="T18" fmla="*/ 2147483647 w 26"/>
                <a:gd name="T19" fmla="*/ 2147483647 h 47"/>
                <a:gd name="T20" fmla="*/ 2147483647 w 26"/>
                <a:gd name="T21" fmla="*/ 2147483647 h 47"/>
                <a:gd name="T22" fmla="*/ 2147483647 w 26"/>
                <a:gd name="T23" fmla="*/ 2147483647 h 47"/>
                <a:gd name="T24" fmla="*/ 2147483647 w 26"/>
                <a:gd name="T25" fmla="*/ 2147483647 h 47"/>
                <a:gd name="T26" fmla="*/ 2147483647 w 26"/>
                <a:gd name="T27" fmla="*/ 2147483647 h 47"/>
                <a:gd name="T28" fmla="*/ 2147483647 w 26"/>
                <a:gd name="T29" fmla="*/ 2147483647 h 4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6"/>
                <a:gd name="T46" fmla="*/ 0 h 47"/>
                <a:gd name="T47" fmla="*/ 26 w 26"/>
                <a:gd name="T48" fmla="*/ 47 h 4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6" h="47">
                  <a:moveTo>
                    <a:pt x="4" y="18"/>
                  </a:moveTo>
                  <a:cubicBezTo>
                    <a:pt x="4" y="18"/>
                    <a:pt x="0" y="17"/>
                    <a:pt x="0" y="14"/>
                  </a:cubicBezTo>
                  <a:cubicBezTo>
                    <a:pt x="0" y="13"/>
                    <a:pt x="0" y="12"/>
                    <a:pt x="1" y="12"/>
                  </a:cubicBezTo>
                  <a:cubicBezTo>
                    <a:pt x="2" y="10"/>
                    <a:pt x="4" y="9"/>
                    <a:pt x="5" y="8"/>
                  </a:cubicBezTo>
                  <a:cubicBezTo>
                    <a:pt x="7" y="7"/>
                    <a:pt x="13" y="7"/>
                    <a:pt x="12" y="4"/>
                  </a:cubicBezTo>
                  <a:cubicBezTo>
                    <a:pt x="12" y="3"/>
                    <a:pt x="12" y="3"/>
                    <a:pt x="12" y="2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10"/>
                    <a:pt x="26" y="14"/>
                    <a:pt x="24" y="17"/>
                  </a:cubicBezTo>
                  <a:cubicBezTo>
                    <a:pt x="22" y="21"/>
                    <a:pt x="17" y="27"/>
                    <a:pt x="17" y="27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5" y="47"/>
                    <a:pt x="11" y="47"/>
                    <a:pt x="9" y="47"/>
                  </a:cubicBezTo>
                  <a:cubicBezTo>
                    <a:pt x="8" y="45"/>
                    <a:pt x="7" y="45"/>
                    <a:pt x="7" y="42"/>
                  </a:cubicBezTo>
                  <a:cubicBezTo>
                    <a:pt x="7" y="39"/>
                    <a:pt x="9" y="28"/>
                    <a:pt x="7" y="26"/>
                  </a:cubicBezTo>
                  <a:cubicBezTo>
                    <a:pt x="6" y="23"/>
                    <a:pt x="4" y="18"/>
                    <a:pt x="4" y="1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44" name="Freeform 498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5883412" y="4289970"/>
              <a:ext cx="59685" cy="141396"/>
            </a:xfrm>
            <a:custGeom>
              <a:avLst/>
              <a:gdLst>
                <a:gd name="T0" fmla="*/ 2147483647 w 17"/>
                <a:gd name="T1" fmla="*/ 2147483647 h 39"/>
                <a:gd name="T2" fmla="*/ 2147483647 w 17"/>
                <a:gd name="T3" fmla="*/ 2147483647 h 39"/>
                <a:gd name="T4" fmla="*/ 2147483647 w 17"/>
                <a:gd name="T5" fmla="*/ 0 h 39"/>
                <a:gd name="T6" fmla="*/ 2147483647 w 17"/>
                <a:gd name="T7" fmla="*/ 0 h 39"/>
                <a:gd name="T8" fmla="*/ 2147483647 w 17"/>
                <a:gd name="T9" fmla="*/ 2147483647 h 39"/>
                <a:gd name="T10" fmla="*/ 2147483647 w 17"/>
                <a:gd name="T11" fmla="*/ 2147483647 h 39"/>
                <a:gd name="T12" fmla="*/ 2147483647 w 17"/>
                <a:gd name="T13" fmla="*/ 2147483647 h 39"/>
                <a:gd name="T14" fmla="*/ 2147483647 w 17"/>
                <a:gd name="T15" fmla="*/ 2147483647 h 39"/>
                <a:gd name="T16" fmla="*/ 2147483647 w 17"/>
                <a:gd name="T17" fmla="*/ 2147483647 h 39"/>
                <a:gd name="T18" fmla="*/ 2147483647 w 17"/>
                <a:gd name="T19" fmla="*/ 2147483647 h 39"/>
                <a:gd name="T20" fmla="*/ 2147483647 w 17"/>
                <a:gd name="T21" fmla="*/ 2147483647 h 39"/>
                <a:gd name="T22" fmla="*/ 2147483647 w 17"/>
                <a:gd name="T23" fmla="*/ 2147483647 h 39"/>
                <a:gd name="T24" fmla="*/ 2147483647 w 17"/>
                <a:gd name="T25" fmla="*/ 2147483647 h 39"/>
                <a:gd name="T26" fmla="*/ 2147483647 w 17"/>
                <a:gd name="T27" fmla="*/ 2147483647 h 39"/>
                <a:gd name="T28" fmla="*/ 2147483647 w 17"/>
                <a:gd name="T29" fmla="*/ 2147483647 h 3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7"/>
                <a:gd name="T46" fmla="*/ 0 h 39"/>
                <a:gd name="T47" fmla="*/ 17 w 17"/>
                <a:gd name="T48" fmla="*/ 39 h 3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7" h="39">
                  <a:moveTo>
                    <a:pt x="3" y="10"/>
                  </a:moveTo>
                  <a:cubicBezTo>
                    <a:pt x="1" y="7"/>
                    <a:pt x="0" y="4"/>
                    <a:pt x="1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5" y="0"/>
                    <a:pt x="9" y="1"/>
                    <a:pt x="9" y="1"/>
                  </a:cubicBezTo>
                  <a:cubicBezTo>
                    <a:pt x="8" y="1"/>
                    <a:pt x="8" y="2"/>
                    <a:pt x="8" y="3"/>
                  </a:cubicBezTo>
                  <a:cubicBezTo>
                    <a:pt x="8" y="6"/>
                    <a:pt x="12" y="7"/>
                    <a:pt x="12" y="7"/>
                  </a:cubicBezTo>
                  <a:cubicBezTo>
                    <a:pt x="12" y="7"/>
                    <a:pt x="14" y="12"/>
                    <a:pt x="15" y="15"/>
                  </a:cubicBezTo>
                  <a:cubicBezTo>
                    <a:pt x="17" y="17"/>
                    <a:pt x="15" y="28"/>
                    <a:pt x="15" y="31"/>
                  </a:cubicBezTo>
                  <a:cubicBezTo>
                    <a:pt x="15" y="34"/>
                    <a:pt x="16" y="34"/>
                    <a:pt x="17" y="36"/>
                  </a:cubicBezTo>
                  <a:cubicBezTo>
                    <a:pt x="13" y="37"/>
                    <a:pt x="12" y="38"/>
                    <a:pt x="10" y="39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39"/>
                    <a:pt x="8" y="35"/>
                    <a:pt x="7" y="32"/>
                  </a:cubicBezTo>
                  <a:cubicBezTo>
                    <a:pt x="6" y="30"/>
                    <a:pt x="7" y="23"/>
                    <a:pt x="7" y="20"/>
                  </a:cubicBezTo>
                  <a:cubicBezTo>
                    <a:pt x="7" y="17"/>
                    <a:pt x="5" y="12"/>
                    <a:pt x="3" y="1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45" name="Freeform 499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5807262" y="4289970"/>
              <a:ext cx="113196" cy="177344"/>
            </a:xfrm>
            <a:custGeom>
              <a:avLst/>
              <a:gdLst>
                <a:gd name="T0" fmla="*/ 2147483647 w 32"/>
                <a:gd name="T1" fmla="*/ 0 h 48"/>
                <a:gd name="T2" fmla="*/ 2147483647 w 32"/>
                <a:gd name="T3" fmla="*/ 0 h 48"/>
                <a:gd name="T4" fmla="*/ 2147483647 w 32"/>
                <a:gd name="T5" fmla="*/ 0 h 48"/>
                <a:gd name="T6" fmla="*/ 2147483647 w 32"/>
                <a:gd name="T7" fmla="*/ 2147483647 h 48"/>
                <a:gd name="T8" fmla="*/ 2147483647 w 32"/>
                <a:gd name="T9" fmla="*/ 2147483647 h 48"/>
                <a:gd name="T10" fmla="*/ 2147483647 w 32"/>
                <a:gd name="T11" fmla="*/ 2147483647 h 48"/>
                <a:gd name="T12" fmla="*/ 2147483647 w 32"/>
                <a:gd name="T13" fmla="*/ 2147483647 h 48"/>
                <a:gd name="T14" fmla="*/ 2147483647 w 32"/>
                <a:gd name="T15" fmla="*/ 2147483647 h 48"/>
                <a:gd name="T16" fmla="*/ 2147483647 w 32"/>
                <a:gd name="T17" fmla="*/ 2147483647 h 48"/>
                <a:gd name="T18" fmla="*/ 2147483647 w 32"/>
                <a:gd name="T19" fmla="*/ 2147483647 h 48"/>
                <a:gd name="T20" fmla="*/ 2147483647 w 32"/>
                <a:gd name="T21" fmla="*/ 2147483647 h 48"/>
                <a:gd name="T22" fmla="*/ 2147483647 w 32"/>
                <a:gd name="T23" fmla="*/ 2147483647 h 48"/>
                <a:gd name="T24" fmla="*/ 2147483647 w 32"/>
                <a:gd name="T25" fmla="*/ 2147483647 h 48"/>
                <a:gd name="T26" fmla="*/ 2147483647 w 32"/>
                <a:gd name="T27" fmla="*/ 2147483647 h 48"/>
                <a:gd name="T28" fmla="*/ 2147483647 w 32"/>
                <a:gd name="T29" fmla="*/ 2147483647 h 48"/>
                <a:gd name="T30" fmla="*/ 2147483647 w 32"/>
                <a:gd name="T31" fmla="*/ 2147483647 h 48"/>
                <a:gd name="T32" fmla="*/ 2147483647 w 32"/>
                <a:gd name="T33" fmla="*/ 2147483647 h 48"/>
                <a:gd name="T34" fmla="*/ 2147483647 w 32"/>
                <a:gd name="T35" fmla="*/ 0 h 4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2"/>
                <a:gd name="T55" fmla="*/ 0 h 48"/>
                <a:gd name="T56" fmla="*/ 32 w 32"/>
                <a:gd name="T57" fmla="*/ 48 h 4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2" h="48">
                  <a:moveTo>
                    <a:pt x="4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1" y="0"/>
                    <a:pt x="23" y="0"/>
                  </a:cubicBezTo>
                  <a:cubicBezTo>
                    <a:pt x="23" y="0"/>
                    <a:pt x="23" y="0"/>
                    <a:pt x="23" y="3"/>
                  </a:cubicBezTo>
                  <a:cubicBezTo>
                    <a:pt x="22" y="4"/>
                    <a:pt x="23" y="7"/>
                    <a:pt x="25" y="10"/>
                  </a:cubicBezTo>
                  <a:cubicBezTo>
                    <a:pt x="27" y="12"/>
                    <a:pt x="29" y="17"/>
                    <a:pt x="29" y="20"/>
                  </a:cubicBezTo>
                  <a:cubicBezTo>
                    <a:pt x="29" y="23"/>
                    <a:pt x="28" y="30"/>
                    <a:pt x="29" y="32"/>
                  </a:cubicBezTo>
                  <a:cubicBezTo>
                    <a:pt x="30" y="35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40"/>
                    <a:pt x="31" y="40"/>
                    <a:pt x="30" y="40"/>
                  </a:cubicBezTo>
                  <a:cubicBezTo>
                    <a:pt x="28" y="41"/>
                    <a:pt x="12" y="48"/>
                    <a:pt x="10" y="48"/>
                  </a:cubicBezTo>
                  <a:cubicBezTo>
                    <a:pt x="9" y="48"/>
                    <a:pt x="6" y="48"/>
                    <a:pt x="3" y="47"/>
                  </a:cubicBezTo>
                  <a:cubicBezTo>
                    <a:pt x="3" y="46"/>
                    <a:pt x="4" y="41"/>
                    <a:pt x="4" y="40"/>
                  </a:cubicBezTo>
                  <a:cubicBezTo>
                    <a:pt x="4" y="38"/>
                    <a:pt x="2" y="36"/>
                    <a:pt x="1" y="33"/>
                  </a:cubicBezTo>
                  <a:cubicBezTo>
                    <a:pt x="0" y="29"/>
                    <a:pt x="5" y="22"/>
                    <a:pt x="6" y="19"/>
                  </a:cubicBezTo>
                  <a:cubicBezTo>
                    <a:pt x="6" y="17"/>
                    <a:pt x="5" y="13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46" name="Freeform 500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6126269" y="3316972"/>
              <a:ext cx="26755" cy="43138"/>
            </a:xfrm>
            <a:custGeom>
              <a:avLst/>
              <a:gdLst>
                <a:gd name="T0" fmla="*/ 2147483647 w 8"/>
                <a:gd name="T1" fmla="*/ 2147483647 h 12"/>
                <a:gd name="T2" fmla="*/ 0 w 8"/>
                <a:gd name="T3" fmla="*/ 2147483647 h 12"/>
                <a:gd name="T4" fmla="*/ 2147483647 w 8"/>
                <a:gd name="T5" fmla="*/ 0 h 12"/>
                <a:gd name="T6" fmla="*/ 2147483647 w 8"/>
                <a:gd name="T7" fmla="*/ 2147483647 h 12"/>
                <a:gd name="T8" fmla="*/ 2147483647 w 8"/>
                <a:gd name="T9" fmla="*/ 2147483647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12"/>
                <a:gd name="T17" fmla="*/ 8 w 8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12">
                  <a:moveTo>
                    <a:pt x="4" y="11"/>
                  </a:moveTo>
                  <a:cubicBezTo>
                    <a:pt x="2" y="11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8" y="1"/>
                    <a:pt x="7" y="4"/>
                  </a:cubicBezTo>
                  <a:cubicBezTo>
                    <a:pt x="6" y="6"/>
                    <a:pt x="6" y="12"/>
                    <a:pt x="4" y="1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47" name="Freeform 501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5743461" y="4172539"/>
              <a:ext cx="214043" cy="158172"/>
            </a:xfrm>
            <a:custGeom>
              <a:avLst/>
              <a:gdLst>
                <a:gd name="T0" fmla="*/ 0 w 61"/>
                <a:gd name="T1" fmla="*/ 2147483647 h 43"/>
                <a:gd name="T2" fmla="*/ 2147483647 w 61"/>
                <a:gd name="T3" fmla="*/ 2147483647 h 43"/>
                <a:gd name="T4" fmla="*/ 2147483647 w 61"/>
                <a:gd name="T5" fmla="*/ 2147483647 h 43"/>
                <a:gd name="T6" fmla="*/ 2147483647 w 61"/>
                <a:gd name="T7" fmla="*/ 2147483647 h 43"/>
                <a:gd name="T8" fmla="*/ 2147483647 w 61"/>
                <a:gd name="T9" fmla="*/ 2147483647 h 43"/>
                <a:gd name="T10" fmla="*/ 2147483647 w 61"/>
                <a:gd name="T11" fmla="*/ 2147483647 h 43"/>
                <a:gd name="T12" fmla="*/ 2147483647 w 61"/>
                <a:gd name="T13" fmla="*/ 2147483647 h 43"/>
                <a:gd name="T14" fmla="*/ 2147483647 w 61"/>
                <a:gd name="T15" fmla="*/ 0 h 43"/>
                <a:gd name="T16" fmla="*/ 2147483647 w 61"/>
                <a:gd name="T17" fmla="*/ 0 h 43"/>
                <a:gd name="T18" fmla="*/ 2147483647 w 61"/>
                <a:gd name="T19" fmla="*/ 2147483647 h 43"/>
                <a:gd name="T20" fmla="*/ 2147483647 w 61"/>
                <a:gd name="T21" fmla="*/ 2147483647 h 43"/>
                <a:gd name="T22" fmla="*/ 2147483647 w 61"/>
                <a:gd name="T23" fmla="*/ 2147483647 h 43"/>
                <a:gd name="T24" fmla="*/ 2147483647 w 61"/>
                <a:gd name="T25" fmla="*/ 2147483647 h 43"/>
                <a:gd name="T26" fmla="*/ 2147483647 w 61"/>
                <a:gd name="T27" fmla="*/ 2147483647 h 43"/>
                <a:gd name="T28" fmla="*/ 2147483647 w 61"/>
                <a:gd name="T29" fmla="*/ 2147483647 h 43"/>
                <a:gd name="T30" fmla="*/ 2147483647 w 61"/>
                <a:gd name="T31" fmla="*/ 2147483647 h 43"/>
                <a:gd name="T32" fmla="*/ 2147483647 w 61"/>
                <a:gd name="T33" fmla="*/ 2147483647 h 43"/>
                <a:gd name="T34" fmla="*/ 2147483647 w 61"/>
                <a:gd name="T35" fmla="*/ 2147483647 h 43"/>
                <a:gd name="T36" fmla="*/ 2147483647 w 61"/>
                <a:gd name="T37" fmla="*/ 2147483647 h 43"/>
                <a:gd name="T38" fmla="*/ 2147483647 w 61"/>
                <a:gd name="T39" fmla="*/ 2147483647 h 43"/>
                <a:gd name="T40" fmla="*/ 2147483647 w 61"/>
                <a:gd name="T41" fmla="*/ 2147483647 h 43"/>
                <a:gd name="T42" fmla="*/ 2147483647 w 61"/>
                <a:gd name="T43" fmla="*/ 2147483647 h 43"/>
                <a:gd name="T44" fmla="*/ 2147483647 w 61"/>
                <a:gd name="T45" fmla="*/ 2147483647 h 43"/>
                <a:gd name="T46" fmla="*/ 2147483647 w 61"/>
                <a:gd name="T47" fmla="*/ 2147483647 h 43"/>
                <a:gd name="T48" fmla="*/ 0 w 61"/>
                <a:gd name="T49" fmla="*/ 2147483647 h 4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1"/>
                <a:gd name="T76" fmla="*/ 0 h 43"/>
                <a:gd name="T77" fmla="*/ 61 w 61"/>
                <a:gd name="T78" fmla="*/ 43 h 4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1" h="43">
                  <a:moveTo>
                    <a:pt x="0" y="37"/>
                  </a:moveTo>
                  <a:cubicBezTo>
                    <a:pt x="0" y="37"/>
                    <a:pt x="1" y="29"/>
                    <a:pt x="3" y="27"/>
                  </a:cubicBezTo>
                  <a:cubicBezTo>
                    <a:pt x="5" y="25"/>
                    <a:pt x="8" y="22"/>
                    <a:pt x="9" y="21"/>
                  </a:cubicBezTo>
                  <a:cubicBezTo>
                    <a:pt x="11" y="20"/>
                    <a:pt x="7" y="17"/>
                    <a:pt x="8" y="16"/>
                  </a:cubicBezTo>
                  <a:cubicBezTo>
                    <a:pt x="9" y="15"/>
                    <a:pt x="14" y="12"/>
                    <a:pt x="14" y="12"/>
                  </a:cubicBezTo>
                  <a:cubicBezTo>
                    <a:pt x="14" y="12"/>
                    <a:pt x="17" y="16"/>
                    <a:pt x="18" y="15"/>
                  </a:cubicBezTo>
                  <a:cubicBezTo>
                    <a:pt x="19" y="15"/>
                    <a:pt x="23" y="9"/>
                    <a:pt x="25" y="7"/>
                  </a:cubicBezTo>
                  <a:cubicBezTo>
                    <a:pt x="27" y="5"/>
                    <a:pt x="36" y="0"/>
                    <a:pt x="39" y="0"/>
                  </a:cubicBezTo>
                  <a:cubicBezTo>
                    <a:pt x="40" y="0"/>
                    <a:pt x="43" y="0"/>
                    <a:pt x="46" y="0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8"/>
                    <a:pt x="47" y="10"/>
                    <a:pt x="49" y="12"/>
                  </a:cubicBezTo>
                  <a:cubicBezTo>
                    <a:pt x="50" y="14"/>
                    <a:pt x="54" y="17"/>
                    <a:pt x="56" y="19"/>
                  </a:cubicBezTo>
                  <a:cubicBezTo>
                    <a:pt x="58" y="21"/>
                    <a:pt x="59" y="22"/>
                    <a:pt x="60" y="23"/>
                  </a:cubicBezTo>
                  <a:cubicBezTo>
                    <a:pt x="60" y="24"/>
                    <a:pt x="60" y="24"/>
                    <a:pt x="60" y="25"/>
                  </a:cubicBezTo>
                  <a:cubicBezTo>
                    <a:pt x="61" y="28"/>
                    <a:pt x="55" y="28"/>
                    <a:pt x="53" y="29"/>
                  </a:cubicBezTo>
                  <a:cubicBezTo>
                    <a:pt x="52" y="30"/>
                    <a:pt x="50" y="31"/>
                    <a:pt x="49" y="33"/>
                  </a:cubicBezTo>
                  <a:cubicBezTo>
                    <a:pt x="49" y="33"/>
                    <a:pt x="45" y="32"/>
                    <a:pt x="43" y="32"/>
                  </a:cubicBezTo>
                  <a:cubicBezTo>
                    <a:pt x="42" y="32"/>
                    <a:pt x="41" y="32"/>
                    <a:pt x="41" y="32"/>
                  </a:cubicBezTo>
                  <a:cubicBezTo>
                    <a:pt x="39" y="32"/>
                    <a:pt x="38" y="32"/>
                    <a:pt x="38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0" y="42"/>
                    <a:pt x="19" y="42"/>
                    <a:pt x="18" y="42"/>
                  </a:cubicBezTo>
                  <a:cubicBezTo>
                    <a:pt x="15" y="41"/>
                    <a:pt x="12" y="43"/>
                    <a:pt x="9" y="43"/>
                  </a:cubicBezTo>
                  <a:cubicBezTo>
                    <a:pt x="7" y="43"/>
                    <a:pt x="2" y="37"/>
                    <a:pt x="0" y="3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48" name="Freeform 502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5663194" y="3508696"/>
              <a:ext cx="549515" cy="548809"/>
            </a:xfrm>
            <a:custGeom>
              <a:avLst/>
              <a:gdLst>
                <a:gd name="T0" fmla="*/ 2147483647 w 156"/>
                <a:gd name="T1" fmla="*/ 2147483647 h 149"/>
                <a:gd name="T2" fmla="*/ 0 w 156"/>
                <a:gd name="T3" fmla="*/ 2147483647 h 149"/>
                <a:gd name="T4" fmla="*/ 0 w 156"/>
                <a:gd name="T5" fmla="*/ 2147483647 h 149"/>
                <a:gd name="T6" fmla="*/ 2147483647 w 156"/>
                <a:gd name="T7" fmla="*/ 2147483647 h 149"/>
                <a:gd name="T8" fmla="*/ 2147483647 w 156"/>
                <a:gd name="T9" fmla="*/ 2147483647 h 149"/>
                <a:gd name="T10" fmla="*/ 2147483647 w 156"/>
                <a:gd name="T11" fmla="*/ 2147483647 h 149"/>
                <a:gd name="T12" fmla="*/ 2147483647 w 156"/>
                <a:gd name="T13" fmla="*/ 2147483647 h 149"/>
                <a:gd name="T14" fmla="*/ 2147483647 w 156"/>
                <a:gd name="T15" fmla="*/ 2147483647 h 149"/>
                <a:gd name="T16" fmla="*/ 2147483647 w 156"/>
                <a:gd name="T17" fmla="*/ 2147483647 h 149"/>
                <a:gd name="T18" fmla="*/ 2147483647 w 156"/>
                <a:gd name="T19" fmla="*/ 2147483647 h 149"/>
                <a:gd name="T20" fmla="*/ 2147483647 w 156"/>
                <a:gd name="T21" fmla="*/ 2147483647 h 149"/>
                <a:gd name="T22" fmla="*/ 2147483647 w 156"/>
                <a:gd name="T23" fmla="*/ 2147483647 h 149"/>
                <a:gd name="T24" fmla="*/ 2147483647 w 156"/>
                <a:gd name="T25" fmla="*/ 2147483647 h 149"/>
                <a:gd name="T26" fmla="*/ 2147483647 w 156"/>
                <a:gd name="T27" fmla="*/ 2147483647 h 149"/>
                <a:gd name="T28" fmla="*/ 2147483647 w 156"/>
                <a:gd name="T29" fmla="*/ 2147483647 h 149"/>
                <a:gd name="T30" fmla="*/ 2147483647 w 156"/>
                <a:gd name="T31" fmla="*/ 2147483647 h 149"/>
                <a:gd name="T32" fmla="*/ 2147483647 w 156"/>
                <a:gd name="T33" fmla="*/ 2147483647 h 149"/>
                <a:gd name="T34" fmla="*/ 2147483647 w 156"/>
                <a:gd name="T35" fmla="*/ 2147483647 h 149"/>
                <a:gd name="T36" fmla="*/ 2147483647 w 156"/>
                <a:gd name="T37" fmla="*/ 2147483647 h 149"/>
                <a:gd name="T38" fmla="*/ 2147483647 w 156"/>
                <a:gd name="T39" fmla="*/ 2147483647 h 149"/>
                <a:gd name="T40" fmla="*/ 2147483647 w 156"/>
                <a:gd name="T41" fmla="*/ 2147483647 h 149"/>
                <a:gd name="T42" fmla="*/ 2147483647 w 156"/>
                <a:gd name="T43" fmla="*/ 0 h 149"/>
                <a:gd name="T44" fmla="*/ 2147483647 w 156"/>
                <a:gd name="T45" fmla="*/ 0 h 149"/>
                <a:gd name="T46" fmla="*/ 2147483647 w 156"/>
                <a:gd name="T47" fmla="*/ 0 h 149"/>
                <a:gd name="T48" fmla="*/ 2147483647 w 156"/>
                <a:gd name="T49" fmla="*/ 2147483647 h 149"/>
                <a:gd name="T50" fmla="*/ 2147483647 w 156"/>
                <a:gd name="T51" fmla="*/ 2147483647 h 149"/>
                <a:gd name="T52" fmla="*/ 2147483647 w 156"/>
                <a:gd name="T53" fmla="*/ 2147483647 h 149"/>
                <a:gd name="T54" fmla="*/ 2147483647 w 156"/>
                <a:gd name="T55" fmla="*/ 2147483647 h 149"/>
                <a:gd name="T56" fmla="*/ 2147483647 w 156"/>
                <a:gd name="T57" fmla="*/ 2147483647 h 149"/>
                <a:gd name="T58" fmla="*/ 2147483647 w 156"/>
                <a:gd name="T59" fmla="*/ 2147483647 h 149"/>
                <a:gd name="T60" fmla="*/ 2147483647 w 156"/>
                <a:gd name="T61" fmla="*/ 2147483647 h 149"/>
                <a:gd name="T62" fmla="*/ 2147483647 w 156"/>
                <a:gd name="T63" fmla="*/ 2147483647 h 149"/>
                <a:gd name="T64" fmla="*/ 2147483647 w 156"/>
                <a:gd name="T65" fmla="*/ 2147483647 h 149"/>
                <a:gd name="T66" fmla="*/ 2147483647 w 156"/>
                <a:gd name="T67" fmla="*/ 2147483647 h 149"/>
                <a:gd name="T68" fmla="*/ 2147483647 w 156"/>
                <a:gd name="T69" fmla="*/ 2147483647 h 149"/>
                <a:gd name="T70" fmla="*/ 2147483647 w 156"/>
                <a:gd name="T71" fmla="*/ 2147483647 h 149"/>
                <a:gd name="T72" fmla="*/ 2147483647 w 156"/>
                <a:gd name="T73" fmla="*/ 2147483647 h 149"/>
                <a:gd name="T74" fmla="*/ 2147483647 w 156"/>
                <a:gd name="T75" fmla="*/ 2147483647 h 149"/>
                <a:gd name="T76" fmla="*/ 2147483647 w 156"/>
                <a:gd name="T77" fmla="*/ 2147483647 h 149"/>
                <a:gd name="T78" fmla="*/ 2147483647 w 156"/>
                <a:gd name="T79" fmla="*/ 2147483647 h 149"/>
                <a:gd name="T80" fmla="*/ 2147483647 w 156"/>
                <a:gd name="T81" fmla="*/ 2147483647 h 149"/>
                <a:gd name="T82" fmla="*/ 2147483647 w 156"/>
                <a:gd name="T83" fmla="*/ 2147483647 h 149"/>
                <a:gd name="T84" fmla="*/ 2147483647 w 156"/>
                <a:gd name="T85" fmla="*/ 2147483647 h 149"/>
                <a:gd name="T86" fmla="*/ 2147483647 w 156"/>
                <a:gd name="T87" fmla="*/ 2147483647 h 14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56"/>
                <a:gd name="T133" fmla="*/ 0 h 149"/>
                <a:gd name="T134" fmla="*/ 156 w 156"/>
                <a:gd name="T135" fmla="*/ 149 h 14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56" h="149">
                  <a:moveTo>
                    <a:pt x="29" y="103"/>
                  </a:moveTo>
                  <a:cubicBezTo>
                    <a:pt x="0" y="84"/>
                    <a:pt x="0" y="84"/>
                    <a:pt x="0" y="84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1" y="71"/>
                    <a:pt x="10" y="64"/>
                    <a:pt x="13" y="63"/>
                  </a:cubicBezTo>
                  <a:cubicBezTo>
                    <a:pt x="16" y="63"/>
                    <a:pt x="25" y="63"/>
                    <a:pt x="26" y="61"/>
                  </a:cubicBezTo>
                  <a:cubicBezTo>
                    <a:pt x="28" y="60"/>
                    <a:pt x="27" y="55"/>
                    <a:pt x="29" y="55"/>
                  </a:cubicBezTo>
                  <a:cubicBezTo>
                    <a:pt x="32" y="55"/>
                    <a:pt x="36" y="53"/>
                    <a:pt x="38" y="52"/>
                  </a:cubicBezTo>
                  <a:cubicBezTo>
                    <a:pt x="40" y="52"/>
                    <a:pt x="37" y="47"/>
                    <a:pt x="39" y="45"/>
                  </a:cubicBezTo>
                  <a:cubicBezTo>
                    <a:pt x="41" y="44"/>
                    <a:pt x="57" y="42"/>
                    <a:pt x="57" y="42"/>
                  </a:cubicBezTo>
                  <a:cubicBezTo>
                    <a:pt x="57" y="42"/>
                    <a:pt x="58" y="38"/>
                    <a:pt x="58" y="37"/>
                  </a:cubicBezTo>
                  <a:cubicBezTo>
                    <a:pt x="58" y="35"/>
                    <a:pt x="53" y="32"/>
                    <a:pt x="53" y="28"/>
                  </a:cubicBezTo>
                  <a:cubicBezTo>
                    <a:pt x="53" y="25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2" y="17"/>
                    <a:pt x="53" y="16"/>
                    <a:pt x="55" y="16"/>
                  </a:cubicBezTo>
                  <a:cubicBezTo>
                    <a:pt x="58" y="16"/>
                    <a:pt x="59" y="13"/>
                    <a:pt x="62" y="11"/>
                  </a:cubicBezTo>
                  <a:cubicBezTo>
                    <a:pt x="65" y="9"/>
                    <a:pt x="70" y="6"/>
                    <a:pt x="74" y="5"/>
                  </a:cubicBezTo>
                  <a:cubicBezTo>
                    <a:pt x="78" y="5"/>
                    <a:pt x="82" y="4"/>
                    <a:pt x="85" y="4"/>
                  </a:cubicBezTo>
                  <a:cubicBezTo>
                    <a:pt x="89" y="4"/>
                    <a:pt x="93" y="1"/>
                    <a:pt x="94" y="1"/>
                  </a:cubicBezTo>
                  <a:cubicBezTo>
                    <a:pt x="96" y="1"/>
                    <a:pt x="101" y="1"/>
                    <a:pt x="102" y="1"/>
                  </a:cubicBezTo>
                  <a:cubicBezTo>
                    <a:pt x="103" y="1"/>
                    <a:pt x="103" y="4"/>
                    <a:pt x="108" y="4"/>
                  </a:cubicBezTo>
                  <a:cubicBezTo>
                    <a:pt x="112" y="4"/>
                    <a:pt x="113" y="1"/>
                    <a:pt x="115" y="0"/>
                  </a:cubicBezTo>
                  <a:cubicBezTo>
                    <a:pt x="117" y="0"/>
                    <a:pt x="121" y="0"/>
                    <a:pt x="123" y="0"/>
                  </a:cubicBezTo>
                  <a:cubicBezTo>
                    <a:pt x="125" y="1"/>
                    <a:pt x="130" y="1"/>
                    <a:pt x="131" y="0"/>
                  </a:cubicBezTo>
                  <a:cubicBezTo>
                    <a:pt x="131" y="0"/>
                    <a:pt x="130" y="7"/>
                    <a:pt x="130" y="9"/>
                  </a:cubicBezTo>
                  <a:cubicBezTo>
                    <a:pt x="130" y="11"/>
                    <a:pt x="129" y="21"/>
                    <a:pt x="128" y="22"/>
                  </a:cubicBezTo>
                  <a:cubicBezTo>
                    <a:pt x="126" y="24"/>
                    <a:pt x="121" y="28"/>
                    <a:pt x="123" y="31"/>
                  </a:cubicBezTo>
                  <a:cubicBezTo>
                    <a:pt x="125" y="33"/>
                    <a:pt x="128" y="36"/>
                    <a:pt x="129" y="37"/>
                  </a:cubicBezTo>
                  <a:cubicBezTo>
                    <a:pt x="129" y="38"/>
                    <a:pt x="134" y="42"/>
                    <a:pt x="134" y="44"/>
                  </a:cubicBezTo>
                  <a:cubicBezTo>
                    <a:pt x="135" y="45"/>
                    <a:pt x="137" y="53"/>
                    <a:pt x="139" y="58"/>
                  </a:cubicBezTo>
                  <a:cubicBezTo>
                    <a:pt x="139" y="60"/>
                    <a:pt x="140" y="61"/>
                    <a:pt x="140" y="62"/>
                  </a:cubicBezTo>
                  <a:cubicBezTo>
                    <a:pt x="141" y="67"/>
                    <a:pt x="142" y="84"/>
                    <a:pt x="142" y="86"/>
                  </a:cubicBezTo>
                  <a:cubicBezTo>
                    <a:pt x="142" y="88"/>
                    <a:pt x="136" y="91"/>
                    <a:pt x="138" y="93"/>
                  </a:cubicBezTo>
                  <a:cubicBezTo>
                    <a:pt x="141" y="96"/>
                    <a:pt x="143" y="103"/>
                    <a:pt x="144" y="104"/>
                  </a:cubicBezTo>
                  <a:cubicBezTo>
                    <a:pt x="146" y="104"/>
                    <a:pt x="152" y="105"/>
                    <a:pt x="153" y="106"/>
                  </a:cubicBezTo>
                  <a:cubicBezTo>
                    <a:pt x="156" y="114"/>
                    <a:pt x="156" y="114"/>
                    <a:pt x="156" y="114"/>
                  </a:cubicBezTo>
                  <a:cubicBezTo>
                    <a:pt x="149" y="118"/>
                    <a:pt x="123" y="133"/>
                    <a:pt x="122" y="135"/>
                  </a:cubicBezTo>
                  <a:cubicBezTo>
                    <a:pt x="120" y="137"/>
                    <a:pt x="111" y="146"/>
                    <a:pt x="111" y="146"/>
                  </a:cubicBezTo>
                  <a:cubicBezTo>
                    <a:pt x="99" y="148"/>
                    <a:pt x="99" y="148"/>
                    <a:pt x="99" y="148"/>
                  </a:cubicBezTo>
                  <a:cubicBezTo>
                    <a:pt x="91" y="149"/>
                    <a:pt x="91" y="149"/>
                    <a:pt x="91" y="149"/>
                  </a:cubicBezTo>
                  <a:cubicBezTo>
                    <a:pt x="91" y="149"/>
                    <a:pt x="91" y="143"/>
                    <a:pt x="88" y="142"/>
                  </a:cubicBezTo>
                  <a:cubicBezTo>
                    <a:pt x="86" y="141"/>
                    <a:pt x="77" y="138"/>
                    <a:pt x="76" y="136"/>
                  </a:cubicBezTo>
                  <a:cubicBezTo>
                    <a:pt x="75" y="135"/>
                    <a:pt x="74" y="132"/>
                    <a:pt x="74" y="132"/>
                  </a:cubicBezTo>
                  <a:cubicBezTo>
                    <a:pt x="29" y="103"/>
                    <a:pt x="29" y="103"/>
                    <a:pt x="29" y="10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49" name="Freeform 503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5663194" y="4309142"/>
              <a:ext cx="166707" cy="170155"/>
            </a:xfrm>
            <a:custGeom>
              <a:avLst/>
              <a:gdLst>
                <a:gd name="T0" fmla="*/ 2147483647 w 47"/>
                <a:gd name="T1" fmla="*/ 2147483647 h 46"/>
                <a:gd name="T2" fmla="*/ 2147483647 w 47"/>
                <a:gd name="T3" fmla="*/ 2147483647 h 46"/>
                <a:gd name="T4" fmla="*/ 2147483647 w 47"/>
                <a:gd name="T5" fmla="*/ 2147483647 h 46"/>
                <a:gd name="T6" fmla="*/ 2147483647 w 47"/>
                <a:gd name="T7" fmla="*/ 2147483647 h 46"/>
                <a:gd name="T8" fmla="*/ 2147483647 w 47"/>
                <a:gd name="T9" fmla="*/ 0 h 46"/>
                <a:gd name="T10" fmla="*/ 2147483647 w 47"/>
                <a:gd name="T11" fmla="*/ 2147483647 h 46"/>
                <a:gd name="T12" fmla="*/ 2147483647 w 47"/>
                <a:gd name="T13" fmla="*/ 2147483647 h 46"/>
                <a:gd name="T14" fmla="*/ 2147483647 w 47"/>
                <a:gd name="T15" fmla="*/ 2147483647 h 46"/>
                <a:gd name="T16" fmla="*/ 2147483647 w 47"/>
                <a:gd name="T17" fmla="*/ 2147483647 h 46"/>
                <a:gd name="T18" fmla="*/ 2147483647 w 47"/>
                <a:gd name="T19" fmla="*/ 2147483647 h 46"/>
                <a:gd name="T20" fmla="*/ 2147483647 w 47"/>
                <a:gd name="T21" fmla="*/ 2147483647 h 46"/>
                <a:gd name="T22" fmla="*/ 2147483647 w 47"/>
                <a:gd name="T23" fmla="*/ 2147483647 h 46"/>
                <a:gd name="T24" fmla="*/ 2147483647 w 47"/>
                <a:gd name="T25" fmla="*/ 2147483647 h 46"/>
                <a:gd name="T26" fmla="*/ 2147483647 w 47"/>
                <a:gd name="T27" fmla="*/ 2147483647 h 46"/>
                <a:gd name="T28" fmla="*/ 2147483647 w 47"/>
                <a:gd name="T29" fmla="*/ 2147483647 h 46"/>
                <a:gd name="T30" fmla="*/ 2147483647 w 47"/>
                <a:gd name="T31" fmla="*/ 2147483647 h 46"/>
                <a:gd name="T32" fmla="*/ 2147483647 w 47"/>
                <a:gd name="T33" fmla="*/ 2147483647 h 46"/>
                <a:gd name="T34" fmla="*/ 2147483647 w 47"/>
                <a:gd name="T35" fmla="*/ 2147483647 h 46"/>
                <a:gd name="T36" fmla="*/ 2147483647 w 47"/>
                <a:gd name="T37" fmla="*/ 2147483647 h 4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7"/>
                <a:gd name="T58" fmla="*/ 0 h 46"/>
                <a:gd name="T59" fmla="*/ 47 w 47"/>
                <a:gd name="T60" fmla="*/ 46 h 4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7" h="46">
                  <a:moveTo>
                    <a:pt x="4" y="18"/>
                  </a:moveTo>
                  <a:cubicBezTo>
                    <a:pt x="5" y="18"/>
                    <a:pt x="7" y="13"/>
                    <a:pt x="6" y="11"/>
                  </a:cubicBezTo>
                  <a:cubicBezTo>
                    <a:pt x="4" y="10"/>
                    <a:pt x="4" y="3"/>
                    <a:pt x="4" y="1"/>
                  </a:cubicBezTo>
                  <a:cubicBezTo>
                    <a:pt x="9" y="1"/>
                    <a:pt x="13" y="1"/>
                    <a:pt x="13" y="1"/>
                  </a:cubicBezTo>
                  <a:cubicBezTo>
                    <a:pt x="15" y="1"/>
                    <a:pt x="21" y="0"/>
                    <a:pt x="23" y="0"/>
                  </a:cubicBezTo>
                  <a:cubicBezTo>
                    <a:pt x="25" y="0"/>
                    <a:pt x="30" y="6"/>
                    <a:pt x="32" y="6"/>
                  </a:cubicBezTo>
                  <a:cubicBezTo>
                    <a:pt x="35" y="6"/>
                    <a:pt x="38" y="4"/>
                    <a:pt x="41" y="5"/>
                  </a:cubicBezTo>
                  <a:cubicBezTo>
                    <a:pt x="42" y="5"/>
                    <a:pt x="43" y="5"/>
                    <a:pt x="44" y="6"/>
                  </a:cubicBezTo>
                  <a:cubicBezTo>
                    <a:pt x="46" y="8"/>
                    <a:pt x="47" y="12"/>
                    <a:pt x="47" y="14"/>
                  </a:cubicBezTo>
                  <a:cubicBezTo>
                    <a:pt x="46" y="17"/>
                    <a:pt x="41" y="24"/>
                    <a:pt x="42" y="28"/>
                  </a:cubicBezTo>
                  <a:cubicBezTo>
                    <a:pt x="43" y="31"/>
                    <a:pt x="45" y="33"/>
                    <a:pt x="45" y="35"/>
                  </a:cubicBezTo>
                  <a:cubicBezTo>
                    <a:pt x="45" y="36"/>
                    <a:pt x="44" y="41"/>
                    <a:pt x="44" y="42"/>
                  </a:cubicBezTo>
                  <a:cubicBezTo>
                    <a:pt x="40" y="41"/>
                    <a:pt x="36" y="40"/>
                    <a:pt x="33" y="40"/>
                  </a:cubicBezTo>
                  <a:cubicBezTo>
                    <a:pt x="28" y="40"/>
                    <a:pt x="12" y="46"/>
                    <a:pt x="8" y="46"/>
                  </a:cubicBezTo>
                  <a:cubicBezTo>
                    <a:pt x="8" y="46"/>
                    <a:pt x="8" y="46"/>
                    <a:pt x="7" y="46"/>
                  </a:cubicBezTo>
                  <a:cubicBezTo>
                    <a:pt x="7" y="46"/>
                    <a:pt x="9" y="38"/>
                    <a:pt x="10" y="36"/>
                  </a:cubicBezTo>
                  <a:cubicBezTo>
                    <a:pt x="10" y="34"/>
                    <a:pt x="5" y="31"/>
                    <a:pt x="3" y="30"/>
                  </a:cubicBezTo>
                  <a:cubicBezTo>
                    <a:pt x="0" y="28"/>
                    <a:pt x="2" y="24"/>
                    <a:pt x="1" y="22"/>
                  </a:cubicBezTo>
                  <a:cubicBezTo>
                    <a:pt x="1" y="21"/>
                    <a:pt x="2" y="18"/>
                    <a:pt x="4" y="1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50" name="Freeform 504"/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5640555" y="3343334"/>
              <a:ext cx="88499" cy="167758"/>
            </a:xfrm>
            <a:custGeom>
              <a:avLst/>
              <a:gdLst>
                <a:gd name="T0" fmla="*/ 2147483647 w 26"/>
                <a:gd name="T1" fmla="*/ 2147483647 h 45"/>
                <a:gd name="T2" fmla="*/ 2147483647 w 26"/>
                <a:gd name="T3" fmla="*/ 2147483647 h 45"/>
                <a:gd name="T4" fmla="*/ 2147483647 w 26"/>
                <a:gd name="T5" fmla="*/ 0 h 45"/>
                <a:gd name="T6" fmla="*/ 2147483647 w 26"/>
                <a:gd name="T7" fmla="*/ 0 h 45"/>
                <a:gd name="T8" fmla="*/ 2147483647 w 26"/>
                <a:gd name="T9" fmla="*/ 2147483647 h 45"/>
                <a:gd name="T10" fmla="*/ 2147483647 w 26"/>
                <a:gd name="T11" fmla="*/ 2147483647 h 45"/>
                <a:gd name="T12" fmla="*/ 2147483647 w 26"/>
                <a:gd name="T13" fmla="*/ 2147483647 h 45"/>
                <a:gd name="T14" fmla="*/ 2147483647 w 26"/>
                <a:gd name="T15" fmla="*/ 2147483647 h 45"/>
                <a:gd name="T16" fmla="*/ 2147483647 w 26"/>
                <a:gd name="T17" fmla="*/ 2147483647 h 45"/>
                <a:gd name="T18" fmla="*/ 2147483647 w 26"/>
                <a:gd name="T19" fmla="*/ 2147483647 h 45"/>
                <a:gd name="T20" fmla="*/ 2147483647 w 26"/>
                <a:gd name="T21" fmla="*/ 2147483647 h 45"/>
                <a:gd name="T22" fmla="*/ 2147483647 w 26"/>
                <a:gd name="T23" fmla="*/ 2147483647 h 45"/>
                <a:gd name="T24" fmla="*/ 2147483647 w 26"/>
                <a:gd name="T25" fmla="*/ 2147483647 h 45"/>
                <a:gd name="T26" fmla="*/ 2147483647 w 26"/>
                <a:gd name="T27" fmla="*/ 2147483647 h 45"/>
                <a:gd name="T28" fmla="*/ 2147483647 w 26"/>
                <a:gd name="T29" fmla="*/ 2147483647 h 45"/>
                <a:gd name="T30" fmla="*/ 2147483647 w 26"/>
                <a:gd name="T31" fmla="*/ 2147483647 h 45"/>
                <a:gd name="T32" fmla="*/ 2147483647 w 26"/>
                <a:gd name="T33" fmla="*/ 2147483647 h 4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6"/>
                <a:gd name="T52" fmla="*/ 0 h 45"/>
                <a:gd name="T53" fmla="*/ 26 w 26"/>
                <a:gd name="T54" fmla="*/ 45 h 4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6" h="45">
                  <a:moveTo>
                    <a:pt x="1" y="27"/>
                  </a:moveTo>
                  <a:cubicBezTo>
                    <a:pt x="2" y="25"/>
                    <a:pt x="8" y="11"/>
                    <a:pt x="8" y="6"/>
                  </a:cubicBezTo>
                  <a:cubicBezTo>
                    <a:pt x="7" y="4"/>
                    <a:pt x="7" y="2"/>
                    <a:pt x="6" y="0"/>
                  </a:cubicBezTo>
                  <a:cubicBezTo>
                    <a:pt x="6" y="0"/>
                    <a:pt x="17" y="0"/>
                    <a:pt x="20" y="0"/>
                  </a:cubicBezTo>
                  <a:cubicBezTo>
                    <a:pt x="23" y="0"/>
                    <a:pt x="26" y="2"/>
                    <a:pt x="26" y="4"/>
                  </a:cubicBezTo>
                  <a:cubicBezTo>
                    <a:pt x="25" y="6"/>
                    <a:pt x="21" y="17"/>
                    <a:pt x="20" y="18"/>
                  </a:cubicBezTo>
                  <a:cubicBezTo>
                    <a:pt x="19" y="19"/>
                    <a:pt x="16" y="21"/>
                    <a:pt x="18" y="24"/>
                  </a:cubicBezTo>
                  <a:cubicBezTo>
                    <a:pt x="20" y="26"/>
                    <a:pt x="19" y="30"/>
                    <a:pt x="19" y="32"/>
                  </a:cubicBezTo>
                  <a:cubicBezTo>
                    <a:pt x="19" y="34"/>
                    <a:pt x="19" y="35"/>
                    <a:pt x="17" y="37"/>
                  </a:cubicBezTo>
                  <a:cubicBezTo>
                    <a:pt x="14" y="40"/>
                    <a:pt x="15" y="41"/>
                    <a:pt x="16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5" y="43"/>
                    <a:pt x="15" y="44"/>
                    <a:pt x="14" y="44"/>
                  </a:cubicBezTo>
                  <a:cubicBezTo>
                    <a:pt x="12" y="45"/>
                    <a:pt x="8" y="44"/>
                    <a:pt x="6" y="44"/>
                  </a:cubicBezTo>
                  <a:cubicBezTo>
                    <a:pt x="3" y="44"/>
                    <a:pt x="6" y="42"/>
                    <a:pt x="6" y="39"/>
                  </a:cubicBezTo>
                  <a:cubicBezTo>
                    <a:pt x="7" y="36"/>
                    <a:pt x="8" y="34"/>
                    <a:pt x="6" y="32"/>
                  </a:cubicBezTo>
                  <a:cubicBezTo>
                    <a:pt x="5" y="30"/>
                    <a:pt x="5" y="31"/>
                    <a:pt x="3" y="30"/>
                  </a:cubicBezTo>
                  <a:cubicBezTo>
                    <a:pt x="1" y="29"/>
                    <a:pt x="0" y="29"/>
                    <a:pt x="1" y="2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51" name="Freeform 505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5953388" y="3410437"/>
              <a:ext cx="39104" cy="23965"/>
            </a:xfrm>
            <a:custGeom>
              <a:avLst/>
              <a:gdLst>
                <a:gd name="T0" fmla="*/ 2147483647 w 11"/>
                <a:gd name="T1" fmla="*/ 2147483647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2147483647 w 11"/>
                <a:gd name="T7" fmla="*/ 0 h 6"/>
                <a:gd name="T8" fmla="*/ 2147483647 w 11"/>
                <a:gd name="T9" fmla="*/ 2147483647 h 6"/>
                <a:gd name="T10" fmla="*/ 2147483647 w 11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6"/>
                <a:gd name="T20" fmla="*/ 11 w 11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6">
                  <a:moveTo>
                    <a:pt x="6" y="6"/>
                  </a:moveTo>
                  <a:cubicBezTo>
                    <a:pt x="4" y="6"/>
                    <a:pt x="2" y="4"/>
                    <a:pt x="1" y="4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8" y="0"/>
                    <a:pt x="10" y="0"/>
                    <a:pt x="10" y="2"/>
                  </a:cubicBezTo>
                  <a:cubicBezTo>
                    <a:pt x="11" y="4"/>
                    <a:pt x="8" y="6"/>
                    <a:pt x="6" y="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52" name="Freeform 506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5642613" y="3281024"/>
              <a:ext cx="345762" cy="251637"/>
            </a:xfrm>
            <a:custGeom>
              <a:avLst/>
              <a:gdLst>
                <a:gd name="T0" fmla="*/ 2147483647 w 99"/>
                <a:gd name="T1" fmla="*/ 2147483647 h 68"/>
                <a:gd name="T2" fmla="*/ 2147483647 w 99"/>
                <a:gd name="T3" fmla="*/ 2147483647 h 68"/>
                <a:gd name="T4" fmla="*/ 2147483647 w 99"/>
                <a:gd name="T5" fmla="*/ 2147483647 h 68"/>
                <a:gd name="T6" fmla="*/ 2147483647 w 99"/>
                <a:gd name="T7" fmla="*/ 2147483647 h 68"/>
                <a:gd name="T8" fmla="*/ 2147483647 w 99"/>
                <a:gd name="T9" fmla="*/ 0 h 68"/>
                <a:gd name="T10" fmla="*/ 2147483647 w 99"/>
                <a:gd name="T11" fmla="*/ 2147483647 h 68"/>
                <a:gd name="T12" fmla="*/ 2147483647 w 99"/>
                <a:gd name="T13" fmla="*/ 2147483647 h 68"/>
                <a:gd name="T14" fmla="*/ 2147483647 w 99"/>
                <a:gd name="T15" fmla="*/ 2147483647 h 68"/>
                <a:gd name="T16" fmla="*/ 2147483647 w 99"/>
                <a:gd name="T17" fmla="*/ 2147483647 h 68"/>
                <a:gd name="T18" fmla="*/ 2147483647 w 99"/>
                <a:gd name="T19" fmla="*/ 2147483647 h 68"/>
                <a:gd name="T20" fmla="*/ 2147483647 w 99"/>
                <a:gd name="T21" fmla="*/ 2147483647 h 68"/>
                <a:gd name="T22" fmla="*/ 2147483647 w 99"/>
                <a:gd name="T23" fmla="*/ 2147483647 h 68"/>
                <a:gd name="T24" fmla="*/ 2147483647 w 99"/>
                <a:gd name="T25" fmla="*/ 2147483647 h 68"/>
                <a:gd name="T26" fmla="*/ 2147483647 w 99"/>
                <a:gd name="T27" fmla="*/ 2147483647 h 68"/>
                <a:gd name="T28" fmla="*/ 2147483647 w 99"/>
                <a:gd name="T29" fmla="*/ 2147483647 h 68"/>
                <a:gd name="T30" fmla="*/ 2147483647 w 99"/>
                <a:gd name="T31" fmla="*/ 2147483647 h 68"/>
                <a:gd name="T32" fmla="*/ 2147483647 w 99"/>
                <a:gd name="T33" fmla="*/ 2147483647 h 68"/>
                <a:gd name="T34" fmla="*/ 2147483647 w 99"/>
                <a:gd name="T35" fmla="*/ 2147483647 h 68"/>
                <a:gd name="T36" fmla="*/ 2147483647 w 99"/>
                <a:gd name="T37" fmla="*/ 2147483647 h 68"/>
                <a:gd name="T38" fmla="*/ 2147483647 w 99"/>
                <a:gd name="T39" fmla="*/ 2147483647 h 68"/>
                <a:gd name="T40" fmla="*/ 2147483647 w 99"/>
                <a:gd name="T41" fmla="*/ 2147483647 h 68"/>
                <a:gd name="T42" fmla="*/ 2147483647 w 99"/>
                <a:gd name="T43" fmla="*/ 2147483647 h 68"/>
                <a:gd name="T44" fmla="*/ 2147483647 w 99"/>
                <a:gd name="T45" fmla="*/ 2147483647 h 68"/>
                <a:gd name="T46" fmla="*/ 2147483647 w 99"/>
                <a:gd name="T47" fmla="*/ 2147483647 h 68"/>
                <a:gd name="T48" fmla="*/ 2147483647 w 99"/>
                <a:gd name="T49" fmla="*/ 2147483647 h 68"/>
                <a:gd name="T50" fmla="*/ 2147483647 w 99"/>
                <a:gd name="T51" fmla="*/ 2147483647 h 68"/>
                <a:gd name="T52" fmla="*/ 2147483647 w 99"/>
                <a:gd name="T53" fmla="*/ 2147483647 h 68"/>
                <a:gd name="T54" fmla="*/ 2147483647 w 99"/>
                <a:gd name="T55" fmla="*/ 2147483647 h 68"/>
                <a:gd name="T56" fmla="*/ 2147483647 w 99"/>
                <a:gd name="T57" fmla="*/ 2147483647 h 68"/>
                <a:gd name="T58" fmla="*/ 2147483647 w 99"/>
                <a:gd name="T59" fmla="*/ 2147483647 h 68"/>
                <a:gd name="T60" fmla="*/ 2147483647 w 99"/>
                <a:gd name="T61" fmla="*/ 2147483647 h 68"/>
                <a:gd name="T62" fmla="*/ 2147483647 w 99"/>
                <a:gd name="T63" fmla="*/ 2147483647 h 68"/>
                <a:gd name="T64" fmla="*/ 2147483647 w 99"/>
                <a:gd name="T65" fmla="*/ 2147483647 h 68"/>
                <a:gd name="T66" fmla="*/ 2147483647 w 99"/>
                <a:gd name="T67" fmla="*/ 2147483647 h 68"/>
                <a:gd name="T68" fmla="*/ 2147483647 w 99"/>
                <a:gd name="T69" fmla="*/ 2147483647 h 68"/>
                <a:gd name="T70" fmla="*/ 2147483647 w 99"/>
                <a:gd name="T71" fmla="*/ 2147483647 h 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9"/>
                <a:gd name="T109" fmla="*/ 0 h 68"/>
                <a:gd name="T110" fmla="*/ 99 w 99"/>
                <a:gd name="T111" fmla="*/ 68 h 6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9" h="68">
                  <a:moveTo>
                    <a:pt x="5" y="17"/>
                  </a:moveTo>
                  <a:cubicBezTo>
                    <a:pt x="5" y="15"/>
                    <a:pt x="5" y="14"/>
                    <a:pt x="5" y="13"/>
                  </a:cubicBezTo>
                  <a:cubicBezTo>
                    <a:pt x="4" y="11"/>
                    <a:pt x="0" y="9"/>
                    <a:pt x="1" y="7"/>
                  </a:cubicBezTo>
                  <a:cubicBezTo>
                    <a:pt x="3" y="5"/>
                    <a:pt x="6" y="4"/>
                    <a:pt x="8" y="4"/>
                  </a:cubicBezTo>
                  <a:cubicBezTo>
                    <a:pt x="9" y="4"/>
                    <a:pt x="9" y="0"/>
                    <a:pt x="12" y="0"/>
                  </a:cubicBezTo>
                  <a:cubicBezTo>
                    <a:pt x="15" y="0"/>
                    <a:pt x="18" y="2"/>
                    <a:pt x="19" y="2"/>
                  </a:cubicBezTo>
                  <a:cubicBezTo>
                    <a:pt x="21" y="2"/>
                    <a:pt x="27" y="2"/>
                    <a:pt x="30" y="2"/>
                  </a:cubicBezTo>
                  <a:cubicBezTo>
                    <a:pt x="33" y="2"/>
                    <a:pt x="41" y="3"/>
                    <a:pt x="45" y="3"/>
                  </a:cubicBezTo>
                  <a:cubicBezTo>
                    <a:pt x="49" y="3"/>
                    <a:pt x="56" y="5"/>
                    <a:pt x="58" y="4"/>
                  </a:cubicBezTo>
                  <a:cubicBezTo>
                    <a:pt x="59" y="4"/>
                    <a:pt x="60" y="3"/>
                    <a:pt x="60" y="3"/>
                  </a:cubicBezTo>
                  <a:cubicBezTo>
                    <a:pt x="60" y="3"/>
                    <a:pt x="69" y="8"/>
                    <a:pt x="72" y="9"/>
                  </a:cubicBezTo>
                  <a:cubicBezTo>
                    <a:pt x="75" y="10"/>
                    <a:pt x="76" y="9"/>
                    <a:pt x="80" y="9"/>
                  </a:cubicBezTo>
                  <a:cubicBezTo>
                    <a:pt x="84" y="10"/>
                    <a:pt x="90" y="12"/>
                    <a:pt x="92" y="12"/>
                  </a:cubicBezTo>
                  <a:cubicBezTo>
                    <a:pt x="94" y="12"/>
                    <a:pt x="96" y="11"/>
                    <a:pt x="96" y="11"/>
                  </a:cubicBezTo>
                  <a:cubicBezTo>
                    <a:pt x="96" y="14"/>
                    <a:pt x="99" y="16"/>
                    <a:pt x="97" y="17"/>
                  </a:cubicBezTo>
                  <a:cubicBezTo>
                    <a:pt x="96" y="19"/>
                    <a:pt x="90" y="22"/>
                    <a:pt x="88" y="23"/>
                  </a:cubicBezTo>
                  <a:cubicBezTo>
                    <a:pt x="86" y="23"/>
                    <a:pt x="80" y="25"/>
                    <a:pt x="78" y="27"/>
                  </a:cubicBezTo>
                  <a:cubicBezTo>
                    <a:pt x="77" y="29"/>
                    <a:pt x="69" y="38"/>
                    <a:pt x="70" y="40"/>
                  </a:cubicBezTo>
                  <a:cubicBezTo>
                    <a:pt x="70" y="42"/>
                    <a:pt x="74" y="44"/>
                    <a:pt x="74" y="46"/>
                  </a:cubicBezTo>
                  <a:cubicBezTo>
                    <a:pt x="74" y="48"/>
                    <a:pt x="67" y="52"/>
                    <a:pt x="67" y="55"/>
                  </a:cubicBezTo>
                  <a:cubicBezTo>
                    <a:pt x="67" y="57"/>
                    <a:pt x="63" y="58"/>
                    <a:pt x="60" y="59"/>
                  </a:cubicBezTo>
                  <a:cubicBezTo>
                    <a:pt x="58" y="60"/>
                    <a:pt x="58" y="64"/>
                    <a:pt x="55" y="64"/>
                  </a:cubicBezTo>
                  <a:cubicBezTo>
                    <a:pt x="52" y="64"/>
                    <a:pt x="42" y="63"/>
                    <a:pt x="40" y="64"/>
                  </a:cubicBezTo>
                  <a:cubicBezTo>
                    <a:pt x="37" y="65"/>
                    <a:pt x="33" y="64"/>
                    <a:pt x="32" y="65"/>
                  </a:cubicBezTo>
                  <a:cubicBezTo>
                    <a:pt x="31" y="66"/>
                    <a:pt x="31" y="68"/>
                    <a:pt x="29" y="68"/>
                  </a:cubicBezTo>
                  <a:cubicBezTo>
                    <a:pt x="29" y="68"/>
                    <a:pt x="29" y="68"/>
                    <a:pt x="28" y="68"/>
                  </a:cubicBezTo>
                  <a:cubicBezTo>
                    <a:pt x="26" y="68"/>
                    <a:pt x="25" y="66"/>
                    <a:pt x="24" y="63"/>
                  </a:cubicBezTo>
                  <a:cubicBezTo>
                    <a:pt x="23" y="60"/>
                    <a:pt x="24" y="59"/>
                    <a:pt x="21" y="59"/>
                  </a:cubicBezTo>
                  <a:cubicBezTo>
                    <a:pt x="18" y="58"/>
                    <a:pt x="17" y="59"/>
                    <a:pt x="15" y="60"/>
                  </a:cubicBezTo>
                  <a:cubicBezTo>
                    <a:pt x="14" y="58"/>
                    <a:pt x="13" y="57"/>
                    <a:pt x="16" y="54"/>
                  </a:cubicBezTo>
                  <a:cubicBezTo>
                    <a:pt x="18" y="52"/>
                    <a:pt x="18" y="51"/>
                    <a:pt x="18" y="49"/>
                  </a:cubicBezTo>
                  <a:cubicBezTo>
                    <a:pt x="18" y="47"/>
                    <a:pt x="19" y="43"/>
                    <a:pt x="17" y="41"/>
                  </a:cubicBezTo>
                  <a:cubicBezTo>
                    <a:pt x="15" y="38"/>
                    <a:pt x="18" y="36"/>
                    <a:pt x="19" y="35"/>
                  </a:cubicBezTo>
                  <a:cubicBezTo>
                    <a:pt x="20" y="34"/>
                    <a:pt x="24" y="23"/>
                    <a:pt x="25" y="21"/>
                  </a:cubicBezTo>
                  <a:cubicBezTo>
                    <a:pt x="25" y="19"/>
                    <a:pt x="22" y="17"/>
                    <a:pt x="19" y="17"/>
                  </a:cubicBezTo>
                  <a:cubicBezTo>
                    <a:pt x="16" y="17"/>
                    <a:pt x="5" y="17"/>
                    <a:pt x="5" y="1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53" name="Freeform 507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5584986" y="4359469"/>
              <a:ext cx="113196" cy="119827"/>
            </a:xfrm>
            <a:custGeom>
              <a:avLst/>
              <a:gdLst>
                <a:gd name="T0" fmla="*/ 2147483647 w 32"/>
                <a:gd name="T1" fmla="*/ 2147483647 h 32"/>
                <a:gd name="T2" fmla="*/ 2147483647 w 32"/>
                <a:gd name="T3" fmla="*/ 2147483647 h 32"/>
                <a:gd name="T4" fmla="*/ 2147483647 w 32"/>
                <a:gd name="T5" fmla="*/ 2147483647 h 32"/>
                <a:gd name="T6" fmla="*/ 2147483647 w 32"/>
                <a:gd name="T7" fmla="*/ 2147483647 h 32"/>
                <a:gd name="T8" fmla="*/ 2147483647 w 32"/>
                <a:gd name="T9" fmla="*/ 2147483647 h 32"/>
                <a:gd name="T10" fmla="*/ 2147483647 w 32"/>
                <a:gd name="T11" fmla="*/ 2147483647 h 32"/>
                <a:gd name="T12" fmla="*/ 2147483647 w 32"/>
                <a:gd name="T13" fmla="*/ 2147483647 h 32"/>
                <a:gd name="T14" fmla="*/ 2147483647 w 32"/>
                <a:gd name="T15" fmla="*/ 2147483647 h 32"/>
                <a:gd name="T16" fmla="*/ 2147483647 w 32"/>
                <a:gd name="T17" fmla="*/ 2147483647 h 32"/>
                <a:gd name="T18" fmla="*/ 0 w 32"/>
                <a:gd name="T19" fmla="*/ 2147483647 h 32"/>
                <a:gd name="T20" fmla="*/ 2147483647 w 32"/>
                <a:gd name="T21" fmla="*/ 2147483647 h 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32"/>
                <a:gd name="T35" fmla="*/ 32 w 32"/>
                <a:gd name="T36" fmla="*/ 32 h 3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32">
                  <a:moveTo>
                    <a:pt x="7" y="7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9" y="1"/>
                    <a:pt x="14" y="0"/>
                    <a:pt x="14" y="2"/>
                  </a:cubicBezTo>
                  <a:cubicBezTo>
                    <a:pt x="14" y="3"/>
                    <a:pt x="14" y="8"/>
                    <a:pt x="15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10"/>
                    <a:pt x="22" y="14"/>
                    <a:pt x="25" y="16"/>
                  </a:cubicBezTo>
                  <a:cubicBezTo>
                    <a:pt x="27" y="17"/>
                    <a:pt x="32" y="20"/>
                    <a:pt x="32" y="22"/>
                  </a:cubicBezTo>
                  <a:cubicBezTo>
                    <a:pt x="31" y="24"/>
                    <a:pt x="29" y="32"/>
                    <a:pt x="29" y="32"/>
                  </a:cubicBezTo>
                  <a:cubicBezTo>
                    <a:pt x="25" y="30"/>
                    <a:pt x="14" y="24"/>
                    <a:pt x="10" y="20"/>
                  </a:cubicBezTo>
                  <a:cubicBezTo>
                    <a:pt x="8" y="17"/>
                    <a:pt x="4" y="15"/>
                    <a:pt x="0" y="13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54" name="Freeform 508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5566463" y="3887350"/>
              <a:ext cx="444552" cy="426585"/>
            </a:xfrm>
            <a:custGeom>
              <a:avLst/>
              <a:gdLst>
                <a:gd name="T0" fmla="*/ 2147483647 w 126"/>
                <a:gd name="T1" fmla="*/ 2147483647 h 115"/>
                <a:gd name="T2" fmla="*/ 2147483647 w 126"/>
                <a:gd name="T3" fmla="*/ 2147483647 h 115"/>
                <a:gd name="T4" fmla="*/ 2147483647 w 126"/>
                <a:gd name="T5" fmla="*/ 2147483647 h 115"/>
                <a:gd name="T6" fmla="*/ 2147483647 w 126"/>
                <a:gd name="T7" fmla="*/ 2147483647 h 115"/>
                <a:gd name="T8" fmla="*/ 2147483647 w 126"/>
                <a:gd name="T9" fmla="*/ 0 h 115"/>
                <a:gd name="T10" fmla="*/ 2147483647 w 126"/>
                <a:gd name="T11" fmla="*/ 0 h 115"/>
                <a:gd name="T12" fmla="*/ 2147483647 w 126"/>
                <a:gd name="T13" fmla="*/ 2147483647 h 115"/>
                <a:gd name="T14" fmla="*/ 2147483647 w 126"/>
                <a:gd name="T15" fmla="*/ 2147483647 h 115"/>
                <a:gd name="T16" fmla="*/ 2147483647 w 126"/>
                <a:gd name="T17" fmla="*/ 2147483647 h 115"/>
                <a:gd name="T18" fmla="*/ 2147483647 w 126"/>
                <a:gd name="T19" fmla="*/ 2147483647 h 115"/>
                <a:gd name="T20" fmla="*/ 2147483647 w 126"/>
                <a:gd name="T21" fmla="*/ 2147483647 h 115"/>
                <a:gd name="T22" fmla="*/ 2147483647 w 126"/>
                <a:gd name="T23" fmla="*/ 2147483647 h 115"/>
                <a:gd name="T24" fmla="*/ 2147483647 w 126"/>
                <a:gd name="T25" fmla="*/ 2147483647 h 115"/>
                <a:gd name="T26" fmla="*/ 2147483647 w 126"/>
                <a:gd name="T27" fmla="*/ 2147483647 h 115"/>
                <a:gd name="T28" fmla="*/ 2147483647 w 126"/>
                <a:gd name="T29" fmla="*/ 2147483647 h 115"/>
                <a:gd name="T30" fmla="*/ 2147483647 w 126"/>
                <a:gd name="T31" fmla="*/ 2147483647 h 115"/>
                <a:gd name="T32" fmla="*/ 2147483647 w 126"/>
                <a:gd name="T33" fmla="*/ 2147483647 h 115"/>
                <a:gd name="T34" fmla="*/ 2147483647 w 126"/>
                <a:gd name="T35" fmla="*/ 2147483647 h 115"/>
                <a:gd name="T36" fmla="*/ 2147483647 w 126"/>
                <a:gd name="T37" fmla="*/ 2147483647 h 115"/>
                <a:gd name="T38" fmla="*/ 2147483647 w 126"/>
                <a:gd name="T39" fmla="*/ 2147483647 h 115"/>
                <a:gd name="T40" fmla="*/ 2147483647 w 126"/>
                <a:gd name="T41" fmla="*/ 2147483647 h 115"/>
                <a:gd name="T42" fmla="*/ 2147483647 w 126"/>
                <a:gd name="T43" fmla="*/ 2147483647 h 115"/>
                <a:gd name="T44" fmla="*/ 2147483647 w 126"/>
                <a:gd name="T45" fmla="*/ 2147483647 h 115"/>
                <a:gd name="T46" fmla="*/ 2147483647 w 126"/>
                <a:gd name="T47" fmla="*/ 2147483647 h 115"/>
                <a:gd name="T48" fmla="*/ 2147483647 w 126"/>
                <a:gd name="T49" fmla="*/ 2147483647 h 115"/>
                <a:gd name="T50" fmla="*/ 2147483647 w 126"/>
                <a:gd name="T51" fmla="*/ 2147483647 h 115"/>
                <a:gd name="T52" fmla="*/ 2147483647 w 126"/>
                <a:gd name="T53" fmla="*/ 2147483647 h 115"/>
                <a:gd name="T54" fmla="*/ 2147483647 w 126"/>
                <a:gd name="T55" fmla="*/ 2147483647 h 115"/>
                <a:gd name="T56" fmla="*/ 2147483647 w 126"/>
                <a:gd name="T57" fmla="*/ 2147483647 h 115"/>
                <a:gd name="T58" fmla="*/ 2147483647 w 126"/>
                <a:gd name="T59" fmla="*/ 2147483647 h 115"/>
                <a:gd name="T60" fmla="*/ 0 w 126"/>
                <a:gd name="T61" fmla="*/ 2147483647 h 115"/>
                <a:gd name="T62" fmla="*/ 2147483647 w 126"/>
                <a:gd name="T63" fmla="*/ 2147483647 h 115"/>
                <a:gd name="T64" fmla="*/ 2147483647 w 126"/>
                <a:gd name="T65" fmla="*/ 2147483647 h 11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6"/>
                <a:gd name="T100" fmla="*/ 0 h 115"/>
                <a:gd name="T101" fmla="*/ 126 w 126"/>
                <a:gd name="T102" fmla="*/ 115 h 11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6" h="115">
                  <a:moveTo>
                    <a:pt x="11" y="77"/>
                  </a:moveTo>
                  <a:cubicBezTo>
                    <a:pt x="12" y="77"/>
                    <a:pt x="51" y="75"/>
                    <a:pt x="51" y="75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101" y="29"/>
                    <a:pt x="102" y="32"/>
                    <a:pt x="103" y="33"/>
                  </a:cubicBezTo>
                  <a:cubicBezTo>
                    <a:pt x="104" y="35"/>
                    <a:pt x="113" y="38"/>
                    <a:pt x="115" y="39"/>
                  </a:cubicBezTo>
                  <a:cubicBezTo>
                    <a:pt x="118" y="40"/>
                    <a:pt x="118" y="46"/>
                    <a:pt x="118" y="46"/>
                  </a:cubicBezTo>
                  <a:cubicBezTo>
                    <a:pt x="126" y="45"/>
                    <a:pt x="126" y="45"/>
                    <a:pt x="126" y="45"/>
                  </a:cubicBezTo>
                  <a:cubicBezTo>
                    <a:pt x="125" y="63"/>
                    <a:pt x="125" y="63"/>
                    <a:pt x="125" y="63"/>
                  </a:cubicBezTo>
                  <a:cubicBezTo>
                    <a:pt x="125" y="65"/>
                    <a:pt x="123" y="75"/>
                    <a:pt x="121" y="75"/>
                  </a:cubicBezTo>
                  <a:cubicBezTo>
                    <a:pt x="119" y="75"/>
                    <a:pt x="103" y="78"/>
                    <a:pt x="102" y="78"/>
                  </a:cubicBezTo>
                  <a:cubicBezTo>
                    <a:pt x="101" y="78"/>
                    <a:pt x="98" y="77"/>
                    <a:pt x="96" y="77"/>
                  </a:cubicBezTo>
                  <a:cubicBezTo>
                    <a:pt x="93" y="77"/>
                    <a:pt x="90" y="77"/>
                    <a:pt x="89" y="77"/>
                  </a:cubicBezTo>
                  <a:cubicBezTo>
                    <a:pt x="86" y="77"/>
                    <a:pt x="77" y="82"/>
                    <a:pt x="75" y="84"/>
                  </a:cubicBezTo>
                  <a:cubicBezTo>
                    <a:pt x="73" y="86"/>
                    <a:pt x="69" y="92"/>
                    <a:pt x="68" y="92"/>
                  </a:cubicBezTo>
                  <a:cubicBezTo>
                    <a:pt x="67" y="93"/>
                    <a:pt x="64" y="89"/>
                    <a:pt x="64" y="89"/>
                  </a:cubicBezTo>
                  <a:cubicBezTo>
                    <a:pt x="64" y="89"/>
                    <a:pt x="59" y="92"/>
                    <a:pt x="58" y="93"/>
                  </a:cubicBezTo>
                  <a:cubicBezTo>
                    <a:pt x="57" y="94"/>
                    <a:pt x="61" y="97"/>
                    <a:pt x="59" y="98"/>
                  </a:cubicBezTo>
                  <a:cubicBezTo>
                    <a:pt x="58" y="99"/>
                    <a:pt x="55" y="102"/>
                    <a:pt x="53" y="104"/>
                  </a:cubicBezTo>
                  <a:cubicBezTo>
                    <a:pt x="51" y="106"/>
                    <a:pt x="50" y="114"/>
                    <a:pt x="50" y="114"/>
                  </a:cubicBezTo>
                  <a:cubicBezTo>
                    <a:pt x="48" y="114"/>
                    <a:pt x="42" y="115"/>
                    <a:pt x="40" y="115"/>
                  </a:cubicBezTo>
                  <a:cubicBezTo>
                    <a:pt x="40" y="115"/>
                    <a:pt x="36" y="115"/>
                    <a:pt x="31" y="115"/>
                  </a:cubicBezTo>
                  <a:cubicBezTo>
                    <a:pt x="32" y="114"/>
                    <a:pt x="28" y="107"/>
                    <a:pt x="27" y="105"/>
                  </a:cubicBezTo>
                  <a:cubicBezTo>
                    <a:pt x="26" y="103"/>
                    <a:pt x="24" y="98"/>
                    <a:pt x="23" y="98"/>
                  </a:cubicBezTo>
                  <a:cubicBezTo>
                    <a:pt x="21" y="98"/>
                    <a:pt x="16" y="102"/>
                    <a:pt x="13" y="102"/>
                  </a:cubicBezTo>
                  <a:cubicBezTo>
                    <a:pt x="9" y="103"/>
                    <a:pt x="7" y="99"/>
                    <a:pt x="6" y="98"/>
                  </a:cubicBezTo>
                  <a:cubicBezTo>
                    <a:pt x="6" y="98"/>
                    <a:pt x="5" y="92"/>
                    <a:pt x="4" y="90"/>
                  </a:cubicBezTo>
                  <a:cubicBezTo>
                    <a:pt x="2" y="88"/>
                    <a:pt x="0" y="81"/>
                    <a:pt x="0" y="81"/>
                  </a:cubicBezTo>
                  <a:cubicBezTo>
                    <a:pt x="3" y="80"/>
                    <a:pt x="3" y="74"/>
                    <a:pt x="5" y="74"/>
                  </a:cubicBezTo>
                  <a:cubicBezTo>
                    <a:pt x="8" y="74"/>
                    <a:pt x="9" y="77"/>
                    <a:pt x="11" y="7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55" name="Freeform 509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5539708" y="3549437"/>
              <a:ext cx="327239" cy="258827"/>
            </a:xfrm>
            <a:custGeom>
              <a:avLst/>
              <a:gdLst>
                <a:gd name="T0" fmla="*/ 2147483647 w 93"/>
                <a:gd name="T1" fmla="*/ 2147483647 h 70"/>
                <a:gd name="T2" fmla="*/ 2147483647 w 93"/>
                <a:gd name="T3" fmla="*/ 2147483647 h 70"/>
                <a:gd name="T4" fmla="*/ 2147483647 w 93"/>
                <a:gd name="T5" fmla="*/ 2147483647 h 70"/>
                <a:gd name="T6" fmla="*/ 2147483647 w 93"/>
                <a:gd name="T7" fmla="*/ 2147483647 h 70"/>
                <a:gd name="T8" fmla="*/ 2147483647 w 93"/>
                <a:gd name="T9" fmla="*/ 2147483647 h 70"/>
                <a:gd name="T10" fmla="*/ 2147483647 w 93"/>
                <a:gd name="T11" fmla="*/ 2147483647 h 70"/>
                <a:gd name="T12" fmla="*/ 2147483647 w 93"/>
                <a:gd name="T13" fmla="*/ 2147483647 h 70"/>
                <a:gd name="T14" fmla="*/ 2147483647 w 93"/>
                <a:gd name="T15" fmla="*/ 2147483647 h 70"/>
                <a:gd name="T16" fmla="*/ 2147483647 w 93"/>
                <a:gd name="T17" fmla="*/ 2147483647 h 70"/>
                <a:gd name="T18" fmla="*/ 2147483647 w 93"/>
                <a:gd name="T19" fmla="*/ 0 h 70"/>
                <a:gd name="T20" fmla="*/ 2147483647 w 93"/>
                <a:gd name="T21" fmla="*/ 0 h 70"/>
                <a:gd name="T22" fmla="*/ 2147483647 w 93"/>
                <a:gd name="T23" fmla="*/ 2147483647 h 70"/>
                <a:gd name="T24" fmla="*/ 2147483647 w 93"/>
                <a:gd name="T25" fmla="*/ 2147483647 h 70"/>
                <a:gd name="T26" fmla="*/ 2147483647 w 93"/>
                <a:gd name="T27" fmla="*/ 2147483647 h 70"/>
                <a:gd name="T28" fmla="*/ 2147483647 w 93"/>
                <a:gd name="T29" fmla="*/ 2147483647 h 70"/>
                <a:gd name="T30" fmla="*/ 2147483647 w 93"/>
                <a:gd name="T31" fmla="*/ 2147483647 h 70"/>
                <a:gd name="T32" fmla="*/ 2147483647 w 93"/>
                <a:gd name="T33" fmla="*/ 2147483647 h 70"/>
                <a:gd name="T34" fmla="*/ 2147483647 w 93"/>
                <a:gd name="T35" fmla="*/ 2147483647 h 70"/>
                <a:gd name="T36" fmla="*/ 2147483647 w 93"/>
                <a:gd name="T37" fmla="*/ 2147483647 h 70"/>
                <a:gd name="T38" fmla="*/ 2147483647 w 93"/>
                <a:gd name="T39" fmla="*/ 2147483647 h 70"/>
                <a:gd name="T40" fmla="*/ 2147483647 w 93"/>
                <a:gd name="T41" fmla="*/ 2147483647 h 70"/>
                <a:gd name="T42" fmla="*/ 2147483647 w 93"/>
                <a:gd name="T43" fmla="*/ 2147483647 h 70"/>
                <a:gd name="T44" fmla="*/ 2147483647 w 93"/>
                <a:gd name="T45" fmla="*/ 2147483647 h 70"/>
                <a:gd name="T46" fmla="*/ 2147483647 w 93"/>
                <a:gd name="T47" fmla="*/ 2147483647 h 70"/>
                <a:gd name="T48" fmla="*/ 2147483647 w 93"/>
                <a:gd name="T49" fmla="*/ 2147483647 h 70"/>
                <a:gd name="T50" fmla="*/ 2147483647 w 93"/>
                <a:gd name="T51" fmla="*/ 2147483647 h 70"/>
                <a:gd name="T52" fmla="*/ 2147483647 w 93"/>
                <a:gd name="T53" fmla="*/ 2147483647 h 70"/>
                <a:gd name="T54" fmla="*/ 0 w 93"/>
                <a:gd name="T55" fmla="*/ 2147483647 h 70"/>
                <a:gd name="T56" fmla="*/ 2147483647 w 93"/>
                <a:gd name="T57" fmla="*/ 2147483647 h 7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93"/>
                <a:gd name="T88" fmla="*/ 0 h 70"/>
                <a:gd name="T89" fmla="*/ 93 w 93"/>
                <a:gd name="T90" fmla="*/ 70 h 7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93" h="70">
                  <a:moveTo>
                    <a:pt x="2" y="66"/>
                  </a:moveTo>
                  <a:cubicBezTo>
                    <a:pt x="3" y="64"/>
                    <a:pt x="7" y="65"/>
                    <a:pt x="10" y="64"/>
                  </a:cubicBezTo>
                  <a:cubicBezTo>
                    <a:pt x="12" y="63"/>
                    <a:pt x="23" y="57"/>
                    <a:pt x="25" y="53"/>
                  </a:cubicBezTo>
                  <a:cubicBezTo>
                    <a:pt x="27" y="49"/>
                    <a:pt x="29" y="45"/>
                    <a:pt x="29" y="44"/>
                  </a:cubicBezTo>
                  <a:cubicBezTo>
                    <a:pt x="29" y="42"/>
                    <a:pt x="25" y="45"/>
                    <a:pt x="25" y="43"/>
                  </a:cubicBezTo>
                  <a:cubicBezTo>
                    <a:pt x="25" y="41"/>
                    <a:pt x="25" y="40"/>
                    <a:pt x="26" y="36"/>
                  </a:cubicBezTo>
                  <a:cubicBezTo>
                    <a:pt x="28" y="32"/>
                    <a:pt x="32" y="25"/>
                    <a:pt x="36" y="22"/>
                  </a:cubicBezTo>
                  <a:cubicBezTo>
                    <a:pt x="40" y="19"/>
                    <a:pt x="49" y="15"/>
                    <a:pt x="51" y="12"/>
                  </a:cubicBezTo>
                  <a:cubicBezTo>
                    <a:pt x="55" y="9"/>
                    <a:pt x="56" y="3"/>
                    <a:pt x="56" y="2"/>
                  </a:cubicBezTo>
                  <a:cubicBezTo>
                    <a:pt x="56" y="1"/>
                    <a:pt x="58" y="0"/>
                    <a:pt x="59" y="0"/>
                  </a:cubicBezTo>
                  <a:cubicBezTo>
                    <a:pt x="60" y="0"/>
                    <a:pt x="60" y="0"/>
                    <a:pt x="61" y="0"/>
                  </a:cubicBezTo>
                  <a:cubicBezTo>
                    <a:pt x="62" y="0"/>
                    <a:pt x="61" y="2"/>
                    <a:pt x="64" y="3"/>
                  </a:cubicBezTo>
                  <a:cubicBezTo>
                    <a:pt x="66" y="4"/>
                    <a:pt x="70" y="4"/>
                    <a:pt x="73" y="4"/>
                  </a:cubicBezTo>
                  <a:cubicBezTo>
                    <a:pt x="75" y="4"/>
                    <a:pt x="77" y="2"/>
                    <a:pt x="78" y="2"/>
                  </a:cubicBezTo>
                  <a:cubicBezTo>
                    <a:pt x="79" y="1"/>
                    <a:pt x="80" y="6"/>
                    <a:pt x="82" y="6"/>
                  </a:cubicBezTo>
                  <a:cubicBezTo>
                    <a:pt x="83" y="6"/>
                    <a:pt x="84" y="5"/>
                    <a:pt x="86" y="5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6" y="5"/>
                    <a:pt x="88" y="13"/>
                    <a:pt x="88" y="16"/>
                  </a:cubicBezTo>
                  <a:cubicBezTo>
                    <a:pt x="88" y="20"/>
                    <a:pt x="93" y="23"/>
                    <a:pt x="93" y="25"/>
                  </a:cubicBezTo>
                  <a:cubicBezTo>
                    <a:pt x="93" y="26"/>
                    <a:pt x="92" y="30"/>
                    <a:pt x="92" y="30"/>
                  </a:cubicBezTo>
                  <a:cubicBezTo>
                    <a:pt x="92" y="30"/>
                    <a:pt x="76" y="32"/>
                    <a:pt x="74" y="33"/>
                  </a:cubicBezTo>
                  <a:cubicBezTo>
                    <a:pt x="72" y="35"/>
                    <a:pt x="75" y="40"/>
                    <a:pt x="73" y="40"/>
                  </a:cubicBezTo>
                  <a:cubicBezTo>
                    <a:pt x="71" y="41"/>
                    <a:pt x="67" y="43"/>
                    <a:pt x="64" y="43"/>
                  </a:cubicBezTo>
                  <a:cubicBezTo>
                    <a:pt x="62" y="43"/>
                    <a:pt x="63" y="48"/>
                    <a:pt x="61" y="49"/>
                  </a:cubicBezTo>
                  <a:cubicBezTo>
                    <a:pt x="60" y="51"/>
                    <a:pt x="51" y="51"/>
                    <a:pt x="48" y="51"/>
                  </a:cubicBezTo>
                  <a:cubicBezTo>
                    <a:pt x="45" y="52"/>
                    <a:pt x="36" y="59"/>
                    <a:pt x="36" y="59"/>
                  </a:cubicBezTo>
                  <a:cubicBezTo>
                    <a:pt x="35" y="69"/>
                    <a:pt x="35" y="69"/>
                    <a:pt x="35" y="69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1" y="68"/>
                    <a:pt x="1" y="67"/>
                    <a:pt x="2" y="6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56" name="Freeform 510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5535592" y="4318728"/>
              <a:ext cx="78208" cy="88672"/>
            </a:xfrm>
            <a:custGeom>
              <a:avLst/>
              <a:gdLst>
                <a:gd name="T0" fmla="*/ 2147483647 w 22"/>
                <a:gd name="T1" fmla="*/ 2147483647 h 24"/>
                <a:gd name="T2" fmla="*/ 2147483647 w 22"/>
                <a:gd name="T3" fmla="*/ 2147483647 h 24"/>
                <a:gd name="T4" fmla="*/ 0 w 22"/>
                <a:gd name="T5" fmla="*/ 2147483647 h 24"/>
                <a:gd name="T6" fmla="*/ 2147483647 w 22"/>
                <a:gd name="T7" fmla="*/ 2147483647 h 24"/>
                <a:gd name="T8" fmla="*/ 2147483647 w 22"/>
                <a:gd name="T9" fmla="*/ 0 h 24"/>
                <a:gd name="T10" fmla="*/ 2147483647 w 22"/>
                <a:gd name="T11" fmla="*/ 2147483647 h 24"/>
                <a:gd name="T12" fmla="*/ 2147483647 w 22"/>
                <a:gd name="T13" fmla="*/ 2147483647 h 24"/>
                <a:gd name="T14" fmla="*/ 2147483647 w 22"/>
                <a:gd name="T15" fmla="*/ 2147483647 h 24"/>
                <a:gd name="T16" fmla="*/ 2147483647 w 22"/>
                <a:gd name="T17" fmla="*/ 2147483647 h 24"/>
                <a:gd name="T18" fmla="*/ 2147483647 w 22"/>
                <a:gd name="T19" fmla="*/ 2147483647 h 24"/>
                <a:gd name="T20" fmla="*/ 2147483647 w 22"/>
                <a:gd name="T21" fmla="*/ 2147483647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2"/>
                <a:gd name="T34" fmla="*/ 0 h 24"/>
                <a:gd name="T35" fmla="*/ 22 w 22"/>
                <a:gd name="T36" fmla="*/ 24 h 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2" h="24">
                  <a:moveTo>
                    <a:pt x="4" y="18"/>
                  </a:moveTo>
                  <a:cubicBezTo>
                    <a:pt x="4" y="17"/>
                    <a:pt x="3" y="14"/>
                    <a:pt x="2" y="12"/>
                  </a:cubicBezTo>
                  <a:cubicBezTo>
                    <a:pt x="2" y="12"/>
                    <a:pt x="1" y="10"/>
                    <a:pt x="0" y="7"/>
                  </a:cubicBezTo>
                  <a:cubicBezTo>
                    <a:pt x="0" y="7"/>
                    <a:pt x="4" y="6"/>
                    <a:pt x="6" y="4"/>
                  </a:cubicBezTo>
                  <a:cubicBezTo>
                    <a:pt x="7" y="3"/>
                    <a:pt x="7" y="0"/>
                    <a:pt x="12" y="0"/>
                  </a:cubicBezTo>
                  <a:cubicBezTo>
                    <a:pt x="18" y="0"/>
                    <a:pt x="19" y="1"/>
                    <a:pt x="19" y="3"/>
                  </a:cubicBezTo>
                  <a:cubicBezTo>
                    <a:pt x="19" y="4"/>
                    <a:pt x="21" y="11"/>
                    <a:pt x="22" y="12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3"/>
                    <a:pt x="11" y="22"/>
                    <a:pt x="10" y="22"/>
                  </a:cubicBezTo>
                  <a:cubicBezTo>
                    <a:pt x="7" y="20"/>
                    <a:pt x="6" y="20"/>
                    <a:pt x="4" y="1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57" name="Freeform 511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5494429" y="4242039"/>
              <a:ext cx="193462" cy="146189"/>
            </a:xfrm>
            <a:custGeom>
              <a:avLst/>
              <a:gdLst>
                <a:gd name="T0" fmla="*/ 2147483647 w 55"/>
                <a:gd name="T1" fmla="*/ 2147483647 h 40"/>
                <a:gd name="T2" fmla="*/ 0 w 55"/>
                <a:gd name="T3" fmla="*/ 2147483647 h 40"/>
                <a:gd name="T4" fmla="*/ 2147483647 w 55"/>
                <a:gd name="T5" fmla="*/ 2147483647 h 40"/>
                <a:gd name="T6" fmla="*/ 2147483647 w 55"/>
                <a:gd name="T7" fmla="*/ 2147483647 h 40"/>
                <a:gd name="T8" fmla="*/ 2147483647 w 55"/>
                <a:gd name="T9" fmla="*/ 2147483647 h 40"/>
                <a:gd name="T10" fmla="*/ 2147483647 w 55"/>
                <a:gd name="T11" fmla="*/ 2147483647 h 40"/>
                <a:gd name="T12" fmla="*/ 2147483647 w 55"/>
                <a:gd name="T13" fmla="*/ 2147483647 h 40"/>
                <a:gd name="T14" fmla="*/ 2147483647 w 55"/>
                <a:gd name="T15" fmla="*/ 2147483647 h 40"/>
                <a:gd name="T16" fmla="*/ 2147483647 w 55"/>
                <a:gd name="T17" fmla="*/ 2147483647 h 40"/>
                <a:gd name="T18" fmla="*/ 2147483647 w 55"/>
                <a:gd name="T19" fmla="*/ 2147483647 h 40"/>
                <a:gd name="T20" fmla="*/ 2147483647 w 55"/>
                <a:gd name="T21" fmla="*/ 2147483647 h 40"/>
                <a:gd name="T22" fmla="*/ 2147483647 w 55"/>
                <a:gd name="T23" fmla="*/ 2147483647 h 40"/>
                <a:gd name="T24" fmla="*/ 2147483647 w 55"/>
                <a:gd name="T25" fmla="*/ 2147483647 h 40"/>
                <a:gd name="T26" fmla="*/ 2147483647 w 55"/>
                <a:gd name="T27" fmla="*/ 2147483647 h 40"/>
                <a:gd name="T28" fmla="*/ 2147483647 w 55"/>
                <a:gd name="T29" fmla="*/ 2147483647 h 40"/>
                <a:gd name="T30" fmla="*/ 2147483647 w 55"/>
                <a:gd name="T31" fmla="*/ 2147483647 h 40"/>
                <a:gd name="T32" fmla="*/ 2147483647 w 55"/>
                <a:gd name="T33" fmla="*/ 2147483647 h 40"/>
                <a:gd name="T34" fmla="*/ 2147483647 w 55"/>
                <a:gd name="T35" fmla="*/ 2147483647 h 40"/>
                <a:gd name="T36" fmla="*/ 2147483647 w 55"/>
                <a:gd name="T37" fmla="*/ 2147483647 h 40"/>
                <a:gd name="T38" fmla="*/ 2147483647 w 55"/>
                <a:gd name="T39" fmla="*/ 2147483647 h 40"/>
                <a:gd name="T40" fmla="*/ 2147483647 w 55"/>
                <a:gd name="T41" fmla="*/ 2147483647 h 4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5"/>
                <a:gd name="T64" fmla="*/ 0 h 40"/>
                <a:gd name="T65" fmla="*/ 55 w 55"/>
                <a:gd name="T66" fmla="*/ 40 h 4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5" h="40">
                  <a:moveTo>
                    <a:pt x="8" y="23"/>
                  </a:moveTo>
                  <a:cubicBezTo>
                    <a:pt x="7" y="21"/>
                    <a:pt x="2" y="16"/>
                    <a:pt x="0" y="14"/>
                  </a:cubicBezTo>
                  <a:cubicBezTo>
                    <a:pt x="0" y="14"/>
                    <a:pt x="3" y="9"/>
                    <a:pt x="5" y="9"/>
                  </a:cubicBezTo>
                  <a:cubicBezTo>
                    <a:pt x="6" y="8"/>
                    <a:pt x="9" y="9"/>
                    <a:pt x="10" y="8"/>
                  </a:cubicBezTo>
                  <a:cubicBezTo>
                    <a:pt x="11" y="7"/>
                    <a:pt x="9" y="1"/>
                    <a:pt x="12" y="1"/>
                  </a:cubicBezTo>
                  <a:cubicBezTo>
                    <a:pt x="14" y="0"/>
                    <a:pt x="26" y="1"/>
                    <a:pt x="27" y="2"/>
                  </a:cubicBezTo>
                  <a:cubicBezTo>
                    <a:pt x="28" y="3"/>
                    <a:pt x="30" y="7"/>
                    <a:pt x="34" y="6"/>
                  </a:cubicBezTo>
                  <a:cubicBezTo>
                    <a:pt x="37" y="6"/>
                    <a:pt x="42" y="2"/>
                    <a:pt x="44" y="2"/>
                  </a:cubicBezTo>
                  <a:cubicBezTo>
                    <a:pt x="45" y="2"/>
                    <a:pt x="47" y="7"/>
                    <a:pt x="48" y="9"/>
                  </a:cubicBezTo>
                  <a:cubicBezTo>
                    <a:pt x="49" y="11"/>
                    <a:pt x="53" y="18"/>
                    <a:pt x="52" y="19"/>
                  </a:cubicBezTo>
                  <a:cubicBezTo>
                    <a:pt x="52" y="21"/>
                    <a:pt x="52" y="28"/>
                    <a:pt x="54" y="29"/>
                  </a:cubicBezTo>
                  <a:cubicBezTo>
                    <a:pt x="55" y="31"/>
                    <a:pt x="53" y="36"/>
                    <a:pt x="52" y="36"/>
                  </a:cubicBezTo>
                  <a:cubicBezTo>
                    <a:pt x="50" y="36"/>
                    <a:pt x="49" y="39"/>
                    <a:pt x="49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0" y="40"/>
                    <a:pt x="40" y="35"/>
                    <a:pt x="40" y="34"/>
                  </a:cubicBezTo>
                  <a:cubicBezTo>
                    <a:pt x="40" y="32"/>
                    <a:pt x="35" y="33"/>
                    <a:pt x="34" y="33"/>
                  </a:cubicBezTo>
                  <a:cubicBezTo>
                    <a:pt x="33" y="32"/>
                    <a:pt x="31" y="25"/>
                    <a:pt x="31" y="24"/>
                  </a:cubicBezTo>
                  <a:cubicBezTo>
                    <a:pt x="31" y="22"/>
                    <a:pt x="30" y="21"/>
                    <a:pt x="24" y="21"/>
                  </a:cubicBezTo>
                  <a:cubicBezTo>
                    <a:pt x="19" y="21"/>
                    <a:pt x="19" y="24"/>
                    <a:pt x="18" y="25"/>
                  </a:cubicBezTo>
                  <a:cubicBezTo>
                    <a:pt x="16" y="27"/>
                    <a:pt x="12" y="28"/>
                    <a:pt x="12" y="28"/>
                  </a:cubicBezTo>
                  <a:cubicBezTo>
                    <a:pt x="11" y="26"/>
                    <a:pt x="9" y="23"/>
                    <a:pt x="8" y="2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58" name="Freeform 512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5436802" y="3805867"/>
              <a:ext cx="226392" cy="184534"/>
            </a:xfrm>
            <a:custGeom>
              <a:avLst/>
              <a:gdLst>
                <a:gd name="T0" fmla="*/ 2147483647 w 64"/>
                <a:gd name="T1" fmla="*/ 2147483647 h 50"/>
                <a:gd name="T2" fmla="*/ 2147483647 w 64"/>
                <a:gd name="T3" fmla="*/ 2147483647 h 50"/>
                <a:gd name="T4" fmla="*/ 2147483647 w 64"/>
                <a:gd name="T5" fmla="*/ 2147483647 h 50"/>
                <a:gd name="T6" fmla="*/ 2147483647 w 64"/>
                <a:gd name="T7" fmla="*/ 2147483647 h 50"/>
                <a:gd name="T8" fmla="*/ 2147483647 w 64"/>
                <a:gd name="T9" fmla="*/ 0 h 50"/>
                <a:gd name="T10" fmla="*/ 2147483647 w 64"/>
                <a:gd name="T11" fmla="*/ 2147483647 h 50"/>
                <a:gd name="T12" fmla="*/ 2147483647 w 64"/>
                <a:gd name="T13" fmla="*/ 2147483647 h 50"/>
                <a:gd name="T14" fmla="*/ 2147483647 w 64"/>
                <a:gd name="T15" fmla="*/ 2147483647 h 50"/>
                <a:gd name="T16" fmla="*/ 2147483647 w 64"/>
                <a:gd name="T17" fmla="*/ 2147483647 h 50"/>
                <a:gd name="T18" fmla="*/ 2147483647 w 64"/>
                <a:gd name="T19" fmla="*/ 2147483647 h 50"/>
                <a:gd name="T20" fmla="*/ 2147483647 w 64"/>
                <a:gd name="T21" fmla="*/ 2147483647 h 50"/>
                <a:gd name="T22" fmla="*/ 0 w 64"/>
                <a:gd name="T23" fmla="*/ 2147483647 h 50"/>
                <a:gd name="T24" fmla="*/ 2147483647 w 64"/>
                <a:gd name="T25" fmla="*/ 2147483647 h 50"/>
                <a:gd name="T26" fmla="*/ 2147483647 w 64"/>
                <a:gd name="T27" fmla="*/ 2147483647 h 5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4"/>
                <a:gd name="T43" fmla="*/ 0 h 50"/>
                <a:gd name="T44" fmla="*/ 64 w 64"/>
                <a:gd name="T45" fmla="*/ 50 h 5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4" h="50">
                  <a:moveTo>
                    <a:pt x="16" y="23"/>
                  </a:moveTo>
                  <a:cubicBezTo>
                    <a:pt x="18" y="22"/>
                    <a:pt x="18" y="13"/>
                    <a:pt x="19" y="11"/>
                  </a:cubicBezTo>
                  <a:cubicBezTo>
                    <a:pt x="21" y="9"/>
                    <a:pt x="24" y="8"/>
                    <a:pt x="26" y="7"/>
                  </a:cubicBezTo>
                  <a:cubicBezTo>
                    <a:pt x="27" y="7"/>
                    <a:pt x="28" y="3"/>
                    <a:pt x="29" y="1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4" y="33"/>
                    <a:pt x="31" y="35"/>
                  </a:cubicBezTo>
                  <a:cubicBezTo>
                    <a:pt x="28" y="37"/>
                    <a:pt x="31" y="50"/>
                    <a:pt x="31" y="5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2" y="44"/>
                    <a:pt x="5" y="37"/>
                    <a:pt x="7" y="35"/>
                  </a:cubicBezTo>
                  <a:cubicBezTo>
                    <a:pt x="8" y="32"/>
                    <a:pt x="14" y="25"/>
                    <a:pt x="16" y="2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59" name="Freeform 513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5447093" y="4242039"/>
              <a:ext cx="88499" cy="52724"/>
            </a:xfrm>
            <a:custGeom>
              <a:avLst/>
              <a:gdLst>
                <a:gd name="T0" fmla="*/ 2147483647 w 25"/>
                <a:gd name="T1" fmla="*/ 2147483647 h 14"/>
                <a:gd name="T2" fmla="*/ 0 w 25"/>
                <a:gd name="T3" fmla="*/ 2147483647 h 14"/>
                <a:gd name="T4" fmla="*/ 2147483647 w 25"/>
                <a:gd name="T5" fmla="*/ 0 h 14"/>
                <a:gd name="T6" fmla="*/ 2147483647 w 25"/>
                <a:gd name="T7" fmla="*/ 2147483647 h 14"/>
                <a:gd name="T8" fmla="*/ 2147483647 w 25"/>
                <a:gd name="T9" fmla="*/ 2147483647 h 14"/>
                <a:gd name="T10" fmla="*/ 2147483647 w 25"/>
                <a:gd name="T11" fmla="*/ 2147483647 h 14"/>
                <a:gd name="T12" fmla="*/ 2147483647 w 25"/>
                <a:gd name="T13" fmla="*/ 2147483647 h 14"/>
                <a:gd name="T14" fmla="*/ 2147483647 w 25"/>
                <a:gd name="T15" fmla="*/ 2147483647 h 14"/>
                <a:gd name="T16" fmla="*/ 2147483647 w 25"/>
                <a:gd name="T17" fmla="*/ 2147483647 h 14"/>
                <a:gd name="T18" fmla="*/ 2147483647 w 25"/>
                <a:gd name="T19" fmla="*/ 2147483647 h 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14"/>
                <a:gd name="T32" fmla="*/ 25 w 25"/>
                <a:gd name="T33" fmla="*/ 14 h 1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14">
                  <a:moveTo>
                    <a:pt x="4" y="8"/>
                  </a:moveTo>
                  <a:cubicBezTo>
                    <a:pt x="3" y="8"/>
                    <a:pt x="1" y="5"/>
                    <a:pt x="0" y="3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2" y="1"/>
                    <a:pt x="24" y="7"/>
                    <a:pt x="23" y="8"/>
                  </a:cubicBezTo>
                  <a:cubicBezTo>
                    <a:pt x="22" y="9"/>
                    <a:pt x="19" y="8"/>
                    <a:pt x="18" y="9"/>
                  </a:cubicBezTo>
                  <a:cubicBezTo>
                    <a:pt x="16" y="9"/>
                    <a:pt x="13" y="14"/>
                    <a:pt x="13" y="14"/>
                  </a:cubicBezTo>
                  <a:cubicBezTo>
                    <a:pt x="13" y="14"/>
                    <a:pt x="12" y="14"/>
                    <a:pt x="12" y="14"/>
                  </a:cubicBezTo>
                  <a:cubicBezTo>
                    <a:pt x="11" y="12"/>
                    <a:pt x="9" y="10"/>
                    <a:pt x="10" y="8"/>
                  </a:cubicBezTo>
                  <a:cubicBezTo>
                    <a:pt x="10" y="6"/>
                    <a:pt x="6" y="8"/>
                    <a:pt x="4" y="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60" name="Freeform 514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5426512" y="4124608"/>
              <a:ext cx="160533" cy="129413"/>
            </a:xfrm>
            <a:custGeom>
              <a:avLst/>
              <a:gdLst>
                <a:gd name="T0" fmla="*/ 2147483647 w 46"/>
                <a:gd name="T1" fmla="*/ 2147483647 h 34"/>
                <a:gd name="T2" fmla="*/ 2147483647 w 46"/>
                <a:gd name="T3" fmla="*/ 2147483647 h 34"/>
                <a:gd name="T4" fmla="*/ 2147483647 w 46"/>
                <a:gd name="T5" fmla="*/ 2147483647 h 34"/>
                <a:gd name="T6" fmla="*/ 0 w 46"/>
                <a:gd name="T7" fmla="*/ 2147483647 h 34"/>
                <a:gd name="T8" fmla="*/ 2147483647 w 46"/>
                <a:gd name="T9" fmla="*/ 2147483647 h 34"/>
                <a:gd name="T10" fmla="*/ 2147483647 w 46"/>
                <a:gd name="T11" fmla="*/ 0 h 34"/>
                <a:gd name="T12" fmla="*/ 2147483647 w 46"/>
                <a:gd name="T13" fmla="*/ 2147483647 h 34"/>
                <a:gd name="T14" fmla="*/ 2147483647 w 46"/>
                <a:gd name="T15" fmla="*/ 2147483647 h 34"/>
                <a:gd name="T16" fmla="*/ 2147483647 w 46"/>
                <a:gd name="T17" fmla="*/ 2147483647 h 34"/>
                <a:gd name="T18" fmla="*/ 2147483647 w 46"/>
                <a:gd name="T19" fmla="*/ 2147483647 h 34"/>
                <a:gd name="T20" fmla="*/ 2147483647 w 46"/>
                <a:gd name="T21" fmla="*/ 2147483647 h 34"/>
                <a:gd name="T22" fmla="*/ 2147483647 w 46"/>
                <a:gd name="T23" fmla="*/ 2147483647 h 34"/>
                <a:gd name="T24" fmla="*/ 2147483647 w 46"/>
                <a:gd name="T25" fmla="*/ 2147483647 h 34"/>
                <a:gd name="T26" fmla="*/ 2147483647 w 46"/>
                <a:gd name="T27" fmla="*/ 2147483647 h 34"/>
                <a:gd name="T28" fmla="*/ 2147483647 w 46"/>
                <a:gd name="T29" fmla="*/ 2147483647 h 34"/>
                <a:gd name="T30" fmla="*/ 2147483647 w 46"/>
                <a:gd name="T31" fmla="*/ 2147483647 h 3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6"/>
                <a:gd name="T49" fmla="*/ 0 h 34"/>
                <a:gd name="T50" fmla="*/ 46 w 46"/>
                <a:gd name="T51" fmla="*/ 34 h 3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6" h="34">
                  <a:moveTo>
                    <a:pt x="14" y="26"/>
                  </a:moveTo>
                  <a:cubicBezTo>
                    <a:pt x="14" y="21"/>
                    <a:pt x="9" y="24"/>
                    <a:pt x="6" y="22"/>
                  </a:cubicBezTo>
                  <a:cubicBezTo>
                    <a:pt x="3" y="20"/>
                    <a:pt x="3" y="17"/>
                    <a:pt x="3" y="17"/>
                  </a:cubicBezTo>
                  <a:cubicBezTo>
                    <a:pt x="3" y="16"/>
                    <a:pt x="0" y="16"/>
                    <a:pt x="0" y="15"/>
                  </a:cubicBezTo>
                  <a:cubicBezTo>
                    <a:pt x="0" y="13"/>
                    <a:pt x="6" y="8"/>
                    <a:pt x="7" y="4"/>
                  </a:cubicBezTo>
                  <a:cubicBezTo>
                    <a:pt x="8" y="2"/>
                    <a:pt x="8" y="1"/>
                    <a:pt x="8" y="0"/>
                  </a:cubicBezTo>
                  <a:cubicBezTo>
                    <a:pt x="8" y="0"/>
                    <a:pt x="13" y="2"/>
                    <a:pt x="14" y="1"/>
                  </a:cubicBezTo>
                  <a:cubicBezTo>
                    <a:pt x="16" y="1"/>
                    <a:pt x="21" y="0"/>
                    <a:pt x="23" y="1"/>
                  </a:cubicBezTo>
                  <a:cubicBezTo>
                    <a:pt x="26" y="2"/>
                    <a:pt x="37" y="17"/>
                    <a:pt x="40" y="16"/>
                  </a:cubicBezTo>
                  <a:cubicBezTo>
                    <a:pt x="40" y="16"/>
                    <a:pt x="42" y="23"/>
                    <a:pt x="44" y="25"/>
                  </a:cubicBezTo>
                  <a:cubicBezTo>
                    <a:pt x="45" y="27"/>
                    <a:pt x="46" y="33"/>
                    <a:pt x="46" y="33"/>
                  </a:cubicBezTo>
                  <a:cubicBezTo>
                    <a:pt x="45" y="32"/>
                    <a:pt x="33" y="31"/>
                    <a:pt x="31" y="32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3"/>
                    <a:pt x="5" y="31"/>
                    <a:pt x="5" y="30"/>
                  </a:cubicBezTo>
                  <a:cubicBezTo>
                    <a:pt x="5" y="27"/>
                    <a:pt x="15" y="27"/>
                    <a:pt x="14" y="2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61" name="Freeform 515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5432686" y="3815453"/>
              <a:ext cx="333414" cy="376258"/>
            </a:xfrm>
            <a:custGeom>
              <a:avLst/>
              <a:gdLst>
                <a:gd name="T0" fmla="*/ 2147483647 w 94"/>
                <a:gd name="T1" fmla="*/ 2147483647 h 101"/>
                <a:gd name="T2" fmla="*/ 0 w 94"/>
                <a:gd name="T3" fmla="*/ 2147483647 h 101"/>
                <a:gd name="T4" fmla="*/ 0 w 94"/>
                <a:gd name="T5" fmla="*/ 2147483647 h 101"/>
                <a:gd name="T6" fmla="*/ 2147483647 w 94"/>
                <a:gd name="T7" fmla="*/ 2147483647 h 101"/>
                <a:gd name="T8" fmla="*/ 2147483647 w 94"/>
                <a:gd name="T9" fmla="*/ 2147483647 h 101"/>
                <a:gd name="T10" fmla="*/ 2147483647 w 94"/>
                <a:gd name="T11" fmla="*/ 2147483647 h 101"/>
                <a:gd name="T12" fmla="*/ 2147483647 w 94"/>
                <a:gd name="T13" fmla="*/ 2147483647 h 101"/>
                <a:gd name="T14" fmla="*/ 2147483647 w 94"/>
                <a:gd name="T15" fmla="*/ 2147483647 h 101"/>
                <a:gd name="T16" fmla="*/ 2147483647 w 94"/>
                <a:gd name="T17" fmla="*/ 2147483647 h 101"/>
                <a:gd name="T18" fmla="*/ 2147483647 w 94"/>
                <a:gd name="T19" fmla="*/ 0 h 101"/>
                <a:gd name="T20" fmla="*/ 2147483647 w 94"/>
                <a:gd name="T21" fmla="*/ 2147483647 h 101"/>
                <a:gd name="T22" fmla="*/ 2147483647 w 94"/>
                <a:gd name="T23" fmla="*/ 2147483647 h 101"/>
                <a:gd name="T24" fmla="*/ 2147483647 w 94"/>
                <a:gd name="T25" fmla="*/ 2147483647 h 101"/>
                <a:gd name="T26" fmla="*/ 2147483647 w 94"/>
                <a:gd name="T27" fmla="*/ 2147483647 h 101"/>
                <a:gd name="T28" fmla="*/ 2147483647 w 94"/>
                <a:gd name="T29" fmla="*/ 2147483647 h 101"/>
                <a:gd name="T30" fmla="*/ 2147483647 w 94"/>
                <a:gd name="T31" fmla="*/ 2147483647 h 101"/>
                <a:gd name="T32" fmla="*/ 2147483647 w 94"/>
                <a:gd name="T33" fmla="*/ 2147483647 h 101"/>
                <a:gd name="T34" fmla="*/ 2147483647 w 94"/>
                <a:gd name="T35" fmla="*/ 2147483647 h 101"/>
                <a:gd name="T36" fmla="*/ 2147483647 w 94"/>
                <a:gd name="T37" fmla="*/ 2147483647 h 101"/>
                <a:gd name="T38" fmla="*/ 2147483647 w 94"/>
                <a:gd name="T39" fmla="*/ 2147483647 h 101"/>
                <a:gd name="T40" fmla="*/ 2147483647 w 94"/>
                <a:gd name="T41" fmla="*/ 2147483647 h 101"/>
                <a:gd name="T42" fmla="*/ 2147483647 w 94"/>
                <a:gd name="T43" fmla="*/ 2147483647 h 101"/>
                <a:gd name="T44" fmla="*/ 2147483647 w 94"/>
                <a:gd name="T45" fmla="*/ 2147483647 h 101"/>
                <a:gd name="T46" fmla="*/ 2147483647 w 94"/>
                <a:gd name="T47" fmla="*/ 2147483647 h 10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94"/>
                <a:gd name="T73" fmla="*/ 0 h 101"/>
                <a:gd name="T74" fmla="*/ 94 w 94"/>
                <a:gd name="T75" fmla="*/ 101 h 10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94" h="101">
                  <a:moveTo>
                    <a:pt x="5" y="51"/>
                  </a:moveTo>
                  <a:cubicBezTo>
                    <a:pt x="5" y="49"/>
                    <a:pt x="0" y="54"/>
                    <a:pt x="0" y="53"/>
                  </a:cubicBezTo>
                  <a:cubicBezTo>
                    <a:pt x="0" y="51"/>
                    <a:pt x="0" y="51"/>
                    <a:pt x="0" y="49"/>
                  </a:cubicBezTo>
                  <a:cubicBezTo>
                    <a:pt x="0" y="48"/>
                    <a:pt x="1" y="47"/>
                    <a:pt x="1" y="46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7"/>
                    <a:pt x="29" y="34"/>
                    <a:pt x="32" y="32"/>
                  </a:cubicBezTo>
                  <a:cubicBezTo>
                    <a:pt x="35" y="30"/>
                    <a:pt x="39" y="30"/>
                    <a:pt x="39" y="3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94" y="19"/>
                    <a:pt x="94" y="19"/>
                    <a:pt x="94" y="19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91" y="87"/>
                    <a:pt x="91" y="87"/>
                    <a:pt x="91" y="87"/>
                  </a:cubicBezTo>
                  <a:cubicBezTo>
                    <a:pt x="89" y="94"/>
                    <a:pt x="89" y="94"/>
                    <a:pt x="89" y="94"/>
                  </a:cubicBezTo>
                  <a:cubicBezTo>
                    <a:pt x="89" y="94"/>
                    <a:pt x="50" y="96"/>
                    <a:pt x="49" y="96"/>
                  </a:cubicBezTo>
                  <a:cubicBezTo>
                    <a:pt x="47" y="96"/>
                    <a:pt x="46" y="93"/>
                    <a:pt x="43" y="93"/>
                  </a:cubicBezTo>
                  <a:cubicBezTo>
                    <a:pt x="41" y="93"/>
                    <a:pt x="41" y="99"/>
                    <a:pt x="38" y="100"/>
                  </a:cubicBezTo>
                  <a:cubicBezTo>
                    <a:pt x="35" y="101"/>
                    <a:pt x="24" y="86"/>
                    <a:pt x="21" y="85"/>
                  </a:cubicBezTo>
                  <a:cubicBezTo>
                    <a:pt x="19" y="84"/>
                    <a:pt x="14" y="85"/>
                    <a:pt x="12" y="85"/>
                  </a:cubicBezTo>
                  <a:cubicBezTo>
                    <a:pt x="11" y="86"/>
                    <a:pt x="6" y="84"/>
                    <a:pt x="6" y="84"/>
                  </a:cubicBezTo>
                  <a:cubicBezTo>
                    <a:pt x="7" y="82"/>
                    <a:pt x="7" y="80"/>
                    <a:pt x="8" y="78"/>
                  </a:cubicBezTo>
                  <a:cubicBezTo>
                    <a:pt x="10" y="74"/>
                    <a:pt x="5" y="67"/>
                    <a:pt x="5" y="64"/>
                  </a:cubicBezTo>
                  <a:cubicBezTo>
                    <a:pt x="5" y="61"/>
                    <a:pt x="3" y="61"/>
                    <a:pt x="6" y="58"/>
                  </a:cubicBezTo>
                  <a:cubicBezTo>
                    <a:pt x="9" y="56"/>
                    <a:pt x="5" y="53"/>
                    <a:pt x="5" y="5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62" name="Freeform 516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4432445" y="4431366"/>
              <a:ext cx="80266" cy="112638"/>
            </a:xfrm>
            <a:custGeom>
              <a:avLst/>
              <a:gdLst>
                <a:gd name="T0" fmla="*/ 2147483647 w 23"/>
                <a:gd name="T1" fmla="*/ 2147483647 h 30"/>
                <a:gd name="T2" fmla="*/ 0 w 23"/>
                <a:gd name="T3" fmla="*/ 2147483647 h 30"/>
                <a:gd name="T4" fmla="*/ 2147483647 w 23"/>
                <a:gd name="T5" fmla="*/ 2147483647 h 30"/>
                <a:gd name="T6" fmla="*/ 2147483647 w 23"/>
                <a:gd name="T7" fmla="*/ 0 h 30"/>
                <a:gd name="T8" fmla="*/ 2147483647 w 23"/>
                <a:gd name="T9" fmla="*/ 0 h 30"/>
                <a:gd name="T10" fmla="*/ 2147483647 w 23"/>
                <a:gd name="T11" fmla="*/ 2147483647 h 30"/>
                <a:gd name="T12" fmla="*/ 2147483647 w 23"/>
                <a:gd name="T13" fmla="*/ 2147483647 h 30"/>
                <a:gd name="T14" fmla="*/ 2147483647 w 23"/>
                <a:gd name="T15" fmla="*/ 2147483647 h 30"/>
                <a:gd name="T16" fmla="*/ 2147483647 w 23"/>
                <a:gd name="T17" fmla="*/ 2147483647 h 30"/>
                <a:gd name="T18" fmla="*/ 0 w 23"/>
                <a:gd name="T19" fmla="*/ 2147483647 h 30"/>
                <a:gd name="T20" fmla="*/ 2147483647 w 23"/>
                <a:gd name="T21" fmla="*/ 2147483647 h 3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3"/>
                <a:gd name="T34" fmla="*/ 0 h 30"/>
                <a:gd name="T35" fmla="*/ 23 w 23"/>
                <a:gd name="T36" fmla="*/ 30 h 3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3" h="30">
                  <a:moveTo>
                    <a:pt x="3" y="18"/>
                  </a:moveTo>
                  <a:cubicBezTo>
                    <a:pt x="3" y="16"/>
                    <a:pt x="0" y="14"/>
                    <a:pt x="0" y="12"/>
                  </a:cubicBezTo>
                  <a:cubicBezTo>
                    <a:pt x="0" y="9"/>
                    <a:pt x="3" y="7"/>
                    <a:pt x="3" y="6"/>
                  </a:cubicBezTo>
                  <a:cubicBezTo>
                    <a:pt x="3" y="5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1"/>
                    <a:pt x="7" y="1"/>
                    <a:pt x="9" y="2"/>
                  </a:cubicBezTo>
                  <a:cubicBezTo>
                    <a:pt x="14" y="4"/>
                    <a:pt x="19" y="8"/>
                    <a:pt x="23" y="13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2"/>
                    <a:pt x="13" y="29"/>
                    <a:pt x="12" y="30"/>
                  </a:cubicBezTo>
                  <a:cubicBezTo>
                    <a:pt x="11" y="30"/>
                    <a:pt x="3" y="29"/>
                    <a:pt x="0" y="28"/>
                  </a:cubicBezTo>
                  <a:cubicBezTo>
                    <a:pt x="0" y="28"/>
                    <a:pt x="3" y="20"/>
                    <a:pt x="3" y="1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63" name="Freeform 517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4327481" y="5471467"/>
              <a:ext cx="142010" cy="158172"/>
            </a:xfrm>
            <a:custGeom>
              <a:avLst/>
              <a:gdLst>
                <a:gd name="T0" fmla="*/ 0 w 40"/>
                <a:gd name="T1" fmla="*/ 2147483647 h 43"/>
                <a:gd name="T2" fmla="*/ 2147483647 w 40"/>
                <a:gd name="T3" fmla="*/ 2147483647 h 43"/>
                <a:gd name="T4" fmla="*/ 2147483647 w 40"/>
                <a:gd name="T5" fmla="*/ 2147483647 h 43"/>
                <a:gd name="T6" fmla="*/ 2147483647 w 40"/>
                <a:gd name="T7" fmla="*/ 0 h 43"/>
                <a:gd name="T8" fmla="*/ 2147483647 w 40"/>
                <a:gd name="T9" fmla="*/ 2147483647 h 43"/>
                <a:gd name="T10" fmla="*/ 2147483647 w 40"/>
                <a:gd name="T11" fmla="*/ 2147483647 h 43"/>
                <a:gd name="T12" fmla="*/ 2147483647 w 40"/>
                <a:gd name="T13" fmla="*/ 2147483647 h 43"/>
                <a:gd name="T14" fmla="*/ 2147483647 w 40"/>
                <a:gd name="T15" fmla="*/ 2147483647 h 43"/>
                <a:gd name="T16" fmla="*/ 2147483647 w 40"/>
                <a:gd name="T17" fmla="*/ 2147483647 h 43"/>
                <a:gd name="T18" fmla="*/ 2147483647 w 40"/>
                <a:gd name="T19" fmla="*/ 2147483647 h 43"/>
                <a:gd name="T20" fmla="*/ 2147483647 w 40"/>
                <a:gd name="T21" fmla="*/ 2147483647 h 43"/>
                <a:gd name="T22" fmla="*/ 2147483647 w 40"/>
                <a:gd name="T23" fmla="*/ 2147483647 h 43"/>
                <a:gd name="T24" fmla="*/ 2147483647 w 40"/>
                <a:gd name="T25" fmla="*/ 2147483647 h 43"/>
                <a:gd name="T26" fmla="*/ 2147483647 w 40"/>
                <a:gd name="T27" fmla="*/ 2147483647 h 43"/>
                <a:gd name="T28" fmla="*/ 2147483647 w 40"/>
                <a:gd name="T29" fmla="*/ 2147483647 h 43"/>
                <a:gd name="T30" fmla="*/ 0 w 40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0"/>
                <a:gd name="T49" fmla="*/ 0 h 43"/>
                <a:gd name="T50" fmla="*/ 40 w 40"/>
                <a:gd name="T51" fmla="*/ 43 h 4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0" h="43">
                  <a:moveTo>
                    <a:pt x="0" y="35"/>
                  </a:moveTo>
                  <a:cubicBezTo>
                    <a:pt x="0" y="35"/>
                    <a:pt x="3" y="14"/>
                    <a:pt x="3" y="11"/>
                  </a:cubicBezTo>
                  <a:cubicBezTo>
                    <a:pt x="3" y="9"/>
                    <a:pt x="4" y="5"/>
                    <a:pt x="6" y="3"/>
                  </a:cubicBezTo>
                  <a:cubicBezTo>
                    <a:pt x="7" y="3"/>
                    <a:pt x="8" y="2"/>
                    <a:pt x="9" y="0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7" y="6"/>
                    <a:pt x="16" y="8"/>
                    <a:pt x="17" y="10"/>
                  </a:cubicBezTo>
                  <a:cubicBezTo>
                    <a:pt x="18" y="11"/>
                    <a:pt x="22" y="9"/>
                    <a:pt x="24" y="11"/>
                  </a:cubicBezTo>
                  <a:cubicBezTo>
                    <a:pt x="26" y="13"/>
                    <a:pt x="40" y="21"/>
                    <a:pt x="39" y="23"/>
                  </a:cubicBezTo>
                  <a:cubicBezTo>
                    <a:pt x="38" y="24"/>
                    <a:pt x="35" y="30"/>
                    <a:pt x="36" y="31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8" y="35"/>
                    <a:pt x="37" y="36"/>
                    <a:pt x="37" y="37"/>
                  </a:cubicBezTo>
                  <a:cubicBezTo>
                    <a:pt x="36" y="39"/>
                    <a:pt x="30" y="42"/>
                    <a:pt x="27" y="42"/>
                  </a:cubicBezTo>
                  <a:cubicBezTo>
                    <a:pt x="25" y="43"/>
                    <a:pt x="24" y="40"/>
                    <a:pt x="22" y="40"/>
                  </a:cubicBezTo>
                  <a:cubicBezTo>
                    <a:pt x="20" y="40"/>
                    <a:pt x="18" y="43"/>
                    <a:pt x="16" y="42"/>
                  </a:cubicBezTo>
                  <a:cubicBezTo>
                    <a:pt x="15" y="40"/>
                    <a:pt x="9" y="38"/>
                    <a:pt x="7" y="37"/>
                  </a:cubicBezTo>
                  <a:cubicBezTo>
                    <a:pt x="5" y="37"/>
                    <a:pt x="0" y="34"/>
                    <a:pt x="0" y="3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64" name="Freeform 518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4335714" y="4428969"/>
              <a:ext cx="107022" cy="117431"/>
            </a:xfrm>
            <a:custGeom>
              <a:avLst/>
              <a:gdLst>
                <a:gd name="T0" fmla="*/ 2147483647 w 31"/>
                <a:gd name="T1" fmla="*/ 2147483647 h 32"/>
                <a:gd name="T2" fmla="*/ 2147483647 w 31"/>
                <a:gd name="T3" fmla="*/ 2147483647 h 32"/>
                <a:gd name="T4" fmla="*/ 2147483647 w 31"/>
                <a:gd name="T5" fmla="*/ 2147483647 h 32"/>
                <a:gd name="T6" fmla="*/ 2147483647 w 31"/>
                <a:gd name="T7" fmla="*/ 2147483647 h 32"/>
                <a:gd name="T8" fmla="*/ 2147483647 w 31"/>
                <a:gd name="T9" fmla="*/ 0 h 32"/>
                <a:gd name="T10" fmla="*/ 2147483647 w 31"/>
                <a:gd name="T11" fmla="*/ 2147483647 h 32"/>
                <a:gd name="T12" fmla="*/ 2147483647 w 31"/>
                <a:gd name="T13" fmla="*/ 2147483647 h 32"/>
                <a:gd name="T14" fmla="*/ 2147483647 w 31"/>
                <a:gd name="T15" fmla="*/ 2147483647 h 32"/>
                <a:gd name="T16" fmla="*/ 2147483647 w 31"/>
                <a:gd name="T17" fmla="*/ 2147483647 h 32"/>
                <a:gd name="T18" fmla="*/ 2147483647 w 31"/>
                <a:gd name="T19" fmla="*/ 2147483647 h 32"/>
                <a:gd name="T20" fmla="*/ 2147483647 w 31"/>
                <a:gd name="T21" fmla="*/ 2147483647 h 32"/>
                <a:gd name="T22" fmla="*/ 2147483647 w 31"/>
                <a:gd name="T23" fmla="*/ 2147483647 h 32"/>
                <a:gd name="T24" fmla="*/ 2147483647 w 31"/>
                <a:gd name="T25" fmla="*/ 2147483647 h 32"/>
                <a:gd name="T26" fmla="*/ 2147483647 w 31"/>
                <a:gd name="T27" fmla="*/ 2147483647 h 32"/>
                <a:gd name="T28" fmla="*/ 2147483647 w 31"/>
                <a:gd name="T29" fmla="*/ 2147483647 h 32"/>
                <a:gd name="T30" fmla="*/ 2147483647 w 31"/>
                <a:gd name="T31" fmla="*/ 2147483647 h 32"/>
                <a:gd name="T32" fmla="*/ 2147483647 w 31"/>
                <a:gd name="T33" fmla="*/ 2147483647 h 32"/>
                <a:gd name="T34" fmla="*/ 2147483647 w 31"/>
                <a:gd name="T35" fmla="*/ 2147483647 h 32"/>
                <a:gd name="T36" fmla="*/ 2147483647 w 31"/>
                <a:gd name="T37" fmla="*/ 2147483647 h 3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1"/>
                <a:gd name="T58" fmla="*/ 0 h 32"/>
                <a:gd name="T59" fmla="*/ 31 w 31"/>
                <a:gd name="T60" fmla="*/ 32 h 3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1" h="32">
                  <a:moveTo>
                    <a:pt x="6" y="21"/>
                  </a:moveTo>
                  <a:cubicBezTo>
                    <a:pt x="6" y="21"/>
                    <a:pt x="2" y="19"/>
                    <a:pt x="2" y="18"/>
                  </a:cubicBezTo>
                  <a:cubicBezTo>
                    <a:pt x="1" y="17"/>
                    <a:pt x="0" y="13"/>
                    <a:pt x="1" y="11"/>
                  </a:cubicBezTo>
                  <a:cubicBezTo>
                    <a:pt x="1" y="8"/>
                    <a:pt x="6" y="9"/>
                    <a:pt x="6" y="7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2" y="1"/>
                    <a:pt x="20" y="1"/>
                  </a:cubicBezTo>
                  <a:cubicBezTo>
                    <a:pt x="26" y="1"/>
                    <a:pt x="29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6"/>
                    <a:pt x="31" y="7"/>
                  </a:cubicBezTo>
                  <a:cubicBezTo>
                    <a:pt x="31" y="8"/>
                    <a:pt x="28" y="10"/>
                    <a:pt x="28" y="13"/>
                  </a:cubicBezTo>
                  <a:cubicBezTo>
                    <a:pt x="28" y="15"/>
                    <a:pt x="31" y="17"/>
                    <a:pt x="31" y="19"/>
                  </a:cubicBezTo>
                  <a:cubicBezTo>
                    <a:pt x="31" y="21"/>
                    <a:pt x="28" y="29"/>
                    <a:pt x="28" y="29"/>
                  </a:cubicBezTo>
                  <a:cubicBezTo>
                    <a:pt x="28" y="29"/>
                    <a:pt x="27" y="29"/>
                    <a:pt x="27" y="29"/>
                  </a:cubicBezTo>
                  <a:cubicBezTo>
                    <a:pt x="26" y="28"/>
                    <a:pt x="20" y="27"/>
                    <a:pt x="18" y="27"/>
                  </a:cubicBezTo>
                  <a:cubicBezTo>
                    <a:pt x="16" y="27"/>
                    <a:pt x="18" y="32"/>
                    <a:pt x="17" y="32"/>
                  </a:cubicBezTo>
                  <a:cubicBezTo>
                    <a:pt x="16" y="32"/>
                    <a:pt x="13" y="32"/>
                    <a:pt x="11" y="32"/>
                  </a:cubicBezTo>
                  <a:cubicBezTo>
                    <a:pt x="11" y="32"/>
                    <a:pt x="10" y="32"/>
                    <a:pt x="10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32"/>
                    <a:pt x="6" y="22"/>
                    <a:pt x="6" y="2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65" name="Freeform 519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4212227" y="5152726"/>
              <a:ext cx="228450" cy="244448"/>
            </a:xfrm>
            <a:custGeom>
              <a:avLst/>
              <a:gdLst>
                <a:gd name="T0" fmla="*/ 2147483647 w 65"/>
                <a:gd name="T1" fmla="*/ 2147483647 h 66"/>
                <a:gd name="T2" fmla="*/ 2147483647 w 65"/>
                <a:gd name="T3" fmla="*/ 2147483647 h 66"/>
                <a:gd name="T4" fmla="*/ 0 w 65"/>
                <a:gd name="T5" fmla="*/ 2147483647 h 66"/>
                <a:gd name="T6" fmla="*/ 0 w 65"/>
                <a:gd name="T7" fmla="*/ 2147483647 h 66"/>
                <a:gd name="T8" fmla="*/ 2147483647 w 65"/>
                <a:gd name="T9" fmla="*/ 2147483647 h 66"/>
                <a:gd name="T10" fmla="*/ 2147483647 w 65"/>
                <a:gd name="T11" fmla="*/ 2147483647 h 66"/>
                <a:gd name="T12" fmla="*/ 2147483647 w 65"/>
                <a:gd name="T13" fmla="*/ 0 h 66"/>
                <a:gd name="T14" fmla="*/ 2147483647 w 65"/>
                <a:gd name="T15" fmla="*/ 2147483647 h 66"/>
                <a:gd name="T16" fmla="*/ 2147483647 w 65"/>
                <a:gd name="T17" fmla="*/ 2147483647 h 66"/>
                <a:gd name="T18" fmla="*/ 2147483647 w 65"/>
                <a:gd name="T19" fmla="*/ 2147483647 h 66"/>
                <a:gd name="T20" fmla="*/ 2147483647 w 65"/>
                <a:gd name="T21" fmla="*/ 2147483647 h 66"/>
                <a:gd name="T22" fmla="*/ 2147483647 w 65"/>
                <a:gd name="T23" fmla="*/ 2147483647 h 66"/>
                <a:gd name="T24" fmla="*/ 2147483647 w 65"/>
                <a:gd name="T25" fmla="*/ 2147483647 h 66"/>
                <a:gd name="T26" fmla="*/ 2147483647 w 65"/>
                <a:gd name="T27" fmla="*/ 2147483647 h 66"/>
                <a:gd name="T28" fmla="*/ 2147483647 w 65"/>
                <a:gd name="T29" fmla="*/ 2147483647 h 66"/>
                <a:gd name="T30" fmla="*/ 2147483647 w 65"/>
                <a:gd name="T31" fmla="*/ 2147483647 h 66"/>
                <a:gd name="T32" fmla="*/ 2147483647 w 65"/>
                <a:gd name="T33" fmla="*/ 2147483647 h 66"/>
                <a:gd name="T34" fmla="*/ 2147483647 w 65"/>
                <a:gd name="T35" fmla="*/ 2147483647 h 66"/>
                <a:gd name="T36" fmla="*/ 2147483647 w 65"/>
                <a:gd name="T37" fmla="*/ 2147483647 h 66"/>
                <a:gd name="T38" fmla="*/ 2147483647 w 65"/>
                <a:gd name="T39" fmla="*/ 2147483647 h 6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65"/>
                <a:gd name="T61" fmla="*/ 0 h 66"/>
                <a:gd name="T62" fmla="*/ 65 w 65"/>
                <a:gd name="T63" fmla="*/ 66 h 6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65" h="66">
                  <a:moveTo>
                    <a:pt x="17" y="38"/>
                  </a:moveTo>
                  <a:cubicBezTo>
                    <a:pt x="15" y="37"/>
                    <a:pt x="1" y="27"/>
                    <a:pt x="1" y="24"/>
                  </a:cubicBezTo>
                  <a:cubicBezTo>
                    <a:pt x="1" y="24"/>
                    <a:pt x="1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4"/>
                    <a:pt x="5" y="4"/>
                    <a:pt x="7" y="3"/>
                  </a:cubicBezTo>
                  <a:cubicBezTo>
                    <a:pt x="7" y="2"/>
                    <a:pt x="17" y="0"/>
                    <a:pt x="19" y="0"/>
                  </a:cubicBezTo>
                  <a:cubicBezTo>
                    <a:pt x="22" y="0"/>
                    <a:pt x="30" y="1"/>
                    <a:pt x="30" y="1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8"/>
                    <a:pt x="37" y="20"/>
                    <a:pt x="37" y="21"/>
                  </a:cubicBezTo>
                  <a:cubicBezTo>
                    <a:pt x="37" y="23"/>
                    <a:pt x="45" y="23"/>
                    <a:pt x="47" y="23"/>
                  </a:cubicBezTo>
                  <a:cubicBezTo>
                    <a:pt x="49" y="23"/>
                    <a:pt x="53" y="23"/>
                    <a:pt x="53" y="25"/>
                  </a:cubicBezTo>
                  <a:cubicBezTo>
                    <a:pt x="54" y="27"/>
                    <a:pt x="54" y="35"/>
                    <a:pt x="55" y="37"/>
                  </a:cubicBezTo>
                  <a:cubicBezTo>
                    <a:pt x="56" y="39"/>
                    <a:pt x="62" y="35"/>
                    <a:pt x="63" y="37"/>
                  </a:cubicBezTo>
                  <a:cubicBezTo>
                    <a:pt x="65" y="38"/>
                    <a:pt x="62" y="49"/>
                    <a:pt x="62" y="51"/>
                  </a:cubicBezTo>
                  <a:cubicBezTo>
                    <a:pt x="61" y="53"/>
                    <a:pt x="59" y="59"/>
                    <a:pt x="57" y="60"/>
                  </a:cubicBezTo>
                  <a:cubicBezTo>
                    <a:pt x="55" y="61"/>
                    <a:pt x="49" y="66"/>
                    <a:pt x="45" y="66"/>
                  </a:cubicBezTo>
                  <a:cubicBezTo>
                    <a:pt x="41" y="66"/>
                    <a:pt x="33" y="66"/>
                    <a:pt x="31" y="64"/>
                  </a:cubicBezTo>
                  <a:cubicBezTo>
                    <a:pt x="29" y="62"/>
                    <a:pt x="39" y="52"/>
                    <a:pt x="39" y="50"/>
                  </a:cubicBezTo>
                  <a:cubicBezTo>
                    <a:pt x="39" y="49"/>
                    <a:pt x="21" y="40"/>
                    <a:pt x="17" y="3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66" name="Freeform 520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4243099" y="4364262"/>
              <a:ext cx="127603" cy="201310"/>
            </a:xfrm>
            <a:custGeom>
              <a:avLst/>
              <a:gdLst>
                <a:gd name="T0" fmla="*/ 2147483647 w 36"/>
                <a:gd name="T1" fmla="*/ 2147483647 h 55"/>
                <a:gd name="T2" fmla="*/ 2147483647 w 36"/>
                <a:gd name="T3" fmla="*/ 2147483647 h 55"/>
                <a:gd name="T4" fmla="*/ 2147483647 w 36"/>
                <a:gd name="T5" fmla="*/ 2147483647 h 55"/>
                <a:gd name="T6" fmla="*/ 2147483647 w 36"/>
                <a:gd name="T7" fmla="*/ 2147483647 h 55"/>
                <a:gd name="T8" fmla="*/ 2147483647 w 36"/>
                <a:gd name="T9" fmla="*/ 0 h 55"/>
                <a:gd name="T10" fmla="*/ 2147483647 w 36"/>
                <a:gd name="T11" fmla="*/ 2147483647 h 55"/>
                <a:gd name="T12" fmla="*/ 2147483647 w 36"/>
                <a:gd name="T13" fmla="*/ 2147483647 h 55"/>
                <a:gd name="T14" fmla="*/ 2147483647 w 36"/>
                <a:gd name="T15" fmla="*/ 2147483647 h 55"/>
                <a:gd name="T16" fmla="*/ 2147483647 w 36"/>
                <a:gd name="T17" fmla="*/ 2147483647 h 55"/>
                <a:gd name="T18" fmla="*/ 2147483647 w 36"/>
                <a:gd name="T19" fmla="*/ 2147483647 h 55"/>
                <a:gd name="T20" fmla="*/ 2147483647 w 36"/>
                <a:gd name="T21" fmla="*/ 2147483647 h 55"/>
                <a:gd name="T22" fmla="*/ 2147483647 w 36"/>
                <a:gd name="T23" fmla="*/ 2147483647 h 55"/>
                <a:gd name="T24" fmla="*/ 2147483647 w 36"/>
                <a:gd name="T25" fmla="*/ 2147483647 h 55"/>
                <a:gd name="T26" fmla="*/ 2147483647 w 36"/>
                <a:gd name="T27" fmla="*/ 2147483647 h 55"/>
                <a:gd name="T28" fmla="*/ 2147483647 w 36"/>
                <a:gd name="T29" fmla="*/ 2147483647 h 55"/>
                <a:gd name="T30" fmla="*/ 2147483647 w 36"/>
                <a:gd name="T31" fmla="*/ 2147483647 h 55"/>
                <a:gd name="T32" fmla="*/ 2147483647 w 36"/>
                <a:gd name="T33" fmla="*/ 2147483647 h 55"/>
                <a:gd name="T34" fmla="*/ 2147483647 w 36"/>
                <a:gd name="T35" fmla="*/ 2147483647 h 55"/>
                <a:gd name="T36" fmla="*/ 2147483647 w 36"/>
                <a:gd name="T37" fmla="*/ 2147483647 h 55"/>
                <a:gd name="T38" fmla="*/ 2147483647 w 36"/>
                <a:gd name="T39" fmla="*/ 2147483647 h 5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6"/>
                <a:gd name="T61" fmla="*/ 0 h 55"/>
                <a:gd name="T62" fmla="*/ 36 w 36"/>
                <a:gd name="T63" fmla="*/ 55 h 5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6" h="55">
                  <a:moveTo>
                    <a:pt x="5" y="25"/>
                  </a:moveTo>
                  <a:cubicBezTo>
                    <a:pt x="4" y="23"/>
                    <a:pt x="2" y="21"/>
                    <a:pt x="1" y="20"/>
                  </a:cubicBezTo>
                  <a:cubicBezTo>
                    <a:pt x="0" y="18"/>
                    <a:pt x="4" y="12"/>
                    <a:pt x="6" y="11"/>
                  </a:cubicBezTo>
                  <a:cubicBezTo>
                    <a:pt x="7" y="9"/>
                    <a:pt x="9" y="6"/>
                    <a:pt x="10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6" y="2"/>
                    <a:pt x="20" y="5"/>
                    <a:pt x="24" y="10"/>
                  </a:cubicBezTo>
                  <a:cubicBezTo>
                    <a:pt x="28" y="14"/>
                    <a:pt x="32" y="17"/>
                    <a:pt x="34" y="18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2" y="27"/>
                    <a:pt x="27" y="26"/>
                    <a:pt x="27" y="29"/>
                  </a:cubicBezTo>
                  <a:cubicBezTo>
                    <a:pt x="26" y="31"/>
                    <a:pt x="27" y="35"/>
                    <a:pt x="28" y="36"/>
                  </a:cubicBezTo>
                  <a:cubicBezTo>
                    <a:pt x="28" y="37"/>
                    <a:pt x="32" y="39"/>
                    <a:pt x="32" y="39"/>
                  </a:cubicBezTo>
                  <a:cubicBezTo>
                    <a:pt x="32" y="40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3" y="50"/>
                    <a:pt x="28" y="52"/>
                    <a:pt x="27" y="52"/>
                  </a:cubicBezTo>
                  <a:cubicBezTo>
                    <a:pt x="26" y="53"/>
                    <a:pt x="21" y="55"/>
                    <a:pt x="19" y="55"/>
                  </a:cubicBezTo>
                  <a:cubicBezTo>
                    <a:pt x="17" y="55"/>
                    <a:pt x="12" y="46"/>
                    <a:pt x="12" y="44"/>
                  </a:cubicBezTo>
                  <a:cubicBezTo>
                    <a:pt x="11" y="43"/>
                    <a:pt x="14" y="36"/>
                    <a:pt x="15" y="35"/>
                  </a:cubicBezTo>
                  <a:cubicBezTo>
                    <a:pt x="16" y="34"/>
                    <a:pt x="13" y="27"/>
                    <a:pt x="12" y="26"/>
                  </a:cubicBezTo>
                  <a:cubicBezTo>
                    <a:pt x="12" y="24"/>
                    <a:pt x="11" y="22"/>
                    <a:pt x="10" y="23"/>
                  </a:cubicBezTo>
                  <a:lnTo>
                    <a:pt x="5" y="25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67" name="Freeform 521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4302784" y="6192827"/>
              <a:ext cx="49395" cy="45534"/>
            </a:xfrm>
            <a:custGeom>
              <a:avLst/>
              <a:gdLst>
                <a:gd name="T0" fmla="*/ 2147483647 w 14"/>
                <a:gd name="T1" fmla="*/ 2147483647 h 13"/>
                <a:gd name="T2" fmla="*/ 2147483647 w 14"/>
                <a:gd name="T3" fmla="*/ 2147483647 h 13"/>
                <a:gd name="T4" fmla="*/ 2147483647 w 14"/>
                <a:gd name="T5" fmla="*/ 2147483647 h 13"/>
                <a:gd name="T6" fmla="*/ 2147483647 w 14"/>
                <a:gd name="T7" fmla="*/ 2147483647 h 13"/>
                <a:gd name="T8" fmla="*/ 2147483647 w 14"/>
                <a:gd name="T9" fmla="*/ 2147483647 h 13"/>
                <a:gd name="T10" fmla="*/ 2147483647 w 14"/>
                <a:gd name="T11" fmla="*/ 2147483647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13"/>
                <a:gd name="T20" fmla="*/ 14 w 14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13">
                  <a:moveTo>
                    <a:pt x="1" y="9"/>
                  </a:moveTo>
                  <a:cubicBezTo>
                    <a:pt x="3" y="8"/>
                    <a:pt x="7" y="0"/>
                    <a:pt x="9" y="1"/>
                  </a:cubicBezTo>
                  <a:cubicBezTo>
                    <a:pt x="9" y="1"/>
                    <a:pt x="12" y="1"/>
                    <a:pt x="13" y="2"/>
                  </a:cubicBezTo>
                  <a:cubicBezTo>
                    <a:pt x="14" y="4"/>
                    <a:pt x="13" y="6"/>
                    <a:pt x="12" y="7"/>
                  </a:cubicBezTo>
                  <a:cubicBezTo>
                    <a:pt x="11" y="8"/>
                    <a:pt x="5" y="13"/>
                    <a:pt x="3" y="13"/>
                  </a:cubicBezTo>
                  <a:cubicBezTo>
                    <a:pt x="2" y="13"/>
                    <a:pt x="0" y="10"/>
                    <a:pt x="1" y="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68" name="Freeform 522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4257506" y="6188034"/>
              <a:ext cx="53511" cy="43138"/>
            </a:xfrm>
            <a:custGeom>
              <a:avLst/>
              <a:gdLst>
                <a:gd name="T0" fmla="*/ 2147483647 w 15"/>
                <a:gd name="T1" fmla="*/ 2147483647 h 12"/>
                <a:gd name="T2" fmla="*/ 2147483647 w 15"/>
                <a:gd name="T3" fmla="*/ 2147483647 h 12"/>
                <a:gd name="T4" fmla="*/ 0 w 15"/>
                <a:gd name="T5" fmla="*/ 2147483647 h 12"/>
                <a:gd name="T6" fmla="*/ 2147483647 w 15"/>
                <a:gd name="T7" fmla="*/ 2147483647 h 12"/>
                <a:gd name="T8" fmla="*/ 2147483647 w 15"/>
                <a:gd name="T9" fmla="*/ 2147483647 h 12"/>
                <a:gd name="T10" fmla="*/ 2147483647 w 15"/>
                <a:gd name="T11" fmla="*/ 2147483647 h 12"/>
                <a:gd name="T12" fmla="*/ 2147483647 w 15"/>
                <a:gd name="T13" fmla="*/ 2147483647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12"/>
                <a:gd name="T23" fmla="*/ 15 w 15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12">
                  <a:moveTo>
                    <a:pt x="6" y="9"/>
                  </a:moveTo>
                  <a:cubicBezTo>
                    <a:pt x="6" y="10"/>
                    <a:pt x="3" y="12"/>
                    <a:pt x="2" y="11"/>
                  </a:cubicBezTo>
                  <a:cubicBezTo>
                    <a:pt x="0" y="10"/>
                    <a:pt x="0" y="8"/>
                    <a:pt x="0" y="7"/>
                  </a:cubicBezTo>
                  <a:cubicBezTo>
                    <a:pt x="0" y="7"/>
                    <a:pt x="3" y="4"/>
                    <a:pt x="4" y="4"/>
                  </a:cubicBezTo>
                  <a:cubicBezTo>
                    <a:pt x="5" y="4"/>
                    <a:pt x="3" y="1"/>
                    <a:pt x="5" y="1"/>
                  </a:cubicBezTo>
                  <a:cubicBezTo>
                    <a:pt x="6" y="0"/>
                    <a:pt x="12" y="1"/>
                    <a:pt x="14" y="2"/>
                  </a:cubicBezTo>
                  <a:cubicBezTo>
                    <a:pt x="15" y="4"/>
                    <a:pt x="7" y="9"/>
                    <a:pt x="6" y="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69" name="Freeform 523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4031114" y="4869934"/>
              <a:ext cx="321065" cy="390637"/>
            </a:xfrm>
            <a:custGeom>
              <a:avLst/>
              <a:gdLst>
                <a:gd name="T0" fmla="*/ 2147483647 w 92"/>
                <a:gd name="T1" fmla="*/ 2147483647 h 106"/>
                <a:gd name="T2" fmla="*/ 2147483647 w 92"/>
                <a:gd name="T3" fmla="*/ 2147483647 h 106"/>
                <a:gd name="T4" fmla="*/ 2147483647 w 92"/>
                <a:gd name="T5" fmla="*/ 2147483647 h 106"/>
                <a:gd name="T6" fmla="*/ 2147483647 w 92"/>
                <a:gd name="T7" fmla="*/ 2147483647 h 106"/>
                <a:gd name="T8" fmla="*/ 2147483647 w 92"/>
                <a:gd name="T9" fmla="*/ 2147483647 h 106"/>
                <a:gd name="T10" fmla="*/ 2147483647 w 92"/>
                <a:gd name="T11" fmla="*/ 2147483647 h 106"/>
                <a:gd name="T12" fmla="*/ 2147483647 w 92"/>
                <a:gd name="T13" fmla="*/ 2147483647 h 106"/>
                <a:gd name="T14" fmla="*/ 2147483647 w 92"/>
                <a:gd name="T15" fmla="*/ 2147483647 h 106"/>
                <a:gd name="T16" fmla="*/ 2147483647 w 92"/>
                <a:gd name="T17" fmla="*/ 2147483647 h 106"/>
                <a:gd name="T18" fmla="*/ 2147483647 w 92"/>
                <a:gd name="T19" fmla="*/ 2147483647 h 106"/>
                <a:gd name="T20" fmla="*/ 2147483647 w 92"/>
                <a:gd name="T21" fmla="*/ 2147483647 h 106"/>
                <a:gd name="T22" fmla="*/ 2147483647 w 92"/>
                <a:gd name="T23" fmla="*/ 2147483647 h 106"/>
                <a:gd name="T24" fmla="*/ 2147483647 w 92"/>
                <a:gd name="T25" fmla="*/ 2147483647 h 106"/>
                <a:gd name="T26" fmla="*/ 2147483647 w 92"/>
                <a:gd name="T27" fmla="*/ 2147483647 h 106"/>
                <a:gd name="T28" fmla="*/ 2147483647 w 92"/>
                <a:gd name="T29" fmla="*/ 2147483647 h 106"/>
                <a:gd name="T30" fmla="*/ 2147483647 w 92"/>
                <a:gd name="T31" fmla="*/ 2147483647 h 106"/>
                <a:gd name="T32" fmla="*/ 2147483647 w 92"/>
                <a:gd name="T33" fmla="*/ 2147483647 h 106"/>
                <a:gd name="T34" fmla="*/ 2147483647 w 92"/>
                <a:gd name="T35" fmla="*/ 2147483647 h 106"/>
                <a:gd name="T36" fmla="*/ 2147483647 w 92"/>
                <a:gd name="T37" fmla="*/ 2147483647 h 106"/>
                <a:gd name="T38" fmla="*/ 2147483647 w 92"/>
                <a:gd name="T39" fmla="*/ 2147483647 h 106"/>
                <a:gd name="T40" fmla="*/ 2147483647 w 92"/>
                <a:gd name="T41" fmla="*/ 2147483647 h 106"/>
                <a:gd name="T42" fmla="*/ 2147483647 w 92"/>
                <a:gd name="T43" fmla="*/ 2147483647 h 106"/>
                <a:gd name="T44" fmla="*/ 2147483647 w 92"/>
                <a:gd name="T45" fmla="*/ 2147483647 h 106"/>
                <a:gd name="T46" fmla="*/ 2147483647 w 92"/>
                <a:gd name="T47" fmla="*/ 2147483647 h 106"/>
                <a:gd name="T48" fmla="*/ 2147483647 w 92"/>
                <a:gd name="T49" fmla="*/ 2147483647 h 106"/>
                <a:gd name="T50" fmla="*/ 2147483647 w 92"/>
                <a:gd name="T51" fmla="*/ 2147483647 h 106"/>
                <a:gd name="T52" fmla="*/ 2147483647 w 92"/>
                <a:gd name="T53" fmla="*/ 2147483647 h 106"/>
                <a:gd name="T54" fmla="*/ 2147483647 w 92"/>
                <a:gd name="T55" fmla="*/ 2147483647 h 106"/>
                <a:gd name="T56" fmla="*/ 2147483647 w 92"/>
                <a:gd name="T57" fmla="*/ 2147483647 h 106"/>
                <a:gd name="T58" fmla="*/ 2147483647 w 92"/>
                <a:gd name="T59" fmla="*/ 2147483647 h 106"/>
                <a:gd name="T60" fmla="*/ 2147483647 w 92"/>
                <a:gd name="T61" fmla="*/ 2147483647 h 106"/>
                <a:gd name="T62" fmla="*/ 0 w 92"/>
                <a:gd name="T63" fmla="*/ 2147483647 h 106"/>
                <a:gd name="T64" fmla="*/ 2147483647 w 92"/>
                <a:gd name="T65" fmla="*/ 2147483647 h 106"/>
                <a:gd name="T66" fmla="*/ 2147483647 w 92"/>
                <a:gd name="T67" fmla="*/ 2147483647 h 106"/>
                <a:gd name="T68" fmla="*/ 2147483647 w 92"/>
                <a:gd name="T69" fmla="*/ 2147483647 h 106"/>
                <a:gd name="T70" fmla="*/ 2147483647 w 92"/>
                <a:gd name="T71" fmla="*/ 2147483647 h 106"/>
                <a:gd name="T72" fmla="*/ 2147483647 w 92"/>
                <a:gd name="T73" fmla="*/ 2147483647 h 106"/>
                <a:gd name="T74" fmla="*/ 2147483647 w 92"/>
                <a:gd name="T75" fmla="*/ 2147483647 h 10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2"/>
                <a:gd name="T115" fmla="*/ 0 h 106"/>
                <a:gd name="T116" fmla="*/ 92 w 92"/>
                <a:gd name="T117" fmla="*/ 106 h 10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2" h="106">
                  <a:moveTo>
                    <a:pt x="2" y="14"/>
                  </a:moveTo>
                  <a:cubicBezTo>
                    <a:pt x="7" y="12"/>
                    <a:pt x="7" y="12"/>
                    <a:pt x="7" y="12"/>
                  </a:cubicBezTo>
                  <a:cubicBezTo>
                    <a:pt x="8" y="11"/>
                    <a:pt x="23" y="2"/>
                    <a:pt x="26" y="2"/>
                  </a:cubicBezTo>
                  <a:cubicBezTo>
                    <a:pt x="29" y="1"/>
                    <a:pt x="31" y="0"/>
                    <a:pt x="32" y="2"/>
                  </a:cubicBezTo>
                  <a:cubicBezTo>
                    <a:pt x="33" y="4"/>
                    <a:pt x="31" y="10"/>
                    <a:pt x="31" y="12"/>
                  </a:cubicBezTo>
                  <a:cubicBezTo>
                    <a:pt x="32" y="14"/>
                    <a:pt x="34" y="20"/>
                    <a:pt x="37" y="21"/>
                  </a:cubicBezTo>
                  <a:cubicBezTo>
                    <a:pt x="39" y="22"/>
                    <a:pt x="47" y="24"/>
                    <a:pt x="49" y="25"/>
                  </a:cubicBezTo>
                  <a:cubicBezTo>
                    <a:pt x="51" y="26"/>
                    <a:pt x="56" y="31"/>
                    <a:pt x="58" y="32"/>
                  </a:cubicBezTo>
                  <a:cubicBezTo>
                    <a:pt x="59" y="32"/>
                    <a:pt x="64" y="30"/>
                    <a:pt x="66" y="31"/>
                  </a:cubicBezTo>
                  <a:cubicBezTo>
                    <a:pt x="68" y="33"/>
                    <a:pt x="71" y="35"/>
                    <a:pt x="70" y="37"/>
                  </a:cubicBezTo>
                  <a:cubicBezTo>
                    <a:pt x="70" y="39"/>
                    <a:pt x="71" y="51"/>
                    <a:pt x="71" y="52"/>
                  </a:cubicBezTo>
                  <a:cubicBezTo>
                    <a:pt x="71" y="53"/>
                    <a:pt x="84" y="54"/>
                    <a:pt x="85" y="54"/>
                  </a:cubicBezTo>
                  <a:cubicBezTo>
                    <a:pt x="87" y="54"/>
                    <a:pt x="85" y="60"/>
                    <a:pt x="85" y="61"/>
                  </a:cubicBezTo>
                  <a:cubicBezTo>
                    <a:pt x="86" y="62"/>
                    <a:pt x="92" y="66"/>
                    <a:pt x="91" y="69"/>
                  </a:cubicBezTo>
                  <a:cubicBezTo>
                    <a:pt x="91" y="71"/>
                    <a:pt x="88" y="79"/>
                    <a:pt x="88" y="82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2" y="78"/>
                    <a:pt x="74" y="77"/>
                    <a:pt x="71" y="77"/>
                  </a:cubicBezTo>
                  <a:cubicBezTo>
                    <a:pt x="69" y="77"/>
                    <a:pt x="59" y="79"/>
                    <a:pt x="59" y="80"/>
                  </a:cubicBezTo>
                  <a:cubicBezTo>
                    <a:pt x="57" y="81"/>
                    <a:pt x="55" y="91"/>
                    <a:pt x="55" y="93"/>
                  </a:cubicBezTo>
                  <a:cubicBezTo>
                    <a:pt x="52" y="100"/>
                    <a:pt x="52" y="100"/>
                    <a:pt x="52" y="100"/>
                  </a:cubicBezTo>
                  <a:cubicBezTo>
                    <a:pt x="52" y="100"/>
                    <a:pt x="52" y="100"/>
                    <a:pt x="52" y="100"/>
                  </a:cubicBezTo>
                  <a:cubicBezTo>
                    <a:pt x="51" y="99"/>
                    <a:pt x="49" y="99"/>
                    <a:pt x="47" y="99"/>
                  </a:cubicBezTo>
                  <a:cubicBezTo>
                    <a:pt x="45" y="99"/>
                    <a:pt x="41" y="105"/>
                    <a:pt x="39" y="105"/>
                  </a:cubicBezTo>
                  <a:cubicBezTo>
                    <a:pt x="38" y="105"/>
                    <a:pt x="37" y="99"/>
                    <a:pt x="34" y="99"/>
                  </a:cubicBezTo>
                  <a:cubicBezTo>
                    <a:pt x="31" y="98"/>
                    <a:pt x="26" y="97"/>
                    <a:pt x="25" y="98"/>
                  </a:cubicBezTo>
                  <a:cubicBezTo>
                    <a:pt x="23" y="100"/>
                    <a:pt x="21" y="103"/>
                    <a:pt x="19" y="104"/>
                  </a:cubicBezTo>
                  <a:cubicBezTo>
                    <a:pt x="19" y="105"/>
                    <a:pt x="18" y="105"/>
                    <a:pt x="18" y="105"/>
                  </a:cubicBezTo>
                  <a:cubicBezTo>
                    <a:pt x="17" y="105"/>
                    <a:pt x="11" y="106"/>
                    <a:pt x="11" y="104"/>
                  </a:cubicBezTo>
                  <a:cubicBezTo>
                    <a:pt x="11" y="103"/>
                    <a:pt x="9" y="90"/>
                    <a:pt x="8" y="87"/>
                  </a:cubicBezTo>
                  <a:cubicBezTo>
                    <a:pt x="7" y="84"/>
                    <a:pt x="9" y="80"/>
                    <a:pt x="9" y="78"/>
                  </a:cubicBezTo>
                  <a:cubicBezTo>
                    <a:pt x="8" y="76"/>
                    <a:pt x="6" y="74"/>
                    <a:pt x="5" y="72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" y="60"/>
                    <a:pt x="4" y="56"/>
                    <a:pt x="5" y="55"/>
                  </a:cubicBezTo>
                  <a:cubicBezTo>
                    <a:pt x="6" y="53"/>
                    <a:pt x="0" y="51"/>
                    <a:pt x="1" y="48"/>
                  </a:cubicBezTo>
                  <a:cubicBezTo>
                    <a:pt x="2" y="45"/>
                    <a:pt x="4" y="40"/>
                    <a:pt x="5" y="38"/>
                  </a:cubicBezTo>
                  <a:cubicBezTo>
                    <a:pt x="6" y="36"/>
                    <a:pt x="3" y="30"/>
                    <a:pt x="4" y="28"/>
                  </a:cubicBezTo>
                  <a:cubicBezTo>
                    <a:pt x="6" y="26"/>
                    <a:pt x="7" y="25"/>
                    <a:pt x="7" y="24"/>
                  </a:cubicBezTo>
                  <a:cubicBezTo>
                    <a:pt x="6" y="22"/>
                    <a:pt x="4" y="17"/>
                    <a:pt x="2" y="1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70" name="Freeform 524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3907627" y="4445745"/>
              <a:ext cx="1055810" cy="1152739"/>
            </a:xfrm>
            <a:custGeom>
              <a:avLst/>
              <a:gdLst>
                <a:gd name="T0" fmla="*/ 2147483647 w 301"/>
                <a:gd name="T1" fmla="*/ 2147483647 h 312"/>
                <a:gd name="T2" fmla="*/ 2147483647 w 301"/>
                <a:gd name="T3" fmla="*/ 2147483647 h 312"/>
                <a:gd name="T4" fmla="*/ 2147483647 w 301"/>
                <a:gd name="T5" fmla="*/ 2147483647 h 312"/>
                <a:gd name="T6" fmla="*/ 2147483647 w 301"/>
                <a:gd name="T7" fmla="*/ 2147483647 h 312"/>
                <a:gd name="T8" fmla="*/ 2147483647 w 301"/>
                <a:gd name="T9" fmla="*/ 2147483647 h 312"/>
                <a:gd name="T10" fmla="*/ 2147483647 w 301"/>
                <a:gd name="T11" fmla="*/ 2147483647 h 312"/>
                <a:gd name="T12" fmla="*/ 2147483647 w 301"/>
                <a:gd name="T13" fmla="*/ 2147483647 h 312"/>
                <a:gd name="T14" fmla="*/ 2147483647 w 301"/>
                <a:gd name="T15" fmla="*/ 2147483647 h 312"/>
                <a:gd name="T16" fmla="*/ 2147483647 w 301"/>
                <a:gd name="T17" fmla="*/ 2147483647 h 312"/>
                <a:gd name="T18" fmla="*/ 2147483647 w 301"/>
                <a:gd name="T19" fmla="*/ 2147483647 h 312"/>
                <a:gd name="T20" fmla="*/ 2147483647 w 301"/>
                <a:gd name="T21" fmla="*/ 2147483647 h 312"/>
                <a:gd name="T22" fmla="*/ 2147483647 w 301"/>
                <a:gd name="T23" fmla="*/ 2147483647 h 312"/>
                <a:gd name="T24" fmla="*/ 2147483647 w 301"/>
                <a:gd name="T25" fmla="*/ 2147483647 h 312"/>
                <a:gd name="T26" fmla="*/ 2147483647 w 301"/>
                <a:gd name="T27" fmla="*/ 2147483647 h 312"/>
                <a:gd name="T28" fmla="*/ 2147483647 w 301"/>
                <a:gd name="T29" fmla="*/ 2147483647 h 312"/>
                <a:gd name="T30" fmla="*/ 2147483647 w 301"/>
                <a:gd name="T31" fmla="*/ 2147483647 h 312"/>
                <a:gd name="T32" fmla="*/ 2147483647 w 301"/>
                <a:gd name="T33" fmla="*/ 2147483647 h 312"/>
                <a:gd name="T34" fmla="*/ 2147483647 w 301"/>
                <a:gd name="T35" fmla="*/ 2147483647 h 312"/>
                <a:gd name="T36" fmla="*/ 2147483647 w 301"/>
                <a:gd name="T37" fmla="*/ 2147483647 h 312"/>
                <a:gd name="T38" fmla="*/ 2147483647 w 301"/>
                <a:gd name="T39" fmla="*/ 2147483647 h 312"/>
                <a:gd name="T40" fmla="*/ 2147483647 w 301"/>
                <a:gd name="T41" fmla="*/ 2147483647 h 312"/>
                <a:gd name="T42" fmla="*/ 2147483647 w 301"/>
                <a:gd name="T43" fmla="*/ 2147483647 h 312"/>
                <a:gd name="T44" fmla="*/ 2147483647 w 301"/>
                <a:gd name="T45" fmla="*/ 2147483647 h 312"/>
                <a:gd name="T46" fmla="*/ 2147483647 w 301"/>
                <a:gd name="T47" fmla="*/ 2147483647 h 312"/>
                <a:gd name="T48" fmla="*/ 2147483647 w 301"/>
                <a:gd name="T49" fmla="*/ 2147483647 h 312"/>
                <a:gd name="T50" fmla="*/ 2147483647 w 301"/>
                <a:gd name="T51" fmla="*/ 2147483647 h 312"/>
                <a:gd name="T52" fmla="*/ 2147483647 w 301"/>
                <a:gd name="T53" fmla="*/ 2147483647 h 312"/>
                <a:gd name="T54" fmla="*/ 2147483647 w 301"/>
                <a:gd name="T55" fmla="*/ 2147483647 h 312"/>
                <a:gd name="T56" fmla="*/ 2147483647 w 301"/>
                <a:gd name="T57" fmla="*/ 2147483647 h 312"/>
                <a:gd name="T58" fmla="*/ 2147483647 w 301"/>
                <a:gd name="T59" fmla="*/ 2147483647 h 312"/>
                <a:gd name="T60" fmla="*/ 2147483647 w 301"/>
                <a:gd name="T61" fmla="*/ 2147483647 h 312"/>
                <a:gd name="T62" fmla="*/ 2147483647 w 301"/>
                <a:gd name="T63" fmla="*/ 2147483647 h 312"/>
                <a:gd name="T64" fmla="*/ 2147483647 w 301"/>
                <a:gd name="T65" fmla="*/ 2147483647 h 312"/>
                <a:gd name="T66" fmla="*/ 2147483647 w 301"/>
                <a:gd name="T67" fmla="*/ 2147483647 h 312"/>
                <a:gd name="T68" fmla="*/ 2147483647 w 301"/>
                <a:gd name="T69" fmla="*/ 2147483647 h 312"/>
                <a:gd name="T70" fmla="*/ 2147483647 w 301"/>
                <a:gd name="T71" fmla="*/ 2147483647 h 312"/>
                <a:gd name="T72" fmla="*/ 2147483647 w 301"/>
                <a:gd name="T73" fmla="*/ 2147483647 h 312"/>
                <a:gd name="T74" fmla="*/ 2147483647 w 301"/>
                <a:gd name="T75" fmla="*/ 2147483647 h 312"/>
                <a:gd name="T76" fmla="*/ 2147483647 w 301"/>
                <a:gd name="T77" fmla="*/ 2147483647 h 312"/>
                <a:gd name="T78" fmla="*/ 2147483647 w 301"/>
                <a:gd name="T79" fmla="*/ 2147483647 h 312"/>
                <a:gd name="T80" fmla="*/ 2147483647 w 301"/>
                <a:gd name="T81" fmla="*/ 2147483647 h 312"/>
                <a:gd name="T82" fmla="*/ 2147483647 w 301"/>
                <a:gd name="T83" fmla="*/ 2147483647 h 312"/>
                <a:gd name="T84" fmla="*/ 2147483647 w 301"/>
                <a:gd name="T85" fmla="*/ 2147483647 h 312"/>
                <a:gd name="T86" fmla="*/ 2147483647 w 301"/>
                <a:gd name="T87" fmla="*/ 2147483647 h 312"/>
                <a:gd name="T88" fmla="*/ 2147483647 w 301"/>
                <a:gd name="T89" fmla="*/ 2147483647 h 312"/>
                <a:gd name="T90" fmla="*/ 2147483647 w 301"/>
                <a:gd name="T91" fmla="*/ 2147483647 h 312"/>
                <a:gd name="T92" fmla="*/ 2147483647 w 301"/>
                <a:gd name="T93" fmla="*/ 2147483647 h 312"/>
                <a:gd name="T94" fmla="*/ 2147483647 w 301"/>
                <a:gd name="T95" fmla="*/ 2147483647 h 312"/>
                <a:gd name="T96" fmla="*/ 2147483647 w 301"/>
                <a:gd name="T97" fmla="*/ 2147483647 h 312"/>
                <a:gd name="T98" fmla="*/ 2147483647 w 301"/>
                <a:gd name="T99" fmla="*/ 2147483647 h 312"/>
                <a:gd name="T100" fmla="*/ 2147483647 w 301"/>
                <a:gd name="T101" fmla="*/ 2147483647 h 312"/>
                <a:gd name="T102" fmla="*/ 2147483647 w 301"/>
                <a:gd name="T103" fmla="*/ 2147483647 h 312"/>
                <a:gd name="T104" fmla="*/ 2147483647 w 301"/>
                <a:gd name="T105" fmla="*/ 2147483647 h 312"/>
                <a:gd name="T106" fmla="*/ 2147483647 w 301"/>
                <a:gd name="T107" fmla="*/ 2147483647 h 312"/>
                <a:gd name="T108" fmla="*/ 2147483647 w 301"/>
                <a:gd name="T109" fmla="*/ 2147483647 h 31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01"/>
                <a:gd name="T166" fmla="*/ 0 h 312"/>
                <a:gd name="T167" fmla="*/ 301 w 301"/>
                <a:gd name="T168" fmla="*/ 312 h 31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01" h="312">
                  <a:moveTo>
                    <a:pt x="16" y="119"/>
                  </a:moveTo>
                  <a:cubicBezTo>
                    <a:pt x="13" y="118"/>
                    <a:pt x="9" y="116"/>
                    <a:pt x="7" y="114"/>
                  </a:cubicBezTo>
                  <a:cubicBezTo>
                    <a:pt x="6" y="111"/>
                    <a:pt x="0" y="102"/>
                    <a:pt x="2" y="98"/>
                  </a:cubicBezTo>
                  <a:cubicBezTo>
                    <a:pt x="4" y="95"/>
                    <a:pt x="7" y="95"/>
                    <a:pt x="8" y="93"/>
                  </a:cubicBezTo>
                  <a:cubicBezTo>
                    <a:pt x="9" y="91"/>
                    <a:pt x="5" y="88"/>
                    <a:pt x="6" y="87"/>
                  </a:cubicBezTo>
                  <a:cubicBezTo>
                    <a:pt x="7" y="85"/>
                    <a:pt x="10" y="81"/>
                    <a:pt x="13" y="80"/>
                  </a:cubicBezTo>
                  <a:cubicBezTo>
                    <a:pt x="16" y="78"/>
                    <a:pt x="29" y="76"/>
                    <a:pt x="30" y="76"/>
                  </a:cubicBezTo>
                  <a:cubicBezTo>
                    <a:pt x="31" y="76"/>
                    <a:pt x="31" y="74"/>
                    <a:pt x="32" y="73"/>
                  </a:cubicBezTo>
                  <a:cubicBezTo>
                    <a:pt x="34" y="68"/>
                    <a:pt x="36" y="57"/>
                    <a:pt x="37" y="55"/>
                  </a:cubicBezTo>
                  <a:cubicBezTo>
                    <a:pt x="37" y="52"/>
                    <a:pt x="33" y="46"/>
                    <a:pt x="31" y="44"/>
                  </a:cubicBezTo>
                  <a:cubicBezTo>
                    <a:pt x="30" y="42"/>
                    <a:pt x="32" y="32"/>
                    <a:pt x="33" y="31"/>
                  </a:cubicBezTo>
                  <a:cubicBezTo>
                    <a:pt x="34" y="29"/>
                    <a:pt x="44" y="30"/>
                    <a:pt x="46" y="30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3" y="27"/>
                    <a:pt x="54" y="29"/>
                    <a:pt x="54" y="30"/>
                  </a:cubicBezTo>
                  <a:cubicBezTo>
                    <a:pt x="54" y="31"/>
                    <a:pt x="59" y="37"/>
                    <a:pt x="61" y="37"/>
                  </a:cubicBezTo>
                  <a:cubicBezTo>
                    <a:pt x="62" y="37"/>
                    <a:pt x="77" y="29"/>
                    <a:pt x="79" y="28"/>
                  </a:cubicBezTo>
                  <a:cubicBezTo>
                    <a:pt x="82" y="26"/>
                    <a:pt x="77" y="23"/>
                    <a:pt x="76" y="21"/>
                  </a:cubicBezTo>
                  <a:cubicBezTo>
                    <a:pt x="75" y="20"/>
                    <a:pt x="70" y="12"/>
                    <a:pt x="71" y="10"/>
                  </a:cubicBezTo>
                  <a:cubicBezTo>
                    <a:pt x="71" y="9"/>
                    <a:pt x="84" y="13"/>
                    <a:pt x="86" y="13"/>
                  </a:cubicBezTo>
                  <a:cubicBezTo>
                    <a:pt x="86" y="13"/>
                    <a:pt x="100" y="8"/>
                    <a:pt x="101" y="7"/>
                  </a:cubicBezTo>
                  <a:cubicBezTo>
                    <a:pt x="102" y="6"/>
                    <a:pt x="102" y="5"/>
                    <a:pt x="101" y="3"/>
                  </a:cubicBezTo>
                  <a:cubicBezTo>
                    <a:pt x="106" y="1"/>
                    <a:pt x="106" y="1"/>
                    <a:pt x="106" y="1"/>
                  </a:cubicBezTo>
                  <a:cubicBezTo>
                    <a:pt x="107" y="0"/>
                    <a:pt x="108" y="2"/>
                    <a:pt x="108" y="4"/>
                  </a:cubicBezTo>
                  <a:cubicBezTo>
                    <a:pt x="109" y="5"/>
                    <a:pt x="112" y="12"/>
                    <a:pt x="111" y="13"/>
                  </a:cubicBezTo>
                  <a:cubicBezTo>
                    <a:pt x="110" y="14"/>
                    <a:pt x="107" y="21"/>
                    <a:pt x="108" y="22"/>
                  </a:cubicBezTo>
                  <a:cubicBezTo>
                    <a:pt x="108" y="24"/>
                    <a:pt x="113" y="33"/>
                    <a:pt x="115" y="33"/>
                  </a:cubicBezTo>
                  <a:cubicBezTo>
                    <a:pt x="117" y="33"/>
                    <a:pt x="122" y="31"/>
                    <a:pt x="123" y="30"/>
                  </a:cubicBezTo>
                  <a:cubicBezTo>
                    <a:pt x="124" y="30"/>
                    <a:pt x="129" y="28"/>
                    <a:pt x="132" y="28"/>
                  </a:cubicBezTo>
                  <a:cubicBezTo>
                    <a:pt x="132" y="28"/>
                    <a:pt x="133" y="28"/>
                    <a:pt x="133" y="28"/>
                  </a:cubicBezTo>
                  <a:cubicBezTo>
                    <a:pt x="135" y="28"/>
                    <a:pt x="138" y="28"/>
                    <a:pt x="139" y="28"/>
                  </a:cubicBezTo>
                  <a:cubicBezTo>
                    <a:pt x="140" y="28"/>
                    <a:pt x="138" y="23"/>
                    <a:pt x="140" y="23"/>
                  </a:cubicBezTo>
                  <a:cubicBezTo>
                    <a:pt x="142" y="23"/>
                    <a:pt x="148" y="24"/>
                    <a:pt x="149" y="25"/>
                  </a:cubicBezTo>
                  <a:cubicBezTo>
                    <a:pt x="149" y="25"/>
                    <a:pt x="150" y="25"/>
                    <a:pt x="150" y="25"/>
                  </a:cubicBezTo>
                  <a:cubicBezTo>
                    <a:pt x="153" y="26"/>
                    <a:pt x="161" y="27"/>
                    <a:pt x="162" y="27"/>
                  </a:cubicBezTo>
                  <a:cubicBezTo>
                    <a:pt x="163" y="26"/>
                    <a:pt x="168" y="19"/>
                    <a:pt x="168" y="18"/>
                  </a:cubicBezTo>
                  <a:cubicBezTo>
                    <a:pt x="173" y="10"/>
                    <a:pt x="173" y="10"/>
                    <a:pt x="173" y="10"/>
                  </a:cubicBezTo>
                  <a:cubicBezTo>
                    <a:pt x="173" y="10"/>
                    <a:pt x="173" y="10"/>
                    <a:pt x="174" y="11"/>
                  </a:cubicBezTo>
                  <a:cubicBezTo>
                    <a:pt x="177" y="15"/>
                    <a:pt x="178" y="17"/>
                    <a:pt x="179" y="23"/>
                  </a:cubicBezTo>
                  <a:cubicBezTo>
                    <a:pt x="180" y="29"/>
                    <a:pt x="183" y="28"/>
                    <a:pt x="185" y="31"/>
                  </a:cubicBezTo>
                  <a:cubicBezTo>
                    <a:pt x="187" y="33"/>
                    <a:pt x="176" y="41"/>
                    <a:pt x="178" y="41"/>
                  </a:cubicBezTo>
                  <a:cubicBezTo>
                    <a:pt x="179" y="41"/>
                    <a:pt x="182" y="42"/>
                    <a:pt x="184" y="42"/>
                  </a:cubicBezTo>
                  <a:cubicBezTo>
                    <a:pt x="186" y="42"/>
                    <a:pt x="191" y="42"/>
                    <a:pt x="193" y="43"/>
                  </a:cubicBezTo>
                  <a:cubicBezTo>
                    <a:pt x="196" y="44"/>
                    <a:pt x="194" y="52"/>
                    <a:pt x="196" y="51"/>
                  </a:cubicBezTo>
                  <a:cubicBezTo>
                    <a:pt x="197" y="50"/>
                    <a:pt x="199" y="47"/>
                    <a:pt x="202" y="46"/>
                  </a:cubicBezTo>
                  <a:cubicBezTo>
                    <a:pt x="205" y="46"/>
                    <a:pt x="211" y="49"/>
                    <a:pt x="215" y="51"/>
                  </a:cubicBezTo>
                  <a:cubicBezTo>
                    <a:pt x="219" y="52"/>
                    <a:pt x="223" y="52"/>
                    <a:pt x="225" y="55"/>
                  </a:cubicBezTo>
                  <a:cubicBezTo>
                    <a:pt x="226" y="59"/>
                    <a:pt x="225" y="63"/>
                    <a:pt x="226" y="64"/>
                  </a:cubicBezTo>
                  <a:cubicBezTo>
                    <a:pt x="227" y="65"/>
                    <a:pt x="228" y="63"/>
                    <a:pt x="230" y="62"/>
                  </a:cubicBezTo>
                  <a:cubicBezTo>
                    <a:pt x="233" y="62"/>
                    <a:pt x="235" y="60"/>
                    <a:pt x="238" y="62"/>
                  </a:cubicBezTo>
                  <a:cubicBezTo>
                    <a:pt x="241" y="65"/>
                    <a:pt x="248" y="64"/>
                    <a:pt x="253" y="64"/>
                  </a:cubicBezTo>
                  <a:cubicBezTo>
                    <a:pt x="259" y="64"/>
                    <a:pt x="260" y="63"/>
                    <a:pt x="266" y="67"/>
                  </a:cubicBezTo>
                  <a:cubicBezTo>
                    <a:pt x="272" y="70"/>
                    <a:pt x="278" y="77"/>
                    <a:pt x="282" y="80"/>
                  </a:cubicBezTo>
                  <a:cubicBezTo>
                    <a:pt x="286" y="83"/>
                    <a:pt x="293" y="79"/>
                    <a:pt x="296" y="82"/>
                  </a:cubicBezTo>
                  <a:cubicBezTo>
                    <a:pt x="298" y="86"/>
                    <a:pt x="300" y="93"/>
                    <a:pt x="301" y="102"/>
                  </a:cubicBezTo>
                  <a:cubicBezTo>
                    <a:pt x="301" y="111"/>
                    <a:pt x="292" y="120"/>
                    <a:pt x="290" y="122"/>
                  </a:cubicBezTo>
                  <a:cubicBezTo>
                    <a:pt x="288" y="124"/>
                    <a:pt x="285" y="124"/>
                    <a:pt x="283" y="127"/>
                  </a:cubicBezTo>
                  <a:cubicBezTo>
                    <a:pt x="282" y="129"/>
                    <a:pt x="275" y="141"/>
                    <a:pt x="274" y="142"/>
                  </a:cubicBezTo>
                  <a:cubicBezTo>
                    <a:pt x="273" y="144"/>
                    <a:pt x="269" y="144"/>
                    <a:pt x="268" y="145"/>
                  </a:cubicBezTo>
                  <a:cubicBezTo>
                    <a:pt x="267" y="147"/>
                    <a:pt x="268" y="159"/>
                    <a:pt x="268" y="163"/>
                  </a:cubicBezTo>
                  <a:cubicBezTo>
                    <a:pt x="269" y="166"/>
                    <a:pt x="267" y="169"/>
                    <a:pt x="267" y="173"/>
                  </a:cubicBezTo>
                  <a:cubicBezTo>
                    <a:pt x="267" y="176"/>
                    <a:pt x="268" y="178"/>
                    <a:pt x="267" y="179"/>
                  </a:cubicBezTo>
                  <a:cubicBezTo>
                    <a:pt x="266" y="180"/>
                    <a:pt x="264" y="181"/>
                    <a:pt x="262" y="184"/>
                  </a:cubicBezTo>
                  <a:cubicBezTo>
                    <a:pt x="260" y="187"/>
                    <a:pt x="263" y="191"/>
                    <a:pt x="263" y="194"/>
                  </a:cubicBezTo>
                  <a:cubicBezTo>
                    <a:pt x="262" y="196"/>
                    <a:pt x="255" y="206"/>
                    <a:pt x="254" y="209"/>
                  </a:cubicBezTo>
                  <a:cubicBezTo>
                    <a:pt x="252" y="211"/>
                    <a:pt x="247" y="222"/>
                    <a:pt x="246" y="222"/>
                  </a:cubicBezTo>
                  <a:cubicBezTo>
                    <a:pt x="245" y="221"/>
                    <a:pt x="242" y="222"/>
                    <a:pt x="240" y="222"/>
                  </a:cubicBezTo>
                  <a:cubicBezTo>
                    <a:pt x="238" y="222"/>
                    <a:pt x="231" y="223"/>
                    <a:pt x="227" y="224"/>
                  </a:cubicBezTo>
                  <a:cubicBezTo>
                    <a:pt x="224" y="224"/>
                    <a:pt x="211" y="230"/>
                    <a:pt x="210" y="231"/>
                  </a:cubicBezTo>
                  <a:cubicBezTo>
                    <a:pt x="208" y="232"/>
                    <a:pt x="199" y="240"/>
                    <a:pt x="197" y="242"/>
                  </a:cubicBezTo>
                  <a:cubicBezTo>
                    <a:pt x="194" y="244"/>
                    <a:pt x="195" y="248"/>
                    <a:pt x="195" y="252"/>
                  </a:cubicBezTo>
                  <a:cubicBezTo>
                    <a:pt x="195" y="256"/>
                    <a:pt x="194" y="264"/>
                    <a:pt x="194" y="266"/>
                  </a:cubicBezTo>
                  <a:cubicBezTo>
                    <a:pt x="194" y="268"/>
                    <a:pt x="191" y="269"/>
                    <a:pt x="189" y="270"/>
                  </a:cubicBezTo>
                  <a:cubicBezTo>
                    <a:pt x="187" y="272"/>
                    <a:pt x="183" y="280"/>
                    <a:pt x="182" y="284"/>
                  </a:cubicBezTo>
                  <a:cubicBezTo>
                    <a:pt x="181" y="287"/>
                    <a:pt x="177" y="291"/>
                    <a:pt x="172" y="293"/>
                  </a:cubicBezTo>
                  <a:cubicBezTo>
                    <a:pt x="167" y="296"/>
                    <a:pt x="167" y="300"/>
                    <a:pt x="164" y="304"/>
                  </a:cubicBezTo>
                  <a:cubicBezTo>
                    <a:pt x="163" y="307"/>
                    <a:pt x="160" y="310"/>
                    <a:pt x="159" y="312"/>
                  </a:cubicBezTo>
                  <a:cubicBezTo>
                    <a:pt x="156" y="309"/>
                    <a:pt x="156" y="309"/>
                    <a:pt x="156" y="309"/>
                  </a:cubicBezTo>
                  <a:cubicBezTo>
                    <a:pt x="155" y="308"/>
                    <a:pt x="158" y="302"/>
                    <a:pt x="159" y="301"/>
                  </a:cubicBezTo>
                  <a:cubicBezTo>
                    <a:pt x="160" y="299"/>
                    <a:pt x="146" y="291"/>
                    <a:pt x="144" y="289"/>
                  </a:cubicBezTo>
                  <a:cubicBezTo>
                    <a:pt x="142" y="287"/>
                    <a:pt x="138" y="289"/>
                    <a:pt x="137" y="288"/>
                  </a:cubicBezTo>
                  <a:cubicBezTo>
                    <a:pt x="136" y="286"/>
                    <a:pt x="137" y="284"/>
                    <a:pt x="133" y="281"/>
                  </a:cubicBezTo>
                  <a:cubicBezTo>
                    <a:pt x="129" y="278"/>
                    <a:pt x="129" y="278"/>
                    <a:pt x="129" y="278"/>
                  </a:cubicBezTo>
                  <a:cubicBezTo>
                    <a:pt x="133" y="274"/>
                    <a:pt x="138" y="269"/>
                    <a:pt x="141" y="266"/>
                  </a:cubicBezTo>
                  <a:cubicBezTo>
                    <a:pt x="145" y="263"/>
                    <a:pt x="151" y="257"/>
                    <a:pt x="154" y="256"/>
                  </a:cubicBezTo>
                  <a:cubicBezTo>
                    <a:pt x="156" y="255"/>
                    <a:pt x="156" y="250"/>
                    <a:pt x="157" y="249"/>
                  </a:cubicBezTo>
                  <a:cubicBezTo>
                    <a:pt x="158" y="247"/>
                    <a:pt x="156" y="243"/>
                    <a:pt x="154" y="243"/>
                  </a:cubicBezTo>
                  <a:cubicBezTo>
                    <a:pt x="154" y="243"/>
                    <a:pt x="151" y="243"/>
                    <a:pt x="149" y="243"/>
                  </a:cubicBezTo>
                  <a:cubicBezTo>
                    <a:pt x="149" y="241"/>
                    <a:pt x="152" y="230"/>
                    <a:pt x="150" y="229"/>
                  </a:cubicBezTo>
                  <a:cubicBezTo>
                    <a:pt x="149" y="227"/>
                    <a:pt x="143" y="231"/>
                    <a:pt x="142" y="229"/>
                  </a:cubicBezTo>
                  <a:cubicBezTo>
                    <a:pt x="141" y="227"/>
                    <a:pt x="141" y="219"/>
                    <a:pt x="140" y="217"/>
                  </a:cubicBezTo>
                  <a:cubicBezTo>
                    <a:pt x="140" y="215"/>
                    <a:pt x="136" y="215"/>
                    <a:pt x="134" y="215"/>
                  </a:cubicBezTo>
                  <a:cubicBezTo>
                    <a:pt x="132" y="215"/>
                    <a:pt x="124" y="215"/>
                    <a:pt x="124" y="213"/>
                  </a:cubicBezTo>
                  <a:cubicBezTo>
                    <a:pt x="124" y="212"/>
                    <a:pt x="123" y="200"/>
                    <a:pt x="123" y="197"/>
                  </a:cubicBezTo>
                  <a:cubicBezTo>
                    <a:pt x="123" y="194"/>
                    <a:pt x="126" y="186"/>
                    <a:pt x="126" y="184"/>
                  </a:cubicBezTo>
                  <a:cubicBezTo>
                    <a:pt x="127" y="181"/>
                    <a:pt x="121" y="177"/>
                    <a:pt x="120" y="176"/>
                  </a:cubicBezTo>
                  <a:cubicBezTo>
                    <a:pt x="120" y="175"/>
                    <a:pt x="122" y="169"/>
                    <a:pt x="120" y="169"/>
                  </a:cubicBezTo>
                  <a:cubicBezTo>
                    <a:pt x="119" y="169"/>
                    <a:pt x="106" y="168"/>
                    <a:pt x="106" y="167"/>
                  </a:cubicBezTo>
                  <a:cubicBezTo>
                    <a:pt x="106" y="166"/>
                    <a:pt x="105" y="154"/>
                    <a:pt x="105" y="152"/>
                  </a:cubicBezTo>
                  <a:cubicBezTo>
                    <a:pt x="106" y="150"/>
                    <a:pt x="103" y="148"/>
                    <a:pt x="101" y="146"/>
                  </a:cubicBezTo>
                  <a:cubicBezTo>
                    <a:pt x="99" y="145"/>
                    <a:pt x="94" y="147"/>
                    <a:pt x="93" y="147"/>
                  </a:cubicBezTo>
                  <a:cubicBezTo>
                    <a:pt x="91" y="146"/>
                    <a:pt x="86" y="141"/>
                    <a:pt x="84" y="140"/>
                  </a:cubicBezTo>
                  <a:cubicBezTo>
                    <a:pt x="82" y="139"/>
                    <a:pt x="74" y="137"/>
                    <a:pt x="72" y="136"/>
                  </a:cubicBezTo>
                  <a:cubicBezTo>
                    <a:pt x="69" y="135"/>
                    <a:pt x="67" y="129"/>
                    <a:pt x="66" y="127"/>
                  </a:cubicBezTo>
                  <a:cubicBezTo>
                    <a:pt x="66" y="125"/>
                    <a:pt x="68" y="119"/>
                    <a:pt x="67" y="117"/>
                  </a:cubicBezTo>
                  <a:cubicBezTo>
                    <a:pt x="66" y="115"/>
                    <a:pt x="64" y="116"/>
                    <a:pt x="61" y="117"/>
                  </a:cubicBezTo>
                  <a:cubicBezTo>
                    <a:pt x="58" y="117"/>
                    <a:pt x="43" y="126"/>
                    <a:pt x="42" y="127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6" y="128"/>
                    <a:pt x="35" y="127"/>
                    <a:pt x="35" y="127"/>
                  </a:cubicBezTo>
                  <a:cubicBezTo>
                    <a:pt x="33" y="126"/>
                    <a:pt x="29" y="126"/>
                    <a:pt x="28" y="126"/>
                  </a:cubicBezTo>
                  <a:cubicBezTo>
                    <a:pt x="26" y="126"/>
                    <a:pt x="27" y="115"/>
                    <a:pt x="26" y="114"/>
                  </a:cubicBezTo>
                  <a:cubicBezTo>
                    <a:pt x="25" y="114"/>
                    <a:pt x="18" y="121"/>
                    <a:pt x="16" y="11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71" name="Freeform 525"/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3928208" y="4246832"/>
              <a:ext cx="364285" cy="333120"/>
            </a:xfrm>
            <a:custGeom>
              <a:avLst/>
              <a:gdLst>
                <a:gd name="T0" fmla="*/ 0 w 104"/>
                <a:gd name="T1" fmla="*/ 2147483647 h 91"/>
                <a:gd name="T2" fmla="*/ 2147483647 w 104"/>
                <a:gd name="T3" fmla="*/ 2147483647 h 91"/>
                <a:gd name="T4" fmla="*/ 2147483647 w 104"/>
                <a:gd name="T5" fmla="*/ 2147483647 h 91"/>
                <a:gd name="T6" fmla="*/ 2147483647 w 104"/>
                <a:gd name="T7" fmla="*/ 2147483647 h 91"/>
                <a:gd name="T8" fmla="*/ 2147483647 w 104"/>
                <a:gd name="T9" fmla="*/ 2147483647 h 91"/>
                <a:gd name="T10" fmla="*/ 2147483647 w 104"/>
                <a:gd name="T11" fmla="*/ 2147483647 h 91"/>
                <a:gd name="T12" fmla="*/ 2147483647 w 104"/>
                <a:gd name="T13" fmla="*/ 2147483647 h 91"/>
                <a:gd name="T14" fmla="*/ 2147483647 w 104"/>
                <a:gd name="T15" fmla="*/ 2147483647 h 91"/>
                <a:gd name="T16" fmla="*/ 2147483647 w 104"/>
                <a:gd name="T17" fmla="*/ 2147483647 h 91"/>
                <a:gd name="T18" fmla="*/ 2147483647 w 104"/>
                <a:gd name="T19" fmla="*/ 2147483647 h 91"/>
                <a:gd name="T20" fmla="*/ 2147483647 w 104"/>
                <a:gd name="T21" fmla="*/ 2147483647 h 91"/>
                <a:gd name="T22" fmla="*/ 2147483647 w 104"/>
                <a:gd name="T23" fmla="*/ 2147483647 h 91"/>
                <a:gd name="T24" fmla="*/ 2147483647 w 104"/>
                <a:gd name="T25" fmla="*/ 0 h 91"/>
                <a:gd name="T26" fmla="*/ 2147483647 w 104"/>
                <a:gd name="T27" fmla="*/ 2147483647 h 91"/>
                <a:gd name="T28" fmla="*/ 2147483647 w 104"/>
                <a:gd name="T29" fmla="*/ 2147483647 h 91"/>
                <a:gd name="T30" fmla="*/ 2147483647 w 104"/>
                <a:gd name="T31" fmla="*/ 2147483647 h 91"/>
                <a:gd name="T32" fmla="*/ 2147483647 w 104"/>
                <a:gd name="T33" fmla="*/ 2147483647 h 91"/>
                <a:gd name="T34" fmla="*/ 2147483647 w 104"/>
                <a:gd name="T35" fmla="*/ 2147483647 h 91"/>
                <a:gd name="T36" fmla="*/ 2147483647 w 104"/>
                <a:gd name="T37" fmla="*/ 2147483647 h 91"/>
                <a:gd name="T38" fmla="*/ 2147483647 w 104"/>
                <a:gd name="T39" fmla="*/ 2147483647 h 91"/>
                <a:gd name="T40" fmla="*/ 2147483647 w 104"/>
                <a:gd name="T41" fmla="*/ 2147483647 h 91"/>
                <a:gd name="T42" fmla="*/ 2147483647 w 104"/>
                <a:gd name="T43" fmla="*/ 2147483647 h 91"/>
                <a:gd name="T44" fmla="*/ 2147483647 w 104"/>
                <a:gd name="T45" fmla="*/ 2147483647 h 91"/>
                <a:gd name="T46" fmla="*/ 2147483647 w 104"/>
                <a:gd name="T47" fmla="*/ 2147483647 h 91"/>
                <a:gd name="T48" fmla="*/ 2147483647 w 104"/>
                <a:gd name="T49" fmla="*/ 2147483647 h 91"/>
                <a:gd name="T50" fmla="*/ 2147483647 w 104"/>
                <a:gd name="T51" fmla="*/ 2147483647 h 91"/>
                <a:gd name="T52" fmla="*/ 2147483647 w 104"/>
                <a:gd name="T53" fmla="*/ 2147483647 h 91"/>
                <a:gd name="T54" fmla="*/ 2147483647 w 104"/>
                <a:gd name="T55" fmla="*/ 2147483647 h 91"/>
                <a:gd name="T56" fmla="*/ 2147483647 w 104"/>
                <a:gd name="T57" fmla="*/ 2147483647 h 91"/>
                <a:gd name="T58" fmla="*/ 2147483647 w 104"/>
                <a:gd name="T59" fmla="*/ 2147483647 h 91"/>
                <a:gd name="T60" fmla="*/ 2147483647 w 104"/>
                <a:gd name="T61" fmla="*/ 2147483647 h 91"/>
                <a:gd name="T62" fmla="*/ 2147483647 w 104"/>
                <a:gd name="T63" fmla="*/ 2147483647 h 91"/>
                <a:gd name="T64" fmla="*/ 2147483647 w 104"/>
                <a:gd name="T65" fmla="*/ 2147483647 h 91"/>
                <a:gd name="T66" fmla="*/ 2147483647 w 104"/>
                <a:gd name="T67" fmla="*/ 2147483647 h 91"/>
                <a:gd name="T68" fmla="*/ 2147483647 w 104"/>
                <a:gd name="T69" fmla="*/ 2147483647 h 91"/>
                <a:gd name="T70" fmla="*/ 2147483647 w 104"/>
                <a:gd name="T71" fmla="*/ 2147483647 h 91"/>
                <a:gd name="T72" fmla="*/ 2147483647 w 104"/>
                <a:gd name="T73" fmla="*/ 2147483647 h 91"/>
                <a:gd name="T74" fmla="*/ 2147483647 w 104"/>
                <a:gd name="T75" fmla="*/ 2147483647 h 91"/>
                <a:gd name="T76" fmla="*/ 2147483647 w 104"/>
                <a:gd name="T77" fmla="*/ 2147483647 h 91"/>
                <a:gd name="T78" fmla="*/ 2147483647 w 104"/>
                <a:gd name="T79" fmla="*/ 2147483647 h 91"/>
                <a:gd name="T80" fmla="*/ 2147483647 w 104"/>
                <a:gd name="T81" fmla="*/ 2147483647 h 91"/>
                <a:gd name="T82" fmla="*/ 2147483647 w 104"/>
                <a:gd name="T83" fmla="*/ 2147483647 h 91"/>
                <a:gd name="T84" fmla="*/ 2147483647 w 104"/>
                <a:gd name="T85" fmla="*/ 2147483647 h 91"/>
                <a:gd name="T86" fmla="*/ 2147483647 w 104"/>
                <a:gd name="T87" fmla="*/ 2147483647 h 91"/>
                <a:gd name="T88" fmla="*/ 2147483647 w 104"/>
                <a:gd name="T89" fmla="*/ 2147483647 h 91"/>
                <a:gd name="T90" fmla="*/ 2147483647 w 104"/>
                <a:gd name="T91" fmla="*/ 2147483647 h 91"/>
                <a:gd name="T92" fmla="*/ 0 w 104"/>
                <a:gd name="T93" fmla="*/ 2147483647 h 9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04"/>
                <a:gd name="T142" fmla="*/ 0 h 91"/>
                <a:gd name="T143" fmla="*/ 104 w 104"/>
                <a:gd name="T144" fmla="*/ 91 h 91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04" h="91">
                  <a:moveTo>
                    <a:pt x="0" y="26"/>
                  </a:moveTo>
                  <a:cubicBezTo>
                    <a:pt x="0" y="25"/>
                    <a:pt x="2" y="20"/>
                    <a:pt x="3" y="17"/>
                  </a:cubicBezTo>
                  <a:cubicBezTo>
                    <a:pt x="4" y="13"/>
                    <a:pt x="6" y="13"/>
                    <a:pt x="6" y="13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11"/>
                    <a:pt x="12" y="14"/>
                    <a:pt x="12" y="15"/>
                  </a:cubicBezTo>
                  <a:cubicBezTo>
                    <a:pt x="11" y="16"/>
                    <a:pt x="9" y="20"/>
                    <a:pt x="9" y="21"/>
                  </a:cubicBezTo>
                  <a:cubicBezTo>
                    <a:pt x="9" y="22"/>
                    <a:pt x="10" y="24"/>
                    <a:pt x="10" y="25"/>
                  </a:cubicBezTo>
                  <a:cubicBezTo>
                    <a:pt x="11" y="27"/>
                    <a:pt x="13" y="28"/>
                    <a:pt x="15" y="27"/>
                  </a:cubicBezTo>
                  <a:cubicBezTo>
                    <a:pt x="17" y="26"/>
                    <a:pt x="18" y="25"/>
                    <a:pt x="18" y="24"/>
                  </a:cubicBezTo>
                  <a:cubicBezTo>
                    <a:pt x="20" y="22"/>
                    <a:pt x="19" y="19"/>
                    <a:pt x="19" y="18"/>
                  </a:cubicBezTo>
                  <a:cubicBezTo>
                    <a:pt x="18" y="17"/>
                    <a:pt x="17" y="15"/>
                    <a:pt x="17" y="14"/>
                  </a:cubicBezTo>
                  <a:cubicBezTo>
                    <a:pt x="17" y="13"/>
                    <a:pt x="20" y="10"/>
                    <a:pt x="21" y="9"/>
                  </a:cubicBezTo>
                  <a:cubicBezTo>
                    <a:pt x="23" y="9"/>
                    <a:pt x="24" y="0"/>
                    <a:pt x="25" y="0"/>
                  </a:cubicBezTo>
                  <a:cubicBezTo>
                    <a:pt x="26" y="0"/>
                    <a:pt x="28" y="6"/>
                    <a:pt x="29" y="7"/>
                  </a:cubicBezTo>
                  <a:cubicBezTo>
                    <a:pt x="30" y="9"/>
                    <a:pt x="32" y="8"/>
                    <a:pt x="35" y="9"/>
                  </a:cubicBezTo>
                  <a:cubicBezTo>
                    <a:pt x="37" y="10"/>
                    <a:pt x="39" y="13"/>
                    <a:pt x="40" y="15"/>
                  </a:cubicBezTo>
                  <a:cubicBezTo>
                    <a:pt x="41" y="17"/>
                    <a:pt x="51" y="14"/>
                    <a:pt x="53" y="14"/>
                  </a:cubicBezTo>
                  <a:cubicBezTo>
                    <a:pt x="54" y="14"/>
                    <a:pt x="57" y="16"/>
                    <a:pt x="59" y="18"/>
                  </a:cubicBezTo>
                  <a:cubicBezTo>
                    <a:pt x="61" y="20"/>
                    <a:pt x="65" y="17"/>
                    <a:pt x="68" y="17"/>
                  </a:cubicBezTo>
                  <a:cubicBezTo>
                    <a:pt x="72" y="16"/>
                    <a:pt x="70" y="13"/>
                    <a:pt x="74" y="13"/>
                  </a:cubicBezTo>
                  <a:cubicBezTo>
                    <a:pt x="78" y="13"/>
                    <a:pt x="87" y="13"/>
                    <a:pt x="87" y="14"/>
                  </a:cubicBezTo>
                  <a:cubicBezTo>
                    <a:pt x="87" y="15"/>
                    <a:pt x="86" y="18"/>
                    <a:pt x="88" y="19"/>
                  </a:cubicBezTo>
                  <a:cubicBezTo>
                    <a:pt x="90" y="21"/>
                    <a:pt x="93" y="23"/>
                    <a:pt x="95" y="24"/>
                  </a:cubicBezTo>
                  <a:cubicBezTo>
                    <a:pt x="97" y="25"/>
                    <a:pt x="95" y="29"/>
                    <a:pt x="97" y="29"/>
                  </a:cubicBezTo>
                  <a:cubicBezTo>
                    <a:pt x="98" y="30"/>
                    <a:pt x="101" y="30"/>
                    <a:pt x="104" y="32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99" y="38"/>
                    <a:pt x="97" y="41"/>
                    <a:pt x="96" y="43"/>
                  </a:cubicBezTo>
                  <a:cubicBezTo>
                    <a:pt x="94" y="44"/>
                    <a:pt x="90" y="50"/>
                    <a:pt x="91" y="52"/>
                  </a:cubicBezTo>
                  <a:cubicBezTo>
                    <a:pt x="92" y="53"/>
                    <a:pt x="94" y="55"/>
                    <a:pt x="95" y="57"/>
                  </a:cubicBezTo>
                  <a:cubicBezTo>
                    <a:pt x="96" y="59"/>
                    <a:pt x="96" y="60"/>
                    <a:pt x="95" y="61"/>
                  </a:cubicBezTo>
                  <a:cubicBezTo>
                    <a:pt x="94" y="62"/>
                    <a:pt x="80" y="67"/>
                    <a:pt x="80" y="67"/>
                  </a:cubicBezTo>
                  <a:cubicBezTo>
                    <a:pt x="78" y="67"/>
                    <a:pt x="65" y="63"/>
                    <a:pt x="65" y="64"/>
                  </a:cubicBezTo>
                  <a:cubicBezTo>
                    <a:pt x="64" y="66"/>
                    <a:pt x="69" y="74"/>
                    <a:pt x="70" y="75"/>
                  </a:cubicBezTo>
                  <a:cubicBezTo>
                    <a:pt x="71" y="77"/>
                    <a:pt x="76" y="80"/>
                    <a:pt x="73" y="82"/>
                  </a:cubicBezTo>
                  <a:cubicBezTo>
                    <a:pt x="71" y="83"/>
                    <a:pt x="56" y="91"/>
                    <a:pt x="55" y="91"/>
                  </a:cubicBezTo>
                  <a:cubicBezTo>
                    <a:pt x="53" y="91"/>
                    <a:pt x="48" y="85"/>
                    <a:pt x="48" y="84"/>
                  </a:cubicBezTo>
                  <a:cubicBezTo>
                    <a:pt x="48" y="83"/>
                    <a:pt x="47" y="81"/>
                    <a:pt x="46" y="80"/>
                  </a:cubicBezTo>
                  <a:cubicBezTo>
                    <a:pt x="44" y="78"/>
                    <a:pt x="43" y="76"/>
                    <a:pt x="43" y="76"/>
                  </a:cubicBezTo>
                  <a:cubicBezTo>
                    <a:pt x="43" y="75"/>
                    <a:pt x="46" y="71"/>
                    <a:pt x="46" y="70"/>
                  </a:cubicBezTo>
                  <a:cubicBezTo>
                    <a:pt x="46" y="69"/>
                    <a:pt x="44" y="68"/>
                    <a:pt x="43" y="66"/>
                  </a:cubicBezTo>
                  <a:cubicBezTo>
                    <a:pt x="42" y="65"/>
                    <a:pt x="42" y="60"/>
                    <a:pt x="43" y="57"/>
                  </a:cubicBezTo>
                  <a:cubicBezTo>
                    <a:pt x="43" y="54"/>
                    <a:pt x="45" y="50"/>
                    <a:pt x="44" y="49"/>
                  </a:cubicBezTo>
                  <a:cubicBezTo>
                    <a:pt x="42" y="48"/>
                    <a:pt x="34" y="50"/>
                    <a:pt x="31" y="50"/>
                  </a:cubicBezTo>
                  <a:cubicBezTo>
                    <a:pt x="28" y="50"/>
                    <a:pt x="27" y="46"/>
                    <a:pt x="24" y="44"/>
                  </a:cubicBezTo>
                  <a:cubicBezTo>
                    <a:pt x="21" y="42"/>
                    <a:pt x="12" y="43"/>
                    <a:pt x="10" y="43"/>
                  </a:cubicBezTo>
                  <a:cubicBezTo>
                    <a:pt x="9" y="42"/>
                    <a:pt x="6" y="38"/>
                    <a:pt x="6" y="35"/>
                  </a:cubicBezTo>
                  <a:cubicBezTo>
                    <a:pt x="6" y="33"/>
                    <a:pt x="0" y="27"/>
                    <a:pt x="0" y="2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72" name="Freeform 526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4053753" y="6245551"/>
              <a:ext cx="96731" cy="100655"/>
            </a:xfrm>
            <a:custGeom>
              <a:avLst/>
              <a:gdLst>
                <a:gd name="T0" fmla="*/ 2147483647 w 28"/>
                <a:gd name="T1" fmla="*/ 2147483647 h 27"/>
                <a:gd name="T2" fmla="*/ 2147483647 w 28"/>
                <a:gd name="T3" fmla="*/ 2147483647 h 27"/>
                <a:gd name="T4" fmla="*/ 2147483647 w 28"/>
                <a:gd name="T5" fmla="*/ 2147483647 h 27"/>
                <a:gd name="T6" fmla="*/ 2147483647 w 28"/>
                <a:gd name="T7" fmla="*/ 2147483647 h 27"/>
                <a:gd name="T8" fmla="*/ 2147483647 w 28"/>
                <a:gd name="T9" fmla="*/ 2147483647 h 27"/>
                <a:gd name="T10" fmla="*/ 2147483647 w 28"/>
                <a:gd name="T11" fmla="*/ 2147483647 h 27"/>
                <a:gd name="T12" fmla="*/ 2147483647 w 28"/>
                <a:gd name="T13" fmla="*/ 2147483647 h 27"/>
                <a:gd name="T14" fmla="*/ 2147483647 w 28"/>
                <a:gd name="T15" fmla="*/ 2147483647 h 27"/>
                <a:gd name="T16" fmla="*/ 2147483647 w 28"/>
                <a:gd name="T17" fmla="*/ 2147483647 h 27"/>
                <a:gd name="T18" fmla="*/ 0 w 28"/>
                <a:gd name="T19" fmla="*/ 2147483647 h 27"/>
                <a:gd name="T20" fmla="*/ 0 w 28"/>
                <a:gd name="T21" fmla="*/ 2147483647 h 27"/>
                <a:gd name="T22" fmla="*/ 0 w 28"/>
                <a:gd name="T23" fmla="*/ 0 h 27"/>
                <a:gd name="T24" fmla="*/ 2147483647 w 28"/>
                <a:gd name="T25" fmla="*/ 2147483647 h 2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8"/>
                <a:gd name="T40" fmla="*/ 0 h 27"/>
                <a:gd name="T41" fmla="*/ 28 w 28"/>
                <a:gd name="T42" fmla="*/ 27 h 2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8" h="27">
                  <a:moveTo>
                    <a:pt x="3" y="2"/>
                  </a:moveTo>
                  <a:cubicBezTo>
                    <a:pt x="4" y="3"/>
                    <a:pt x="5" y="6"/>
                    <a:pt x="6" y="9"/>
                  </a:cubicBezTo>
                  <a:cubicBezTo>
                    <a:pt x="8" y="11"/>
                    <a:pt x="12" y="13"/>
                    <a:pt x="16" y="16"/>
                  </a:cubicBezTo>
                  <a:cubicBezTo>
                    <a:pt x="18" y="19"/>
                    <a:pt x="23" y="19"/>
                    <a:pt x="27" y="19"/>
                  </a:cubicBezTo>
                  <a:cubicBezTo>
                    <a:pt x="27" y="19"/>
                    <a:pt x="28" y="18"/>
                    <a:pt x="28" y="19"/>
                  </a:cubicBezTo>
                  <a:cubicBezTo>
                    <a:pt x="28" y="20"/>
                    <a:pt x="27" y="23"/>
                    <a:pt x="25" y="23"/>
                  </a:cubicBezTo>
                  <a:cubicBezTo>
                    <a:pt x="24" y="24"/>
                    <a:pt x="20" y="24"/>
                    <a:pt x="19" y="24"/>
                  </a:cubicBezTo>
                  <a:cubicBezTo>
                    <a:pt x="18" y="25"/>
                    <a:pt x="18" y="27"/>
                    <a:pt x="17" y="27"/>
                  </a:cubicBezTo>
                  <a:cubicBezTo>
                    <a:pt x="16" y="27"/>
                    <a:pt x="12" y="25"/>
                    <a:pt x="10" y="24"/>
                  </a:cubicBezTo>
                  <a:cubicBezTo>
                    <a:pt x="7" y="24"/>
                    <a:pt x="3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73" name="Freeform 527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3924092" y="5229416"/>
              <a:ext cx="537167" cy="994567"/>
            </a:xfrm>
            <a:custGeom>
              <a:avLst/>
              <a:gdLst>
                <a:gd name="T0" fmla="*/ 0 w 153"/>
                <a:gd name="T1" fmla="*/ 2147483647 h 270"/>
                <a:gd name="T2" fmla="*/ 2147483647 w 153"/>
                <a:gd name="T3" fmla="*/ 2147483647 h 270"/>
                <a:gd name="T4" fmla="*/ 2147483647 w 153"/>
                <a:gd name="T5" fmla="*/ 2147483647 h 270"/>
                <a:gd name="T6" fmla="*/ 2147483647 w 153"/>
                <a:gd name="T7" fmla="*/ 2147483647 h 270"/>
                <a:gd name="T8" fmla="*/ 2147483647 w 153"/>
                <a:gd name="T9" fmla="*/ 2147483647 h 270"/>
                <a:gd name="T10" fmla="*/ 2147483647 w 153"/>
                <a:gd name="T11" fmla="*/ 2147483647 h 270"/>
                <a:gd name="T12" fmla="*/ 2147483647 w 153"/>
                <a:gd name="T13" fmla="*/ 2147483647 h 270"/>
                <a:gd name="T14" fmla="*/ 2147483647 w 153"/>
                <a:gd name="T15" fmla="*/ 2147483647 h 270"/>
                <a:gd name="T16" fmla="*/ 2147483647 w 153"/>
                <a:gd name="T17" fmla="*/ 2147483647 h 270"/>
                <a:gd name="T18" fmla="*/ 2147483647 w 153"/>
                <a:gd name="T19" fmla="*/ 2147483647 h 270"/>
                <a:gd name="T20" fmla="*/ 2147483647 w 153"/>
                <a:gd name="T21" fmla="*/ 2147483647 h 270"/>
                <a:gd name="T22" fmla="*/ 2147483647 w 153"/>
                <a:gd name="T23" fmla="*/ 2147483647 h 270"/>
                <a:gd name="T24" fmla="*/ 2147483647 w 153"/>
                <a:gd name="T25" fmla="*/ 2147483647 h 270"/>
                <a:gd name="T26" fmla="*/ 2147483647 w 153"/>
                <a:gd name="T27" fmla="*/ 2147483647 h 270"/>
                <a:gd name="T28" fmla="*/ 2147483647 w 153"/>
                <a:gd name="T29" fmla="*/ 2147483647 h 270"/>
                <a:gd name="T30" fmla="*/ 2147483647 w 153"/>
                <a:gd name="T31" fmla="*/ 2147483647 h 270"/>
                <a:gd name="T32" fmla="*/ 2147483647 w 153"/>
                <a:gd name="T33" fmla="*/ 2147483647 h 270"/>
                <a:gd name="T34" fmla="*/ 2147483647 w 153"/>
                <a:gd name="T35" fmla="*/ 2147483647 h 270"/>
                <a:gd name="T36" fmla="*/ 2147483647 w 153"/>
                <a:gd name="T37" fmla="*/ 2147483647 h 270"/>
                <a:gd name="T38" fmla="*/ 2147483647 w 153"/>
                <a:gd name="T39" fmla="*/ 2147483647 h 270"/>
                <a:gd name="T40" fmla="*/ 2147483647 w 153"/>
                <a:gd name="T41" fmla="*/ 2147483647 h 270"/>
                <a:gd name="T42" fmla="*/ 2147483647 w 153"/>
                <a:gd name="T43" fmla="*/ 2147483647 h 270"/>
                <a:gd name="T44" fmla="*/ 2147483647 w 153"/>
                <a:gd name="T45" fmla="*/ 2147483647 h 270"/>
                <a:gd name="T46" fmla="*/ 2147483647 w 153"/>
                <a:gd name="T47" fmla="*/ 2147483647 h 270"/>
                <a:gd name="T48" fmla="*/ 2147483647 w 153"/>
                <a:gd name="T49" fmla="*/ 2147483647 h 270"/>
                <a:gd name="T50" fmla="*/ 2147483647 w 153"/>
                <a:gd name="T51" fmla="*/ 2147483647 h 270"/>
                <a:gd name="T52" fmla="*/ 2147483647 w 153"/>
                <a:gd name="T53" fmla="*/ 2147483647 h 270"/>
                <a:gd name="T54" fmla="*/ 2147483647 w 153"/>
                <a:gd name="T55" fmla="*/ 2147483647 h 270"/>
                <a:gd name="T56" fmla="*/ 2147483647 w 153"/>
                <a:gd name="T57" fmla="*/ 2147483647 h 270"/>
                <a:gd name="T58" fmla="*/ 2147483647 w 153"/>
                <a:gd name="T59" fmla="*/ 2147483647 h 270"/>
                <a:gd name="T60" fmla="*/ 2147483647 w 153"/>
                <a:gd name="T61" fmla="*/ 2147483647 h 270"/>
                <a:gd name="T62" fmla="*/ 2147483647 w 153"/>
                <a:gd name="T63" fmla="*/ 2147483647 h 270"/>
                <a:gd name="T64" fmla="*/ 2147483647 w 153"/>
                <a:gd name="T65" fmla="*/ 2147483647 h 270"/>
                <a:gd name="T66" fmla="*/ 2147483647 w 153"/>
                <a:gd name="T67" fmla="*/ 2147483647 h 270"/>
                <a:gd name="T68" fmla="*/ 2147483647 w 153"/>
                <a:gd name="T69" fmla="*/ 2147483647 h 270"/>
                <a:gd name="T70" fmla="*/ 2147483647 w 153"/>
                <a:gd name="T71" fmla="*/ 2147483647 h 270"/>
                <a:gd name="T72" fmla="*/ 2147483647 w 153"/>
                <a:gd name="T73" fmla="*/ 2147483647 h 270"/>
                <a:gd name="T74" fmla="*/ 2147483647 w 153"/>
                <a:gd name="T75" fmla="*/ 2147483647 h 270"/>
                <a:gd name="T76" fmla="*/ 2147483647 w 153"/>
                <a:gd name="T77" fmla="*/ 2147483647 h 270"/>
                <a:gd name="T78" fmla="*/ 2147483647 w 153"/>
                <a:gd name="T79" fmla="*/ 2147483647 h 27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53"/>
                <a:gd name="T121" fmla="*/ 0 h 270"/>
                <a:gd name="T122" fmla="*/ 153 w 153"/>
                <a:gd name="T123" fmla="*/ 270 h 27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53" h="270">
                  <a:moveTo>
                    <a:pt x="2" y="254"/>
                  </a:moveTo>
                  <a:cubicBezTo>
                    <a:pt x="1" y="253"/>
                    <a:pt x="0" y="247"/>
                    <a:pt x="0" y="245"/>
                  </a:cubicBezTo>
                  <a:cubicBezTo>
                    <a:pt x="0" y="243"/>
                    <a:pt x="1" y="240"/>
                    <a:pt x="2" y="239"/>
                  </a:cubicBezTo>
                  <a:cubicBezTo>
                    <a:pt x="4" y="238"/>
                    <a:pt x="7" y="237"/>
                    <a:pt x="7" y="236"/>
                  </a:cubicBezTo>
                  <a:cubicBezTo>
                    <a:pt x="8" y="234"/>
                    <a:pt x="8" y="227"/>
                    <a:pt x="9" y="225"/>
                  </a:cubicBezTo>
                  <a:cubicBezTo>
                    <a:pt x="11" y="223"/>
                    <a:pt x="13" y="220"/>
                    <a:pt x="14" y="217"/>
                  </a:cubicBezTo>
                  <a:cubicBezTo>
                    <a:pt x="14" y="215"/>
                    <a:pt x="13" y="207"/>
                    <a:pt x="14" y="206"/>
                  </a:cubicBezTo>
                  <a:cubicBezTo>
                    <a:pt x="16" y="205"/>
                    <a:pt x="18" y="198"/>
                    <a:pt x="18" y="196"/>
                  </a:cubicBezTo>
                  <a:cubicBezTo>
                    <a:pt x="18" y="195"/>
                    <a:pt x="13" y="194"/>
                    <a:pt x="13" y="193"/>
                  </a:cubicBezTo>
                  <a:cubicBezTo>
                    <a:pt x="13" y="191"/>
                    <a:pt x="15" y="183"/>
                    <a:pt x="14" y="182"/>
                  </a:cubicBezTo>
                  <a:cubicBezTo>
                    <a:pt x="10" y="177"/>
                    <a:pt x="16" y="175"/>
                    <a:pt x="16" y="173"/>
                  </a:cubicBezTo>
                  <a:cubicBezTo>
                    <a:pt x="16" y="171"/>
                    <a:pt x="14" y="160"/>
                    <a:pt x="14" y="157"/>
                  </a:cubicBezTo>
                  <a:cubicBezTo>
                    <a:pt x="15" y="155"/>
                    <a:pt x="15" y="148"/>
                    <a:pt x="17" y="146"/>
                  </a:cubicBezTo>
                  <a:cubicBezTo>
                    <a:pt x="18" y="144"/>
                    <a:pt x="20" y="141"/>
                    <a:pt x="19" y="139"/>
                  </a:cubicBezTo>
                  <a:cubicBezTo>
                    <a:pt x="18" y="136"/>
                    <a:pt x="16" y="125"/>
                    <a:pt x="18" y="123"/>
                  </a:cubicBezTo>
                  <a:cubicBezTo>
                    <a:pt x="20" y="122"/>
                    <a:pt x="23" y="120"/>
                    <a:pt x="23" y="118"/>
                  </a:cubicBezTo>
                  <a:cubicBezTo>
                    <a:pt x="23" y="116"/>
                    <a:pt x="27" y="104"/>
                    <a:pt x="27" y="102"/>
                  </a:cubicBezTo>
                  <a:cubicBezTo>
                    <a:pt x="27" y="100"/>
                    <a:pt x="28" y="97"/>
                    <a:pt x="27" y="95"/>
                  </a:cubicBezTo>
                  <a:cubicBezTo>
                    <a:pt x="26" y="92"/>
                    <a:pt x="21" y="79"/>
                    <a:pt x="23" y="77"/>
                  </a:cubicBezTo>
                  <a:cubicBezTo>
                    <a:pt x="25" y="75"/>
                    <a:pt x="27" y="69"/>
                    <a:pt x="27" y="68"/>
                  </a:cubicBezTo>
                  <a:cubicBezTo>
                    <a:pt x="28" y="66"/>
                    <a:pt x="27" y="59"/>
                    <a:pt x="29" y="56"/>
                  </a:cubicBezTo>
                  <a:cubicBezTo>
                    <a:pt x="30" y="53"/>
                    <a:pt x="37" y="44"/>
                    <a:pt x="38" y="42"/>
                  </a:cubicBezTo>
                  <a:cubicBezTo>
                    <a:pt x="39" y="41"/>
                    <a:pt x="38" y="33"/>
                    <a:pt x="38" y="31"/>
                  </a:cubicBezTo>
                  <a:cubicBezTo>
                    <a:pt x="38" y="29"/>
                    <a:pt x="36" y="24"/>
                    <a:pt x="39" y="23"/>
                  </a:cubicBezTo>
                  <a:cubicBezTo>
                    <a:pt x="41" y="21"/>
                    <a:pt x="46" y="18"/>
                    <a:pt x="47" y="18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51" y="6"/>
                    <a:pt x="53" y="3"/>
                    <a:pt x="55" y="1"/>
                  </a:cubicBezTo>
                  <a:cubicBezTo>
                    <a:pt x="56" y="0"/>
                    <a:pt x="61" y="1"/>
                    <a:pt x="64" y="2"/>
                  </a:cubicBezTo>
                  <a:cubicBezTo>
                    <a:pt x="67" y="2"/>
                    <a:pt x="68" y="8"/>
                    <a:pt x="69" y="8"/>
                  </a:cubicBezTo>
                  <a:cubicBezTo>
                    <a:pt x="71" y="8"/>
                    <a:pt x="75" y="2"/>
                    <a:pt x="77" y="2"/>
                  </a:cubicBezTo>
                  <a:cubicBezTo>
                    <a:pt x="79" y="2"/>
                    <a:pt x="81" y="2"/>
                    <a:pt x="82" y="3"/>
                  </a:cubicBezTo>
                  <a:cubicBezTo>
                    <a:pt x="83" y="3"/>
                    <a:pt x="83" y="4"/>
                    <a:pt x="83" y="4"/>
                  </a:cubicBezTo>
                  <a:cubicBezTo>
                    <a:pt x="83" y="7"/>
                    <a:pt x="97" y="17"/>
                    <a:pt x="99" y="18"/>
                  </a:cubicBezTo>
                  <a:cubicBezTo>
                    <a:pt x="103" y="20"/>
                    <a:pt x="121" y="29"/>
                    <a:pt x="121" y="30"/>
                  </a:cubicBezTo>
                  <a:cubicBezTo>
                    <a:pt x="121" y="32"/>
                    <a:pt x="111" y="42"/>
                    <a:pt x="113" y="44"/>
                  </a:cubicBezTo>
                  <a:cubicBezTo>
                    <a:pt x="115" y="46"/>
                    <a:pt x="123" y="46"/>
                    <a:pt x="127" y="46"/>
                  </a:cubicBezTo>
                  <a:cubicBezTo>
                    <a:pt x="131" y="46"/>
                    <a:pt x="137" y="41"/>
                    <a:pt x="139" y="40"/>
                  </a:cubicBezTo>
                  <a:cubicBezTo>
                    <a:pt x="141" y="39"/>
                    <a:pt x="143" y="33"/>
                    <a:pt x="144" y="31"/>
                  </a:cubicBezTo>
                  <a:cubicBezTo>
                    <a:pt x="146" y="31"/>
                    <a:pt x="149" y="31"/>
                    <a:pt x="149" y="31"/>
                  </a:cubicBezTo>
                  <a:cubicBezTo>
                    <a:pt x="151" y="31"/>
                    <a:pt x="153" y="35"/>
                    <a:pt x="152" y="37"/>
                  </a:cubicBezTo>
                  <a:cubicBezTo>
                    <a:pt x="151" y="38"/>
                    <a:pt x="151" y="43"/>
                    <a:pt x="149" y="44"/>
                  </a:cubicBezTo>
                  <a:cubicBezTo>
                    <a:pt x="146" y="45"/>
                    <a:pt x="140" y="51"/>
                    <a:pt x="136" y="54"/>
                  </a:cubicBezTo>
                  <a:cubicBezTo>
                    <a:pt x="133" y="57"/>
                    <a:pt x="128" y="62"/>
                    <a:pt x="124" y="66"/>
                  </a:cubicBezTo>
                  <a:cubicBezTo>
                    <a:pt x="123" y="68"/>
                    <a:pt x="122" y="69"/>
                    <a:pt x="121" y="69"/>
                  </a:cubicBezTo>
                  <a:cubicBezTo>
                    <a:pt x="119" y="71"/>
                    <a:pt x="118" y="75"/>
                    <a:pt x="118" y="77"/>
                  </a:cubicBezTo>
                  <a:cubicBezTo>
                    <a:pt x="118" y="80"/>
                    <a:pt x="115" y="101"/>
                    <a:pt x="115" y="101"/>
                  </a:cubicBezTo>
                  <a:cubicBezTo>
                    <a:pt x="114" y="101"/>
                    <a:pt x="115" y="101"/>
                    <a:pt x="115" y="104"/>
                  </a:cubicBezTo>
                  <a:cubicBezTo>
                    <a:pt x="115" y="108"/>
                    <a:pt x="120" y="108"/>
                    <a:pt x="123" y="110"/>
                  </a:cubicBezTo>
                  <a:cubicBezTo>
                    <a:pt x="126" y="112"/>
                    <a:pt x="123" y="114"/>
                    <a:pt x="123" y="117"/>
                  </a:cubicBezTo>
                  <a:cubicBezTo>
                    <a:pt x="123" y="121"/>
                    <a:pt x="128" y="120"/>
                    <a:pt x="128" y="122"/>
                  </a:cubicBezTo>
                  <a:cubicBezTo>
                    <a:pt x="129" y="124"/>
                    <a:pt x="127" y="127"/>
                    <a:pt x="125" y="129"/>
                  </a:cubicBezTo>
                  <a:cubicBezTo>
                    <a:pt x="123" y="130"/>
                    <a:pt x="122" y="135"/>
                    <a:pt x="121" y="137"/>
                  </a:cubicBezTo>
                  <a:cubicBezTo>
                    <a:pt x="119" y="139"/>
                    <a:pt x="107" y="142"/>
                    <a:pt x="104" y="143"/>
                  </a:cubicBezTo>
                  <a:cubicBezTo>
                    <a:pt x="101" y="145"/>
                    <a:pt x="87" y="144"/>
                    <a:pt x="87" y="145"/>
                  </a:cubicBezTo>
                  <a:cubicBezTo>
                    <a:pt x="87" y="146"/>
                    <a:pt x="87" y="157"/>
                    <a:pt x="87" y="159"/>
                  </a:cubicBezTo>
                  <a:cubicBezTo>
                    <a:pt x="87" y="162"/>
                    <a:pt x="85" y="161"/>
                    <a:pt x="83" y="163"/>
                  </a:cubicBezTo>
                  <a:cubicBezTo>
                    <a:pt x="81" y="164"/>
                    <a:pt x="75" y="164"/>
                    <a:pt x="73" y="164"/>
                  </a:cubicBezTo>
                  <a:cubicBezTo>
                    <a:pt x="71" y="164"/>
                    <a:pt x="66" y="161"/>
                    <a:pt x="64" y="161"/>
                  </a:cubicBezTo>
                  <a:cubicBezTo>
                    <a:pt x="62" y="162"/>
                    <a:pt x="64" y="167"/>
                    <a:pt x="64" y="168"/>
                  </a:cubicBezTo>
                  <a:cubicBezTo>
                    <a:pt x="64" y="170"/>
                    <a:pt x="65" y="172"/>
                    <a:pt x="66" y="173"/>
                  </a:cubicBezTo>
                  <a:cubicBezTo>
                    <a:pt x="67" y="174"/>
                    <a:pt x="72" y="172"/>
                    <a:pt x="74" y="172"/>
                  </a:cubicBezTo>
                  <a:cubicBezTo>
                    <a:pt x="75" y="173"/>
                    <a:pt x="75" y="176"/>
                    <a:pt x="75" y="178"/>
                  </a:cubicBezTo>
                  <a:cubicBezTo>
                    <a:pt x="75" y="179"/>
                    <a:pt x="72" y="181"/>
                    <a:pt x="71" y="181"/>
                  </a:cubicBezTo>
                  <a:cubicBezTo>
                    <a:pt x="69" y="181"/>
                    <a:pt x="66" y="184"/>
                    <a:pt x="64" y="185"/>
                  </a:cubicBezTo>
                  <a:cubicBezTo>
                    <a:pt x="62" y="187"/>
                    <a:pt x="62" y="191"/>
                    <a:pt x="62" y="195"/>
                  </a:cubicBezTo>
                  <a:cubicBezTo>
                    <a:pt x="62" y="198"/>
                    <a:pt x="62" y="200"/>
                    <a:pt x="61" y="200"/>
                  </a:cubicBezTo>
                  <a:cubicBezTo>
                    <a:pt x="60" y="201"/>
                    <a:pt x="58" y="200"/>
                    <a:pt x="55" y="200"/>
                  </a:cubicBezTo>
                  <a:cubicBezTo>
                    <a:pt x="53" y="200"/>
                    <a:pt x="50" y="202"/>
                    <a:pt x="47" y="205"/>
                  </a:cubicBezTo>
                  <a:cubicBezTo>
                    <a:pt x="45" y="209"/>
                    <a:pt x="45" y="213"/>
                    <a:pt x="48" y="216"/>
                  </a:cubicBezTo>
                  <a:cubicBezTo>
                    <a:pt x="51" y="219"/>
                    <a:pt x="56" y="219"/>
                    <a:pt x="58" y="220"/>
                  </a:cubicBezTo>
                  <a:cubicBezTo>
                    <a:pt x="60" y="221"/>
                    <a:pt x="59" y="224"/>
                    <a:pt x="59" y="227"/>
                  </a:cubicBezTo>
                  <a:cubicBezTo>
                    <a:pt x="59" y="230"/>
                    <a:pt x="49" y="236"/>
                    <a:pt x="47" y="238"/>
                  </a:cubicBezTo>
                  <a:cubicBezTo>
                    <a:pt x="45" y="241"/>
                    <a:pt x="43" y="246"/>
                    <a:pt x="43" y="249"/>
                  </a:cubicBezTo>
                  <a:cubicBezTo>
                    <a:pt x="42" y="251"/>
                    <a:pt x="35" y="252"/>
                    <a:pt x="33" y="255"/>
                  </a:cubicBezTo>
                  <a:cubicBezTo>
                    <a:pt x="32" y="257"/>
                    <a:pt x="33" y="263"/>
                    <a:pt x="35" y="266"/>
                  </a:cubicBezTo>
                  <a:cubicBezTo>
                    <a:pt x="37" y="268"/>
                    <a:pt x="37" y="270"/>
                    <a:pt x="35" y="270"/>
                  </a:cubicBezTo>
                  <a:cubicBezTo>
                    <a:pt x="34" y="270"/>
                    <a:pt x="29" y="268"/>
                    <a:pt x="29" y="269"/>
                  </a:cubicBezTo>
                  <a:cubicBezTo>
                    <a:pt x="11" y="268"/>
                    <a:pt x="11" y="268"/>
                    <a:pt x="11" y="268"/>
                  </a:cubicBezTo>
                  <a:cubicBezTo>
                    <a:pt x="9" y="267"/>
                    <a:pt x="8" y="265"/>
                    <a:pt x="8" y="263"/>
                  </a:cubicBezTo>
                  <a:cubicBezTo>
                    <a:pt x="8" y="262"/>
                    <a:pt x="11" y="257"/>
                    <a:pt x="9" y="255"/>
                  </a:cubicBezTo>
                  <a:cubicBezTo>
                    <a:pt x="7" y="254"/>
                    <a:pt x="4" y="255"/>
                    <a:pt x="2" y="25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74" name="Freeform 528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3973487" y="6243155"/>
              <a:ext cx="82324" cy="95862"/>
            </a:xfrm>
            <a:custGeom>
              <a:avLst/>
              <a:gdLst>
                <a:gd name="T0" fmla="*/ 2147483647 w 23"/>
                <a:gd name="T1" fmla="*/ 2147483647 h 26"/>
                <a:gd name="T2" fmla="*/ 0 w 23"/>
                <a:gd name="T3" fmla="*/ 2147483647 h 26"/>
                <a:gd name="T4" fmla="*/ 2147483647 w 23"/>
                <a:gd name="T5" fmla="*/ 2147483647 h 26"/>
                <a:gd name="T6" fmla="*/ 2147483647 w 23"/>
                <a:gd name="T7" fmla="*/ 2147483647 h 26"/>
                <a:gd name="T8" fmla="*/ 2147483647 w 23"/>
                <a:gd name="T9" fmla="*/ 2147483647 h 26"/>
                <a:gd name="T10" fmla="*/ 2147483647 w 23"/>
                <a:gd name="T11" fmla="*/ 2147483647 h 26"/>
                <a:gd name="T12" fmla="*/ 2147483647 w 23"/>
                <a:gd name="T13" fmla="*/ 2147483647 h 26"/>
                <a:gd name="T14" fmla="*/ 2147483647 w 23"/>
                <a:gd name="T15" fmla="*/ 2147483647 h 26"/>
                <a:gd name="T16" fmla="*/ 2147483647 w 23"/>
                <a:gd name="T17" fmla="*/ 0 h 26"/>
                <a:gd name="T18" fmla="*/ 2147483647 w 23"/>
                <a:gd name="T19" fmla="*/ 2147483647 h 26"/>
                <a:gd name="T20" fmla="*/ 2147483647 w 23"/>
                <a:gd name="T21" fmla="*/ 2147483647 h 26"/>
                <a:gd name="T22" fmla="*/ 2147483647 w 23"/>
                <a:gd name="T23" fmla="*/ 2147483647 h 26"/>
                <a:gd name="T24" fmla="*/ 2147483647 w 23"/>
                <a:gd name="T25" fmla="*/ 2147483647 h 26"/>
                <a:gd name="T26" fmla="*/ 2147483647 w 23"/>
                <a:gd name="T27" fmla="*/ 2147483647 h 2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3"/>
                <a:gd name="T43" fmla="*/ 0 h 26"/>
                <a:gd name="T44" fmla="*/ 23 w 23"/>
                <a:gd name="T45" fmla="*/ 26 h 2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3" h="26">
                  <a:moveTo>
                    <a:pt x="3" y="25"/>
                  </a:moveTo>
                  <a:cubicBezTo>
                    <a:pt x="1" y="24"/>
                    <a:pt x="0" y="22"/>
                    <a:pt x="0" y="20"/>
                  </a:cubicBezTo>
                  <a:cubicBezTo>
                    <a:pt x="0" y="18"/>
                    <a:pt x="12" y="18"/>
                    <a:pt x="13" y="18"/>
                  </a:cubicBezTo>
                  <a:cubicBezTo>
                    <a:pt x="13" y="18"/>
                    <a:pt x="12" y="15"/>
                    <a:pt x="12" y="14"/>
                  </a:cubicBezTo>
                  <a:cubicBezTo>
                    <a:pt x="12" y="13"/>
                    <a:pt x="18" y="13"/>
                    <a:pt x="17" y="9"/>
                  </a:cubicBezTo>
                  <a:cubicBezTo>
                    <a:pt x="17" y="7"/>
                    <a:pt x="13" y="8"/>
                    <a:pt x="11" y="8"/>
                  </a:cubicBezTo>
                  <a:cubicBezTo>
                    <a:pt x="9" y="8"/>
                    <a:pt x="10" y="8"/>
                    <a:pt x="10" y="6"/>
                  </a:cubicBezTo>
                  <a:cubicBezTo>
                    <a:pt x="10" y="5"/>
                    <a:pt x="12" y="3"/>
                    <a:pt x="15" y="2"/>
                  </a:cubicBezTo>
                  <a:cubicBezTo>
                    <a:pt x="19" y="1"/>
                    <a:pt x="21" y="0"/>
                    <a:pt x="22" y="0"/>
                  </a:cubicBezTo>
                  <a:cubicBezTo>
                    <a:pt x="22" y="0"/>
                    <a:pt x="22" y="0"/>
                    <a:pt x="23" y="1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2" y="24"/>
                    <a:pt x="22" y="24"/>
                  </a:cubicBezTo>
                  <a:cubicBezTo>
                    <a:pt x="20" y="24"/>
                    <a:pt x="5" y="26"/>
                    <a:pt x="3" y="2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75" name="Freeform 529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3870581" y="5924414"/>
              <a:ext cx="41162" cy="52724"/>
            </a:xfrm>
            <a:custGeom>
              <a:avLst/>
              <a:gdLst>
                <a:gd name="T0" fmla="*/ 2147483647 w 11"/>
                <a:gd name="T1" fmla="*/ 2147483647 h 14"/>
                <a:gd name="T2" fmla="*/ 0 w 11"/>
                <a:gd name="T3" fmla="*/ 2147483647 h 14"/>
                <a:gd name="T4" fmla="*/ 2147483647 w 11"/>
                <a:gd name="T5" fmla="*/ 2147483647 h 14"/>
                <a:gd name="T6" fmla="*/ 2147483647 w 11"/>
                <a:gd name="T7" fmla="*/ 0 h 14"/>
                <a:gd name="T8" fmla="*/ 2147483647 w 11"/>
                <a:gd name="T9" fmla="*/ 0 h 14"/>
                <a:gd name="T10" fmla="*/ 2147483647 w 11"/>
                <a:gd name="T11" fmla="*/ 2147483647 h 14"/>
                <a:gd name="T12" fmla="*/ 2147483647 w 11"/>
                <a:gd name="T13" fmla="*/ 2147483647 h 14"/>
                <a:gd name="T14" fmla="*/ 2147483647 w 11"/>
                <a:gd name="T15" fmla="*/ 2147483647 h 14"/>
                <a:gd name="T16" fmla="*/ 2147483647 w 11"/>
                <a:gd name="T17" fmla="*/ 2147483647 h 14"/>
                <a:gd name="T18" fmla="*/ 2147483647 w 11"/>
                <a:gd name="T19" fmla="*/ 2147483647 h 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14"/>
                <a:gd name="T32" fmla="*/ 11 w 11"/>
                <a:gd name="T33" fmla="*/ 14 h 1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14">
                  <a:moveTo>
                    <a:pt x="4" y="9"/>
                  </a:moveTo>
                  <a:cubicBezTo>
                    <a:pt x="4" y="8"/>
                    <a:pt x="0" y="8"/>
                    <a:pt x="0" y="6"/>
                  </a:cubicBezTo>
                  <a:cubicBezTo>
                    <a:pt x="0" y="5"/>
                    <a:pt x="4" y="5"/>
                    <a:pt x="4" y="4"/>
                  </a:cubicBezTo>
                  <a:cubicBezTo>
                    <a:pt x="5" y="3"/>
                    <a:pt x="6" y="0"/>
                    <a:pt x="6" y="0"/>
                  </a:cubicBezTo>
                  <a:cubicBezTo>
                    <a:pt x="7" y="0"/>
                    <a:pt x="11" y="0"/>
                    <a:pt x="11" y="0"/>
                  </a:cubicBezTo>
                  <a:cubicBezTo>
                    <a:pt x="11" y="1"/>
                    <a:pt x="11" y="6"/>
                    <a:pt x="10" y="7"/>
                  </a:cubicBezTo>
                  <a:cubicBezTo>
                    <a:pt x="10" y="8"/>
                    <a:pt x="9" y="10"/>
                    <a:pt x="9" y="11"/>
                  </a:cubicBezTo>
                  <a:cubicBezTo>
                    <a:pt x="8" y="12"/>
                    <a:pt x="8" y="14"/>
                    <a:pt x="7" y="14"/>
                  </a:cubicBezTo>
                  <a:cubicBezTo>
                    <a:pt x="5" y="13"/>
                    <a:pt x="2" y="14"/>
                    <a:pt x="2" y="13"/>
                  </a:cubicBezTo>
                  <a:cubicBezTo>
                    <a:pt x="2" y="12"/>
                    <a:pt x="5" y="9"/>
                    <a:pt x="4" y="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76" name="Freeform 530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3864407" y="5104795"/>
              <a:ext cx="232566" cy="1200670"/>
            </a:xfrm>
            <a:custGeom>
              <a:avLst/>
              <a:gdLst>
                <a:gd name="T0" fmla="*/ 2147483647 w 66"/>
                <a:gd name="T1" fmla="*/ 2147483647 h 325"/>
                <a:gd name="T2" fmla="*/ 2147483647 w 66"/>
                <a:gd name="T3" fmla="*/ 2147483647 h 325"/>
                <a:gd name="T4" fmla="*/ 0 w 66"/>
                <a:gd name="T5" fmla="*/ 2147483647 h 325"/>
                <a:gd name="T6" fmla="*/ 2147483647 w 66"/>
                <a:gd name="T7" fmla="*/ 2147483647 h 325"/>
                <a:gd name="T8" fmla="*/ 2147483647 w 66"/>
                <a:gd name="T9" fmla="*/ 2147483647 h 325"/>
                <a:gd name="T10" fmla="*/ 2147483647 w 66"/>
                <a:gd name="T11" fmla="*/ 2147483647 h 325"/>
                <a:gd name="T12" fmla="*/ 2147483647 w 66"/>
                <a:gd name="T13" fmla="*/ 2147483647 h 325"/>
                <a:gd name="T14" fmla="*/ 2147483647 w 66"/>
                <a:gd name="T15" fmla="*/ 2147483647 h 325"/>
                <a:gd name="T16" fmla="*/ 2147483647 w 66"/>
                <a:gd name="T17" fmla="*/ 2147483647 h 325"/>
                <a:gd name="T18" fmla="*/ 2147483647 w 66"/>
                <a:gd name="T19" fmla="*/ 2147483647 h 325"/>
                <a:gd name="T20" fmla="*/ 2147483647 w 66"/>
                <a:gd name="T21" fmla="*/ 2147483647 h 325"/>
                <a:gd name="T22" fmla="*/ 2147483647 w 66"/>
                <a:gd name="T23" fmla="*/ 2147483647 h 325"/>
                <a:gd name="T24" fmla="*/ 2147483647 w 66"/>
                <a:gd name="T25" fmla="*/ 2147483647 h 325"/>
                <a:gd name="T26" fmla="*/ 2147483647 w 66"/>
                <a:gd name="T27" fmla="*/ 2147483647 h 325"/>
                <a:gd name="T28" fmla="*/ 2147483647 w 66"/>
                <a:gd name="T29" fmla="*/ 2147483647 h 325"/>
                <a:gd name="T30" fmla="*/ 2147483647 w 66"/>
                <a:gd name="T31" fmla="*/ 2147483647 h 325"/>
                <a:gd name="T32" fmla="*/ 2147483647 w 66"/>
                <a:gd name="T33" fmla="*/ 2147483647 h 325"/>
                <a:gd name="T34" fmla="*/ 2147483647 w 66"/>
                <a:gd name="T35" fmla="*/ 2147483647 h 325"/>
                <a:gd name="T36" fmla="*/ 2147483647 w 66"/>
                <a:gd name="T37" fmla="*/ 2147483647 h 325"/>
                <a:gd name="T38" fmla="*/ 2147483647 w 66"/>
                <a:gd name="T39" fmla="*/ 2147483647 h 325"/>
                <a:gd name="T40" fmla="*/ 2147483647 w 66"/>
                <a:gd name="T41" fmla="*/ 2147483647 h 325"/>
                <a:gd name="T42" fmla="*/ 2147483647 w 66"/>
                <a:gd name="T43" fmla="*/ 2147483647 h 325"/>
                <a:gd name="T44" fmla="*/ 2147483647 w 66"/>
                <a:gd name="T45" fmla="*/ 2147483647 h 325"/>
                <a:gd name="T46" fmla="*/ 2147483647 w 66"/>
                <a:gd name="T47" fmla="*/ 2147483647 h 325"/>
                <a:gd name="T48" fmla="*/ 2147483647 w 66"/>
                <a:gd name="T49" fmla="*/ 2147483647 h 325"/>
                <a:gd name="T50" fmla="*/ 2147483647 w 66"/>
                <a:gd name="T51" fmla="*/ 2147483647 h 325"/>
                <a:gd name="T52" fmla="*/ 2147483647 w 66"/>
                <a:gd name="T53" fmla="*/ 2147483647 h 325"/>
                <a:gd name="T54" fmla="*/ 2147483647 w 66"/>
                <a:gd name="T55" fmla="*/ 2147483647 h 325"/>
                <a:gd name="T56" fmla="*/ 2147483647 w 66"/>
                <a:gd name="T57" fmla="*/ 2147483647 h 325"/>
                <a:gd name="T58" fmla="*/ 2147483647 w 66"/>
                <a:gd name="T59" fmla="*/ 2147483647 h 325"/>
                <a:gd name="T60" fmla="*/ 2147483647 w 66"/>
                <a:gd name="T61" fmla="*/ 2147483647 h 325"/>
                <a:gd name="T62" fmla="*/ 2147483647 w 66"/>
                <a:gd name="T63" fmla="*/ 2147483647 h 325"/>
                <a:gd name="T64" fmla="*/ 2147483647 w 66"/>
                <a:gd name="T65" fmla="*/ 2147483647 h 325"/>
                <a:gd name="T66" fmla="*/ 2147483647 w 66"/>
                <a:gd name="T67" fmla="*/ 2147483647 h 325"/>
                <a:gd name="T68" fmla="*/ 2147483647 w 66"/>
                <a:gd name="T69" fmla="*/ 2147483647 h 325"/>
                <a:gd name="T70" fmla="*/ 2147483647 w 66"/>
                <a:gd name="T71" fmla="*/ 2147483647 h 325"/>
                <a:gd name="T72" fmla="*/ 2147483647 w 66"/>
                <a:gd name="T73" fmla="*/ 2147483647 h 325"/>
                <a:gd name="T74" fmla="*/ 2147483647 w 66"/>
                <a:gd name="T75" fmla="*/ 2147483647 h 325"/>
                <a:gd name="T76" fmla="*/ 2147483647 w 66"/>
                <a:gd name="T77" fmla="*/ 2147483647 h 325"/>
                <a:gd name="T78" fmla="*/ 2147483647 w 66"/>
                <a:gd name="T79" fmla="*/ 2147483647 h 325"/>
                <a:gd name="T80" fmla="*/ 2147483647 w 66"/>
                <a:gd name="T81" fmla="*/ 2147483647 h 325"/>
                <a:gd name="T82" fmla="*/ 2147483647 w 66"/>
                <a:gd name="T83" fmla="*/ 2147483647 h 325"/>
                <a:gd name="T84" fmla="*/ 2147483647 w 66"/>
                <a:gd name="T85" fmla="*/ 2147483647 h 325"/>
                <a:gd name="T86" fmla="*/ 2147483647 w 66"/>
                <a:gd name="T87" fmla="*/ 2147483647 h 325"/>
                <a:gd name="T88" fmla="*/ 2147483647 w 66"/>
                <a:gd name="T89" fmla="*/ 2147483647 h 325"/>
                <a:gd name="T90" fmla="*/ 2147483647 w 66"/>
                <a:gd name="T91" fmla="*/ 2147483647 h 325"/>
                <a:gd name="T92" fmla="*/ 2147483647 w 66"/>
                <a:gd name="T93" fmla="*/ 2147483647 h 325"/>
                <a:gd name="T94" fmla="*/ 2147483647 w 66"/>
                <a:gd name="T95" fmla="*/ 2147483647 h 325"/>
                <a:gd name="T96" fmla="*/ 2147483647 w 66"/>
                <a:gd name="T97" fmla="*/ 2147483647 h 32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6"/>
                <a:gd name="T148" fmla="*/ 0 h 325"/>
                <a:gd name="T149" fmla="*/ 66 w 66"/>
                <a:gd name="T150" fmla="*/ 325 h 32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6" h="325">
                  <a:moveTo>
                    <a:pt x="4" y="289"/>
                  </a:moveTo>
                  <a:cubicBezTo>
                    <a:pt x="2" y="289"/>
                    <a:pt x="2" y="287"/>
                    <a:pt x="2" y="285"/>
                  </a:cubicBezTo>
                  <a:cubicBezTo>
                    <a:pt x="2" y="283"/>
                    <a:pt x="6" y="281"/>
                    <a:pt x="6" y="280"/>
                  </a:cubicBezTo>
                  <a:cubicBezTo>
                    <a:pt x="6" y="280"/>
                    <a:pt x="4" y="279"/>
                    <a:pt x="2" y="279"/>
                  </a:cubicBezTo>
                  <a:cubicBezTo>
                    <a:pt x="0" y="278"/>
                    <a:pt x="1" y="276"/>
                    <a:pt x="0" y="274"/>
                  </a:cubicBezTo>
                  <a:cubicBezTo>
                    <a:pt x="0" y="272"/>
                    <a:pt x="0" y="265"/>
                    <a:pt x="0" y="264"/>
                  </a:cubicBezTo>
                  <a:cubicBezTo>
                    <a:pt x="1" y="263"/>
                    <a:pt x="4" y="260"/>
                    <a:pt x="6" y="259"/>
                  </a:cubicBezTo>
                  <a:cubicBezTo>
                    <a:pt x="7" y="259"/>
                    <a:pt x="10" y="255"/>
                    <a:pt x="11" y="253"/>
                  </a:cubicBezTo>
                  <a:cubicBezTo>
                    <a:pt x="11" y="252"/>
                    <a:pt x="10" y="250"/>
                    <a:pt x="9" y="250"/>
                  </a:cubicBezTo>
                  <a:cubicBezTo>
                    <a:pt x="7" y="250"/>
                    <a:pt x="4" y="250"/>
                    <a:pt x="2" y="251"/>
                  </a:cubicBezTo>
                  <a:cubicBezTo>
                    <a:pt x="1" y="251"/>
                    <a:pt x="0" y="250"/>
                    <a:pt x="0" y="248"/>
                  </a:cubicBezTo>
                  <a:cubicBezTo>
                    <a:pt x="0" y="247"/>
                    <a:pt x="3" y="245"/>
                    <a:pt x="4" y="244"/>
                  </a:cubicBezTo>
                  <a:cubicBezTo>
                    <a:pt x="6" y="242"/>
                    <a:pt x="7" y="240"/>
                    <a:pt x="8" y="241"/>
                  </a:cubicBezTo>
                  <a:cubicBezTo>
                    <a:pt x="10" y="242"/>
                    <a:pt x="14" y="244"/>
                    <a:pt x="15" y="243"/>
                  </a:cubicBezTo>
                  <a:cubicBezTo>
                    <a:pt x="16" y="241"/>
                    <a:pt x="15" y="238"/>
                    <a:pt x="16" y="236"/>
                  </a:cubicBezTo>
                  <a:cubicBezTo>
                    <a:pt x="17" y="235"/>
                    <a:pt x="16" y="232"/>
                    <a:pt x="18" y="232"/>
                  </a:cubicBezTo>
                  <a:cubicBezTo>
                    <a:pt x="20" y="232"/>
                    <a:pt x="21" y="229"/>
                    <a:pt x="21" y="227"/>
                  </a:cubicBezTo>
                  <a:cubicBezTo>
                    <a:pt x="21" y="226"/>
                    <a:pt x="19" y="224"/>
                    <a:pt x="19" y="222"/>
                  </a:cubicBezTo>
                  <a:cubicBezTo>
                    <a:pt x="20" y="221"/>
                    <a:pt x="21" y="215"/>
                    <a:pt x="22" y="213"/>
                  </a:cubicBezTo>
                  <a:cubicBezTo>
                    <a:pt x="23" y="212"/>
                    <a:pt x="24" y="208"/>
                    <a:pt x="25" y="207"/>
                  </a:cubicBezTo>
                  <a:cubicBezTo>
                    <a:pt x="25" y="207"/>
                    <a:pt x="22" y="205"/>
                    <a:pt x="20" y="205"/>
                  </a:cubicBezTo>
                  <a:cubicBezTo>
                    <a:pt x="18" y="205"/>
                    <a:pt x="18" y="207"/>
                    <a:pt x="18" y="208"/>
                  </a:cubicBezTo>
                  <a:cubicBezTo>
                    <a:pt x="18" y="209"/>
                    <a:pt x="16" y="214"/>
                    <a:pt x="15" y="216"/>
                  </a:cubicBezTo>
                  <a:cubicBezTo>
                    <a:pt x="14" y="217"/>
                    <a:pt x="12" y="217"/>
                    <a:pt x="10" y="217"/>
                  </a:cubicBezTo>
                  <a:cubicBezTo>
                    <a:pt x="8" y="217"/>
                    <a:pt x="8" y="215"/>
                    <a:pt x="8" y="214"/>
                  </a:cubicBezTo>
                  <a:cubicBezTo>
                    <a:pt x="9" y="213"/>
                    <a:pt x="12" y="207"/>
                    <a:pt x="12" y="205"/>
                  </a:cubicBezTo>
                  <a:cubicBezTo>
                    <a:pt x="12" y="204"/>
                    <a:pt x="15" y="204"/>
                    <a:pt x="15" y="203"/>
                  </a:cubicBezTo>
                  <a:cubicBezTo>
                    <a:pt x="16" y="202"/>
                    <a:pt x="14" y="200"/>
                    <a:pt x="14" y="199"/>
                  </a:cubicBezTo>
                  <a:cubicBezTo>
                    <a:pt x="14" y="198"/>
                    <a:pt x="13" y="191"/>
                    <a:pt x="14" y="190"/>
                  </a:cubicBezTo>
                  <a:cubicBezTo>
                    <a:pt x="14" y="188"/>
                    <a:pt x="17" y="184"/>
                    <a:pt x="18" y="182"/>
                  </a:cubicBezTo>
                  <a:cubicBezTo>
                    <a:pt x="19" y="180"/>
                    <a:pt x="16" y="175"/>
                    <a:pt x="16" y="172"/>
                  </a:cubicBezTo>
                  <a:cubicBezTo>
                    <a:pt x="14" y="170"/>
                    <a:pt x="13" y="163"/>
                    <a:pt x="14" y="162"/>
                  </a:cubicBezTo>
                  <a:cubicBezTo>
                    <a:pt x="14" y="160"/>
                    <a:pt x="18" y="162"/>
                    <a:pt x="18" y="161"/>
                  </a:cubicBezTo>
                  <a:cubicBezTo>
                    <a:pt x="19" y="160"/>
                    <a:pt x="20" y="158"/>
                    <a:pt x="20" y="155"/>
                  </a:cubicBezTo>
                  <a:cubicBezTo>
                    <a:pt x="22" y="152"/>
                    <a:pt x="25" y="142"/>
                    <a:pt x="27" y="137"/>
                  </a:cubicBezTo>
                  <a:cubicBezTo>
                    <a:pt x="29" y="133"/>
                    <a:pt x="30" y="127"/>
                    <a:pt x="30" y="121"/>
                  </a:cubicBezTo>
                  <a:cubicBezTo>
                    <a:pt x="32" y="115"/>
                    <a:pt x="29" y="106"/>
                    <a:pt x="29" y="105"/>
                  </a:cubicBezTo>
                  <a:cubicBezTo>
                    <a:pt x="29" y="103"/>
                    <a:pt x="32" y="103"/>
                    <a:pt x="32" y="103"/>
                  </a:cubicBezTo>
                  <a:cubicBezTo>
                    <a:pt x="32" y="102"/>
                    <a:pt x="33" y="98"/>
                    <a:pt x="33" y="97"/>
                  </a:cubicBezTo>
                  <a:cubicBezTo>
                    <a:pt x="33" y="95"/>
                    <a:pt x="30" y="93"/>
                    <a:pt x="31" y="91"/>
                  </a:cubicBezTo>
                  <a:cubicBezTo>
                    <a:pt x="32" y="90"/>
                    <a:pt x="34" y="85"/>
                    <a:pt x="35" y="83"/>
                  </a:cubicBezTo>
                  <a:cubicBezTo>
                    <a:pt x="36" y="80"/>
                    <a:pt x="37" y="68"/>
                    <a:pt x="38" y="65"/>
                  </a:cubicBezTo>
                  <a:cubicBezTo>
                    <a:pt x="39" y="61"/>
                    <a:pt x="39" y="48"/>
                    <a:pt x="40" y="44"/>
                  </a:cubicBezTo>
                  <a:cubicBezTo>
                    <a:pt x="41" y="41"/>
                    <a:pt x="42" y="33"/>
                    <a:pt x="42" y="28"/>
                  </a:cubicBezTo>
                  <a:cubicBezTo>
                    <a:pt x="43" y="24"/>
                    <a:pt x="41" y="6"/>
                    <a:pt x="40" y="6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3"/>
                    <a:pt x="46" y="2"/>
                    <a:pt x="47" y="0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3" y="10"/>
                    <a:pt x="55" y="12"/>
                    <a:pt x="56" y="14"/>
                  </a:cubicBezTo>
                  <a:cubicBezTo>
                    <a:pt x="56" y="16"/>
                    <a:pt x="54" y="20"/>
                    <a:pt x="55" y="23"/>
                  </a:cubicBezTo>
                  <a:cubicBezTo>
                    <a:pt x="56" y="26"/>
                    <a:pt x="58" y="39"/>
                    <a:pt x="58" y="40"/>
                  </a:cubicBezTo>
                  <a:cubicBezTo>
                    <a:pt x="58" y="42"/>
                    <a:pt x="64" y="41"/>
                    <a:pt x="65" y="41"/>
                  </a:cubicBezTo>
                  <a:cubicBezTo>
                    <a:pt x="65" y="41"/>
                    <a:pt x="66" y="41"/>
                    <a:pt x="66" y="40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3" y="51"/>
                    <a:pt x="58" y="54"/>
                    <a:pt x="56" y="56"/>
                  </a:cubicBezTo>
                  <a:cubicBezTo>
                    <a:pt x="53" y="57"/>
                    <a:pt x="55" y="62"/>
                    <a:pt x="55" y="64"/>
                  </a:cubicBezTo>
                  <a:cubicBezTo>
                    <a:pt x="55" y="66"/>
                    <a:pt x="56" y="74"/>
                    <a:pt x="55" y="75"/>
                  </a:cubicBezTo>
                  <a:cubicBezTo>
                    <a:pt x="54" y="77"/>
                    <a:pt x="47" y="86"/>
                    <a:pt x="46" y="89"/>
                  </a:cubicBezTo>
                  <a:cubicBezTo>
                    <a:pt x="44" y="92"/>
                    <a:pt x="45" y="99"/>
                    <a:pt x="44" y="101"/>
                  </a:cubicBezTo>
                  <a:cubicBezTo>
                    <a:pt x="44" y="102"/>
                    <a:pt x="42" y="108"/>
                    <a:pt x="40" y="110"/>
                  </a:cubicBezTo>
                  <a:cubicBezTo>
                    <a:pt x="38" y="112"/>
                    <a:pt x="43" y="125"/>
                    <a:pt x="44" y="128"/>
                  </a:cubicBezTo>
                  <a:cubicBezTo>
                    <a:pt x="45" y="130"/>
                    <a:pt x="44" y="133"/>
                    <a:pt x="44" y="135"/>
                  </a:cubicBezTo>
                  <a:cubicBezTo>
                    <a:pt x="44" y="137"/>
                    <a:pt x="40" y="149"/>
                    <a:pt x="40" y="151"/>
                  </a:cubicBezTo>
                  <a:cubicBezTo>
                    <a:pt x="40" y="153"/>
                    <a:pt x="37" y="155"/>
                    <a:pt x="35" y="156"/>
                  </a:cubicBezTo>
                  <a:cubicBezTo>
                    <a:pt x="33" y="158"/>
                    <a:pt x="35" y="169"/>
                    <a:pt x="36" y="172"/>
                  </a:cubicBezTo>
                  <a:cubicBezTo>
                    <a:pt x="37" y="174"/>
                    <a:pt x="35" y="177"/>
                    <a:pt x="34" y="179"/>
                  </a:cubicBezTo>
                  <a:cubicBezTo>
                    <a:pt x="32" y="181"/>
                    <a:pt x="32" y="188"/>
                    <a:pt x="31" y="190"/>
                  </a:cubicBezTo>
                  <a:cubicBezTo>
                    <a:pt x="31" y="193"/>
                    <a:pt x="33" y="204"/>
                    <a:pt x="33" y="206"/>
                  </a:cubicBezTo>
                  <a:cubicBezTo>
                    <a:pt x="33" y="208"/>
                    <a:pt x="27" y="210"/>
                    <a:pt x="31" y="215"/>
                  </a:cubicBezTo>
                  <a:cubicBezTo>
                    <a:pt x="32" y="216"/>
                    <a:pt x="30" y="224"/>
                    <a:pt x="30" y="226"/>
                  </a:cubicBezTo>
                  <a:cubicBezTo>
                    <a:pt x="30" y="227"/>
                    <a:pt x="35" y="228"/>
                    <a:pt x="35" y="229"/>
                  </a:cubicBezTo>
                  <a:cubicBezTo>
                    <a:pt x="35" y="231"/>
                    <a:pt x="33" y="238"/>
                    <a:pt x="31" y="239"/>
                  </a:cubicBezTo>
                  <a:cubicBezTo>
                    <a:pt x="30" y="240"/>
                    <a:pt x="31" y="248"/>
                    <a:pt x="31" y="250"/>
                  </a:cubicBezTo>
                  <a:cubicBezTo>
                    <a:pt x="30" y="253"/>
                    <a:pt x="28" y="256"/>
                    <a:pt x="26" y="258"/>
                  </a:cubicBezTo>
                  <a:cubicBezTo>
                    <a:pt x="25" y="260"/>
                    <a:pt x="25" y="267"/>
                    <a:pt x="24" y="269"/>
                  </a:cubicBezTo>
                  <a:cubicBezTo>
                    <a:pt x="24" y="270"/>
                    <a:pt x="21" y="271"/>
                    <a:pt x="19" y="272"/>
                  </a:cubicBezTo>
                  <a:cubicBezTo>
                    <a:pt x="18" y="273"/>
                    <a:pt x="17" y="276"/>
                    <a:pt x="17" y="278"/>
                  </a:cubicBezTo>
                  <a:cubicBezTo>
                    <a:pt x="17" y="280"/>
                    <a:pt x="18" y="286"/>
                    <a:pt x="19" y="287"/>
                  </a:cubicBezTo>
                  <a:cubicBezTo>
                    <a:pt x="21" y="288"/>
                    <a:pt x="24" y="287"/>
                    <a:pt x="26" y="288"/>
                  </a:cubicBezTo>
                  <a:cubicBezTo>
                    <a:pt x="28" y="290"/>
                    <a:pt x="25" y="295"/>
                    <a:pt x="25" y="296"/>
                  </a:cubicBezTo>
                  <a:cubicBezTo>
                    <a:pt x="25" y="298"/>
                    <a:pt x="26" y="300"/>
                    <a:pt x="28" y="301"/>
                  </a:cubicBezTo>
                  <a:cubicBezTo>
                    <a:pt x="46" y="302"/>
                    <a:pt x="46" y="302"/>
                    <a:pt x="46" y="302"/>
                  </a:cubicBezTo>
                  <a:cubicBezTo>
                    <a:pt x="46" y="303"/>
                    <a:pt x="46" y="306"/>
                    <a:pt x="44" y="306"/>
                  </a:cubicBezTo>
                  <a:cubicBezTo>
                    <a:pt x="41" y="307"/>
                    <a:pt x="37" y="308"/>
                    <a:pt x="36" y="308"/>
                  </a:cubicBezTo>
                  <a:cubicBezTo>
                    <a:pt x="36" y="308"/>
                    <a:pt x="36" y="312"/>
                    <a:pt x="36" y="314"/>
                  </a:cubicBezTo>
                  <a:cubicBezTo>
                    <a:pt x="36" y="316"/>
                    <a:pt x="36" y="319"/>
                    <a:pt x="34" y="321"/>
                  </a:cubicBezTo>
                  <a:cubicBezTo>
                    <a:pt x="32" y="323"/>
                    <a:pt x="24" y="325"/>
                    <a:pt x="22" y="325"/>
                  </a:cubicBezTo>
                  <a:cubicBezTo>
                    <a:pt x="21" y="324"/>
                    <a:pt x="20" y="319"/>
                    <a:pt x="18" y="319"/>
                  </a:cubicBezTo>
                  <a:cubicBezTo>
                    <a:pt x="16" y="319"/>
                    <a:pt x="14" y="317"/>
                    <a:pt x="13" y="316"/>
                  </a:cubicBezTo>
                  <a:cubicBezTo>
                    <a:pt x="12" y="315"/>
                    <a:pt x="6" y="311"/>
                    <a:pt x="7" y="311"/>
                  </a:cubicBezTo>
                  <a:cubicBezTo>
                    <a:pt x="8" y="310"/>
                    <a:pt x="15" y="313"/>
                    <a:pt x="16" y="313"/>
                  </a:cubicBezTo>
                  <a:cubicBezTo>
                    <a:pt x="17" y="313"/>
                    <a:pt x="16" y="311"/>
                    <a:pt x="16" y="310"/>
                  </a:cubicBezTo>
                  <a:cubicBezTo>
                    <a:pt x="15" y="309"/>
                    <a:pt x="10" y="305"/>
                    <a:pt x="9" y="304"/>
                  </a:cubicBezTo>
                  <a:cubicBezTo>
                    <a:pt x="8" y="304"/>
                    <a:pt x="6" y="304"/>
                    <a:pt x="5" y="302"/>
                  </a:cubicBezTo>
                  <a:cubicBezTo>
                    <a:pt x="5" y="301"/>
                    <a:pt x="8" y="300"/>
                    <a:pt x="7" y="296"/>
                  </a:cubicBezTo>
                  <a:cubicBezTo>
                    <a:pt x="7" y="295"/>
                    <a:pt x="3" y="297"/>
                    <a:pt x="3" y="296"/>
                  </a:cubicBezTo>
                  <a:cubicBezTo>
                    <a:pt x="3" y="294"/>
                    <a:pt x="6" y="293"/>
                    <a:pt x="6" y="291"/>
                  </a:cubicBezTo>
                  <a:cubicBezTo>
                    <a:pt x="6" y="290"/>
                    <a:pt x="5" y="290"/>
                    <a:pt x="4" y="28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77" name="Freeform 531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3780024" y="4067091"/>
              <a:ext cx="80266" cy="45534"/>
            </a:xfrm>
            <a:custGeom>
              <a:avLst/>
              <a:gdLst>
                <a:gd name="T0" fmla="*/ 0 w 23"/>
                <a:gd name="T1" fmla="*/ 2147483647 h 12"/>
                <a:gd name="T2" fmla="*/ 2147483647 w 23"/>
                <a:gd name="T3" fmla="*/ 2147483647 h 12"/>
                <a:gd name="T4" fmla="*/ 2147483647 w 23"/>
                <a:gd name="T5" fmla="*/ 2147483647 h 12"/>
                <a:gd name="T6" fmla="*/ 2147483647 w 23"/>
                <a:gd name="T7" fmla="*/ 2147483647 h 12"/>
                <a:gd name="T8" fmla="*/ 2147483647 w 23"/>
                <a:gd name="T9" fmla="*/ 2147483647 h 12"/>
                <a:gd name="T10" fmla="*/ 0 w 23"/>
                <a:gd name="T11" fmla="*/ 2147483647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3"/>
                <a:gd name="T19" fmla="*/ 0 h 12"/>
                <a:gd name="T20" fmla="*/ 23 w 23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3" h="12">
                  <a:moveTo>
                    <a:pt x="0" y="3"/>
                  </a:moveTo>
                  <a:cubicBezTo>
                    <a:pt x="0" y="0"/>
                    <a:pt x="20" y="4"/>
                    <a:pt x="22" y="5"/>
                  </a:cubicBezTo>
                  <a:cubicBezTo>
                    <a:pt x="23" y="7"/>
                    <a:pt x="19" y="8"/>
                    <a:pt x="18" y="8"/>
                  </a:cubicBezTo>
                  <a:cubicBezTo>
                    <a:pt x="16" y="8"/>
                    <a:pt x="17" y="10"/>
                    <a:pt x="14" y="11"/>
                  </a:cubicBezTo>
                  <a:cubicBezTo>
                    <a:pt x="11" y="12"/>
                    <a:pt x="6" y="9"/>
                    <a:pt x="5" y="7"/>
                  </a:cubicBezTo>
                  <a:cubicBezTo>
                    <a:pt x="5" y="6"/>
                    <a:pt x="0" y="5"/>
                    <a:pt x="0" y="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78" name="Freeform 532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3775908" y="4242039"/>
              <a:ext cx="312833" cy="472120"/>
            </a:xfrm>
            <a:custGeom>
              <a:avLst/>
              <a:gdLst>
                <a:gd name="T0" fmla="*/ 2147483647 w 89"/>
                <a:gd name="T1" fmla="*/ 2147483647 h 128"/>
                <a:gd name="T2" fmla="*/ 0 w 89"/>
                <a:gd name="T3" fmla="*/ 2147483647 h 128"/>
                <a:gd name="T4" fmla="*/ 2147483647 w 89"/>
                <a:gd name="T5" fmla="*/ 2147483647 h 128"/>
                <a:gd name="T6" fmla="*/ 2147483647 w 89"/>
                <a:gd name="T7" fmla="*/ 2147483647 h 128"/>
                <a:gd name="T8" fmla="*/ 2147483647 w 89"/>
                <a:gd name="T9" fmla="*/ 2147483647 h 128"/>
                <a:gd name="T10" fmla="*/ 2147483647 w 89"/>
                <a:gd name="T11" fmla="*/ 2147483647 h 128"/>
                <a:gd name="T12" fmla="*/ 2147483647 w 89"/>
                <a:gd name="T13" fmla="*/ 2147483647 h 128"/>
                <a:gd name="T14" fmla="*/ 2147483647 w 89"/>
                <a:gd name="T15" fmla="*/ 2147483647 h 128"/>
                <a:gd name="T16" fmla="*/ 2147483647 w 89"/>
                <a:gd name="T17" fmla="*/ 2147483647 h 128"/>
                <a:gd name="T18" fmla="*/ 2147483647 w 89"/>
                <a:gd name="T19" fmla="*/ 2147483647 h 128"/>
                <a:gd name="T20" fmla="*/ 2147483647 w 89"/>
                <a:gd name="T21" fmla="*/ 2147483647 h 128"/>
                <a:gd name="T22" fmla="*/ 2147483647 w 89"/>
                <a:gd name="T23" fmla="*/ 2147483647 h 128"/>
                <a:gd name="T24" fmla="*/ 2147483647 w 89"/>
                <a:gd name="T25" fmla="*/ 2147483647 h 128"/>
                <a:gd name="T26" fmla="*/ 2147483647 w 89"/>
                <a:gd name="T27" fmla="*/ 2147483647 h 128"/>
                <a:gd name="T28" fmla="*/ 2147483647 w 89"/>
                <a:gd name="T29" fmla="*/ 2147483647 h 128"/>
                <a:gd name="T30" fmla="*/ 2147483647 w 89"/>
                <a:gd name="T31" fmla="*/ 2147483647 h 128"/>
                <a:gd name="T32" fmla="*/ 2147483647 w 89"/>
                <a:gd name="T33" fmla="*/ 2147483647 h 128"/>
                <a:gd name="T34" fmla="*/ 2147483647 w 89"/>
                <a:gd name="T35" fmla="*/ 2147483647 h 128"/>
                <a:gd name="T36" fmla="*/ 2147483647 w 89"/>
                <a:gd name="T37" fmla="*/ 2147483647 h 128"/>
                <a:gd name="T38" fmla="*/ 2147483647 w 89"/>
                <a:gd name="T39" fmla="*/ 2147483647 h 128"/>
                <a:gd name="T40" fmla="*/ 2147483647 w 89"/>
                <a:gd name="T41" fmla="*/ 2147483647 h 128"/>
                <a:gd name="T42" fmla="*/ 2147483647 w 89"/>
                <a:gd name="T43" fmla="*/ 2147483647 h 128"/>
                <a:gd name="T44" fmla="*/ 2147483647 w 89"/>
                <a:gd name="T45" fmla="*/ 2147483647 h 128"/>
                <a:gd name="T46" fmla="*/ 2147483647 w 89"/>
                <a:gd name="T47" fmla="*/ 2147483647 h 128"/>
                <a:gd name="T48" fmla="*/ 2147483647 w 89"/>
                <a:gd name="T49" fmla="*/ 2147483647 h 128"/>
                <a:gd name="T50" fmla="*/ 2147483647 w 89"/>
                <a:gd name="T51" fmla="*/ 2147483647 h 128"/>
                <a:gd name="T52" fmla="*/ 2147483647 w 89"/>
                <a:gd name="T53" fmla="*/ 2147483647 h 128"/>
                <a:gd name="T54" fmla="*/ 2147483647 w 89"/>
                <a:gd name="T55" fmla="*/ 2147483647 h 128"/>
                <a:gd name="T56" fmla="*/ 2147483647 w 89"/>
                <a:gd name="T57" fmla="*/ 2147483647 h 128"/>
                <a:gd name="T58" fmla="*/ 2147483647 w 89"/>
                <a:gd name="T59" fmla="*/ 2147483647 h 128"/>
                <a:gd name="T60" fmla="*/ 2147483647 w 89"/>
                <a:gd name="T61" fmla="*/ 2147483647 h 128"/>
                <a:gd name="T62" fmla="*/ 2147483647 w 89"/>
                <a:gd name="T63" fmla="*/ 2147483647 h 128"/>
                <a:gd name="T64" fmla="*/ 2147483647 w 89"/>
                <a:gd name="T65" fmla="*/ 2147483647 h 128"/>
                <a:gd name="T66" fmla="*/ 2147483647 w 89"/>
                <a:gd name="T67" fmla="*/ 2147483647 h 128"/>
                <a:gd name="T68" fmla="*/ 2147483647 w 89"/>
                <a:gd name="T69" fmla="*/ 2147483647 h 128"/>
                <a:gd name="T70" fmla="*/ 2147483647 w 89"/>
                <a:gd name="T71" fmla="*/ 2147483647 h 128"/>
                <a:gd name="T72" fmla="*/ 2147483647 w 89"/>
                <a:gd name="T73" fmla="*/ 2147483647 h 128"/>
                <a:gd name="T74" fmla="*/ 2147483647 w 89"/>
                <a:gd name="T75" fmla="*/ 2147483647 h 128"/>
                <a:gd name="T76" fmla="*/ 2147483647 w 89"/>
                <a:gd name="T77" fmla="*/ 2147483647 h 128"/>
                <a:gd name="T78" fmla="*/ 2147483647 w 89"/>
                <a:gd name="T79" fmla="*/ 2147483647 h 128"/>
                <a:gd name="T80" fmla="*/ 2147483647 w 89"/>
                <a:gd name="T81" fmla="*/ 2147483647 h 128"/>
                <a:gd name="T82" fmla="*/ 2147483647 w 89"/>
                <a:gd name="T83" fmla="*/ 2147483647 h 128"/>
                <a:gd name="T84" fmla="*/ 2147483647 w 89"/>
                <a:gd name="T85" fmla="*/ 2147483647 h 128"/>
                <a:gd name="T86" fmla="*/ 2147483647 w 89"/>
                <a:gd name="T87" fmla="*/ 2147483647 h 128"/>
                <a:gd name="T88" fmla="*/ 2147483647 w 89"/>
                <a:gd name="T89" fmla="*/ 2147483647 h 128"/>
                <a:gd name="T90" fmla="*/ 2147483647 w 89"/>
                <a:gd name="T91" fmla="*/ 2147483647 h 12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9"/>
                <a:gd name="T139" fmla="*/ 0 h 128"/>
                <a:gd name="T140" fmla="*/ 89 w 89"/>
                <a:gd name="T141" fmla="*/ 128 h 12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9" h="128">
                  <a:moveTo>
                    <a:pt x="7" y="90"/>
                  </a:moveTo>
                  <a:cubicBezTo>
                    <a:pt x="0" y="87"/>
                    <a:pt x="0" y="87"/>
                    <a:pt x="0" y="87"/>
                  </a:cubicBezTo>
                  <a:cubicBezTo>
                    <a:pt x="1" y="84"/>
                    <a:pt x="2" y="79"/>
                    <a:pt x="3" y="78"/>
                  </a:cubicBezTo>
                  <a:cubicBezTo>
                    <a:pt x="4" y="76"/>
                    <a:pt x="8" y="78"/>
                    <a:pt x="9" y="77"/>
                  </a:cubicBezTo>
                  <a:cubicBezTo>
                    <a:pt x="11" y="76"/>
                    <a:pt x="13" y="70"/>
                    <a:pt x="14" y="69"/>
                  </a:cubicBezTo>
                  <a:cubicBezTo>
                    <a:pt x="15" y="68"/>
                    <a:pt x="9" y="66"/>
                    <a:pt x="10" y="65"/>
                  </a:cubicBezTo>
                  <a:cubicBezTo>
                    <a:pt x="11" y="64"/>
                    <a:pt x="11" y="59"/>
                    <a:pt x="11" y="57"/>
                  </a:cubicBezTo>
                  <a:cubicBezTo>
                    <a:pt x="11" y="56"/>
                    <a:pt x="11" y="49"/>
                    <a:pt x="11" y="47"/>
                  </a:cubicBezTo>
                  <a:cubicBezTo>
                    <a:pt x="11" y="46"/>
                    <a:pt x="9" y="44"/>
                    <a:pt x="7" y="42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4" y="32"/>
                    <a:pt x="14" y="32"/>
                    <a:pt x="15" y="32"/>
                  </a:cubicBezTo>
                  <a:cubicBezTo>
                    <a:pt x="17" y="32"/>
                    <a:pt x="24" y="27"/>
                    <a:pt x="24" y="25"/>
                  </a:cubicBezTo>
                  <a:cubicBezTo>
                    <a:pt x="24" y="24"/>
                    <a:pt x="25" y="21"/>
                    <a:pt x="25" y="19"/>
                  </a:cubicBezTo>
                  <a:cubicBezTo>
                    <a:pt x="25" y="16"/>
                    <a:pt x="27" y="14"/>
                    <a:pt x="29" y="12"/>
                  </a:cubicBezTo>
                  <a:cubicBezTo>
                    <a:pt x="32" y="11"/>
                    <a:pt x="35" y="10"/>
                    <a:pt x="39" y="10"/>
                  </a:cubicBezTo>
                  <a:cubicBezTo>
                    <a:pt x="47" y="11"/>
                    <a:pt x="51" y="2"/>
                    <a:pt x="53" y="1"/>
                  </a:cubicBezTo>
                  <a:cubicBezTo>
                    <a:pt x="55" y="1"/>
                    <a:pt x="58" y="0"/>
                    <a:pt x="59" y="3"/>
                  </a:cubicBezTo>
                  <a:cubicBezTo>
                    <a:pt x="61" y="6"/>
                    <a:pt x="58" y="7"/>
                    <a:pt x="55" y="8"/>
                  </a:cubicBezTo>
                  <a:cubicBezTo>
                    <a:pt x="55" y="8"/>
                    <a:pt x="54" y="9"/>
                    <a:pt x="54" y="10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49" y="14"/>
                    <a:pt x="47" y="14"/>
                    <a:pt x="46" y="18"/>
                  </a:cubicBezTo>
                  <a:cubicBezTo>
                    <a:pt x="45" y="21"/>
                    <a:pt x="43" y="26"/>
                    <a:pt x="43" y="27"/>
                  </a:cubicBezTo>
                  <a:cubicBezTo>
                    <a:pt x="43" y="28"/>
                    <a:pt x="49" y="34"/>
                    <a:pt x="49" y="36"/>
                  </a:cubicBezTo>
                  <a:cubicBezTo>
                    <a:pt x="49" y="39"/>
                    <a:pt x="52" y="43"/>
                    <a:pt x="53" y="44"/>
                  </a:cubicBezTo>
                  <a:cubicBezTo>
                    <a:pt x="55" y="44"/>
                    <a:pt x="64" y="43"/>
                    <a:pt x="67" y="45"/>
                  </a:cubicBezTo>
                  <a:cubicBezTo>
                    <a:pt x="70" y="47"/>
                    <a:pt x="71" y="51"/>
                    <a:pt x="74" y="51"/>
                  </a:cubicBezTo>
                  <a:cubicBezTo>
                    <a:pt x="77" y="51"/>
                    <a:pt x="85" y="49"/>
                    <a:pt x="87" y="50"/>
                  </a:cubicBezTo>
                  <a:cubicBezTo>
                    <a:pt x="88" y="51"/>
                    <a:pt x="86" y="55"/>
                    <a:pt x="86" y="58"/>
                  </a:cubicBezTo>
                  <a:cubicBezTo>
                    <a:pt x="85" y="61"/>
                    <a:pt x="85" y="66"/>
                    <a:pt x="86" y="67"/>
                  </a:cubicBezTo>
                  <a:cubicBezTo>
                    <a:pt x="87" y="69"/>
                    <a:pt x="89" y="70"/>
                    <a:pt x="89" y="71"/>
                  </a:cubicBezTo>
                  <a:cubicBezTo>
                    <a:pt x="89" y="72"/>
                    <a:pt x="86" y="76"/>
                    <a:pt x="86" y="77"/>
                  </a:cubicBezTo>
                  <a:cubicBezTo>
                    <a:pt x="86" y="77"/>
                    <a:pt x="87" y="79"/>
                    <a:pt x="89" y="81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81" y="85"/>
                    <a:pt x="71" y="84"/>
                    <a:pt x="70" y="86"/>
                  </a:cubicBezTo>
                  <a:cubicBezTo>
                    <a:pt x="69" y="87"/>
                    <a:pt x="67" y="97"/>
                    <a:pt x="68" y="99"/>
                  </a:cubicBezTo>
                  <a:cubicBezTo>
                    <a:pt x="70" y="101"/>
                    <a:pt x="74" y="107"/>
                    <a:pt x="74" y="110"/>
                  </a:cubicBezTo>
                  <a:cubicBezTo>
                    <a:pt x="73" y="112"/>
                    <a:pt x="71" y="123"/>
                    <a:pt x="69" y="128"/>
                  </a:cubicBezTo>
                  <a:cubicBezTo>
                    <a:pt x="62" y="125"/>
                    <a:pt x="62" y="125"/>
                    <a:pt x="62" y="125"/>
                  </a:cubicBezTo>
                  <a:cubicBezTo>
                    <a:pt x="62" y="125"/>
                    <a:pt x="66" y="118"/>
                    <a:pt x="64" y="117"/>
                  </a:cubicBezTo>
                  <a:cubicBezTo>
                    <a:pt x="62" y="115"/>
                    <a:pt x="51" y="119"/>
                    <a:pt x="47" y="117"/>
                  </a:cubicBezTo>
                  <a:cubicBezTo>
                    <a:pt x="44" y="115"/>
                    <a:pt x="35" y="102"/>
                    <a:pt x="32" y="100"/>
                  </a:cubicBezTo>
                  <a:cubicBezTo>
                    <a:pt x="31" y="98"/>
                    <a:pt x="28" y="97"/>
                    <a:pt x="25" y="97"/>
                  </a:cubicBezTo>
                  <a:cubicBezTo>
                    <a:pt x="24" y="97"/>
                    <a:pt x="22" y="97"/>
                    <a:pt x="21" y="97"/>
                  </a:cubicBezTo>
                  <a:cubicBezTo>
                    <a:pt x="19" y="96"/>
                    <a:pt x="13" y="97"/>
                    <a:pt x="12" y="94"/>
                  </a:cubicBezTo>
                  <a:cubicBezTo>
                    <a:pt x="10" y="92"/>
                    <a:pt x="9" y="91"/>
                    <a:pt x="7" y="9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79" name="Freeform 533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3722397" y="4563176"/>
              <a:ext cx="146126" cy="182137"/>
            </a:xfrm>
            <a:custGeom>
              <a:avLst/>
              <a:gdLst>
                <a:gd name="T0" fmla="*/ 0 w 41"/>
                <a:gd name="T1" fmla="*/ 2147483647 h 50"/>
                <a:gd name="T2" fmla="*/ 0 w 41"/>
                <a:gd name="T3" fmla="*/ 2147483647 h 50"/>
                <a:gd name="T4" fmla="*/ 2147483647 w 41"/>
                <a:gd name="T5" fmla="*/ 2147483647 h 50"/>
                <a:gd name="T6" fmla="*/ 2147483647 w 41"/>
                <a:gd name="T7" fmla="*/ 2147483647 h 50"/>
                <a:gd name="T8" fmla="*/ 2147483647 w 41"/>
                <a:gd name="T9" fmla="*/ 2147483647 h 50"/>
                <a:gd name="T10" fmla="*/ 2147483647 w 41"/>
                <a:gd name="T11" fmla="*/ 0 h 50"/>
                <a:gd name="T12" fmla="*/ 2147483647 w 41"/>
                <a:gd name="T13" fmla="*/ 2147483647 h 50"/>
                <a:gd name="T14" fmla="*/ 2147483647 w 41"/>
                <a:gd name="T15" fmla="*/ 2147483647 h 50"/>
                <a:gd name="T16" fmla="*/ 2147483647 w 41"/>
                <a:gd name="T17" fmla="*/ 2147483647 h 50"/>
                <a:gd name="T18" fmla="*/ 2147483647 w 41"/>
                <a:gd name="T19" fmla="*/ 2147483647 h 50"/>
                <a:gd name="T20" fmla="*/ 2147483647 w 41"/>
                <a:gd name="T21" fmla="*/ 2147483647 h 50"/>
                <a:gd name="T22" fmla="*/ 2147483647 w 41"/>
                <a:gd name="T23" fmla="*/ 2147483647 h 50"/>
                <a:gd name="T24" fmla="*/ 2147483647 w 41"/>
                <a:gd name="T25" fmla="*/ 2147483647 h 50"/>
                <a:gd name="T26" fmla="*/ 2147483647 w 41"/>
                <a:gd name="T27" fmla="*/ 2147483647 h 50"/>
                <a:gd name="T28" fmla="*/ 2147483647 w 41"/>
                <a:gd name="T29" fmla="*/ 2147483647 h 50"/>
                <a:gd name="T30" fmla="*/ 2147483647 w 41"/>
                <a:gd name="T31" fmla="*/ 2147483647 h 50"/>
                <a:gd name="T32" fmla="*/ 2147483647 w 41"/>
                <a:gd name="T33" fmla="*/ 2147483647 h 50"/>
                <a:gd name="T34" fmla="*/ 2147483647 w 41"/>
                <a:gd name="T35" fmla="*/ 2147483647 h 50"/>
                <a:gd name="T36" fmla="*/ 2147483647 w 41"/>
                <a:gd name="T37" fmla="*/ 2147483647 h 50"/>
                <a:gd name="T38" fmla="*/ 2147483647 w 41"/>
                <a:gd name="T39" fmla="*/ 2147483647 h 50"/>
                <a:gd name="T40" fmla="*/ 2147483647 w 41"/>
                <a:gd name="T41" fmla="*/ 2147483647 h 50"/>
                <a:gd name="T42" fmla="*/ 0 w 41"/>
                <a:gd name="T43" fmla="*/ 2147483647 h 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1"/>
                <a:gd name="T67" fmla="*/ 0 h 50"/>
                <a:gd name="T68" fmla="*/ 41 w 41"/>
                <a:gd name="T69" fmla="*/ 50 h 5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1" h="50">
                  <a:moveTo>
                    <a:pt x="0" y="27"/>
                  </a:moveTo>
                  <a:cubicBezTo>
                    <a:pt x="0" y="26"/>
                    <a:pt x="0" y="22"/>
                    <a:pt x="0" y="20"/>
                  </a:cubicBezTo>
                  <a:cubicBezTo>
                    <a:pt x="0" y="18"/>
                    <a:pt x="3" y="16"/>
                    <a:pt x="4" y="14"/>
                  </a:cubicBezTo>
                  <a:cubicBezTo>
                    <a:pt x="6" y="11"/>
                    <a:pt x="4" y="6"/>
                    <a:pt x="5" y="5"/>
                  </a:cubicBezTo>
                  <a:cubicBezTo>
                    <a:pt x="5" y="4"/>
                    <a:pt x="12" y="1"/>
                    <a:pt x="14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4" y="4"/>
                    <a:pt x="25" y="5"/>
                    <a:pt x="27" y="7"/>
                  </a:cubicBezTo>
                  <a:cubicBezTo>
                    <a:pt x="28" y="10"/>
                    <a:pt x="34" y="9"/>
                    <a:pt x="36" y="10"/>
                  </a:cubicBezTo>
                  <a:cubicBezTo>
                    <a:pt x="37" y="10"/>
                    <a:pt x="39" y="10"/>
                    <a:pt x="40" y="10"/>
                  </a:cubicBezTo>
                  <a:cubicBezTo>
                    <a:pt x="40" y="10"/>
                    <a:pt x="40" y="13"/>
                    <a:pt x="40" y="15"/>
                  </a:cubicBezTo>
                  <a:cubicBezTo>
                    <a:pt x="40" y="15"/>
                    <a:pt x="41" y="19"/>
                    <a:pt x="41" y="21"/>
                  </a:cubicBezTo>
                  <a:cubicBezTo>
                    <a:pt x="41" y="24"/>
                    <a:pt x="36" y="28"/>
                    <a:pt x="34" y="30"/>
                  </a:cubicBezTo>
                  <a:cubicBezTo>
                    <a:pt x="31" y="33"/>
                    <a:pt x="23" y="35"/>
                    <a:pt x="21" y="37"/>
                  </a:cubicBezTo>
                  <a:cubicBezTo>
                    <a:pt x="20" y="39"/>
                    <a:pt x="15" y="48"/>
                    <a:pt x="14" y="49"/>
                  </a:cubicBezTo>
                  <a:cubicBezTo>
                    <a:pt x="13" y="50"/>
                    <a:pt x="11" y="47"/>
                    <a:pt x="10" y="46"/>
                  </a:cubicBezTo>
                  <a:cubicBezTo>
                    <a:pt x="9" y="45"/>
                    <a:pt x="6" y="45"/>
                    <a:pt x="5" y="42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5" y="37"/>
                    <a:pt x="5" y="37"/>
                    <a:pt x="6" y="37"/>
                  </a:cubicBezTo>
                  <a:cubicBezTo>
                    <a:pt x="10" y="37"/>
                    <a:pt x="9" y="34"/>
                    <a:pt x="8" y="30"/>
                  </a:cubicBezTo>
                  <a:cubicBezTo>
                    <a:pt x="8" y="27"/>
                    <a:pt x="6" y="31"/>
                    <a:pt x="5" y="30"/>
                  </a:cubicBezTo>
                  <a:cubicBezTo>
                    <a:pt x="4" y="30"/>
                    <a:pt x="0" y="29"/>
                    <a:pt x="0" y="2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80" name="Freeform 534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3710049" y="4601521"/>
              <a:ext cx="345762" cy="527240"/>
            </a:xfrm>
            <a:custGeom>
              <a:avLst/>
              <a:gdLst>
                <a:gd name="T0" fmla="*/ 0 w 98"/>
                <a:gd name="T1" fmla="*/ 2147483647 h 143"/>
                <a:gd name="T2" fmla="*/ 2147483647 w 98"/>
                <a:gd name="T3" fmla="*/ 2147483647 h 143"/>
                <a:gd name="T4" fmla="*/ 2147483647 w 98"/>
                <a:gd name="T5" fmla="*/ 2147483647 h 143"/>
                <a:gd name="T6" fmla="*/ 2147483647 w 98"/>
                <a:gd name="T7" fmla="*/ 2147483647 h 143"/>
                <a:gd name="T8" fmla="*/ 2147483647 w 98"/>
                <a:gd name="T9" fmla="*/ 2147483647 h 143"/>
                <a:gd name="T10" fmla="*/ 2147483647 w 98"/>
                <a:gd name="T11" fmla="*/ 2147483647 h 143"/>
                <a:gd name="T12" fmla="*/ 2147483647 w 98"/>
                <a:gd name="T13" fmla="*/ 2147483647 h 143"/>
                <a:gd name="T14" fmla="*/ 2147483647 w 98"/>
                <a:gd name="T15" fmla="*/ 2147483647 h 143"/>
                <a:gd name="T16" fmla="*/ 2147483647 w 98"/>
                <a:gd name="T17" fmla="*/ 2147483647 h 143"/>
                <a:gd name="T18" fmla="*/ 2147483647 w 98"/>
                <a:gd name="T19" fmla="*/ 2147483647 h 143"/>
                <a:gd name="T20" fmla="*/ 2147483647 w 98"/>
                <a:gd name="T21" fmla="*/ 0 h 143"/>
                <a:gd name="T22" fmla="*/ 2147483647 w 98"/>
                <a:gd name="T23" fmla="*/ 2147483647 h 143"/>
                <a:gd name="T24" fmla="*/ 2147483647 w 98"/>
                <a:gd name="T25" fmla="*/ 2147483647 h 143"/>
                <a:gd name="T26" fmla="*/ 2147483647 w 98"/>
                <a:gd name="T27" fmla="*/ 2147483647 h 143"/>
                <a:gd name="T28" fmla="*/ 2147483647 w 98"/>
                <a:gd name="T29" fmla="*/ 2147483647 h 143"/>
                <a:gd name="T30" fmla="*/ 2147483647 w 98"/>
                <a:gd name="T31" fmla="*/ 2147483647 h 143"/>
                <a:gd name="T32" fmla="*/ 2147483647 w 98"/>
                <a:gd name="T33" fmla="*/ 2147483647 h 143"/>
                <a:gd name="T34" fmla="*/ 2147483647 w 98"/>
                <a:gd name="T35" fmla="*/ 2147483647 h 143"/>
                <a:gd name="T36" fmla="*/ 2147483647 w 98"/>
                <a:gd name="T37" fmla="*/ 2147483647 h 143"/>
                <a:gd name="T38" fmla="*/ 2147483647 w 98"/>
                <a:gd name="T39" fmla="*/ 2147483647 h 143"/>
                <a:gd name="T40" fmla="*/ 2147483647 w 98"/>
                <a:gd name="T41" fmla="*/ 2147483647 h 143"/>
                <a:gd name="T42" fmla="*/ 2147483647 w 98"/>
                <a:gd name="T43" fmla="*/ 2147483647 h 143"/>
                <a:gd name="T44" fmla="*/ 2147483647 w 98"/>
                <a:gd name="T45" fmla="*/ 2147483647 h 143"/>
                <a:gd name="T46" fmla="*/ 2147483647 w 98"/>
                <a:gd name="T47" fmla="*/ 2147483647 h 143"/>
                <a:gd name="T48" fmla="*/ 2147483647 w 98"/>
                <a:gd name="T49" fmla="*/ 2147483647 h 143"/>
                <a:gd name="T50" fmla="*/ 2147483647 w 98"/>
                <a:gd name="T51" fmla="*/ 2147483647 h 143"/>
                <a:gd name="T52" fmla="*/ 2147483647 w 98"/>
                <a:gd name="T53" fmla="*/ 2147483647 h 143"/>
                <a:gd name="T54" fmla="*/ 2147483647 w 98"/>
                <a:gd name="T55" fmla="*/ 2147483647 h 143"/>
                <a:gd name="T56" fmla="*/ 2147483647 w 98"/>
                <a:gd name="T57" fmla="*/ 2147483647 h 143"/>
                <a:gd name="T58" fmla="*/ 2147483647 w 98"/>
                <a:gd name="T59" fmla="*/ 2147483647 h 143"/>
                <a:gd name="T60" fmla="*/ 2147483647 w 98"/>
                <a:gd name="T61" fmla="*/ 2147483647 h 143"/>
                <a:gd name="T62" fmla="*/ 2147483647 w 98"/>
                <a:gd name="T63" fmla="*/ 2147483647 h 143"/>
                <a:gd name="T64" fmla="*/ 2147483647 w 98"/>
                <a:gd name="T65" fmla="*/ 2147483647 h 143"/>
                <a:gd name="T66" fmla="*/ 2147483647 w 98"/>
                <a:gd name="T67" fmla="*/ 2147483647 h 143"/>
                <a:gd name="T68" fmla="*/ 2147483647 w 98"/>
                <a:gd name="T69" fmla="*/ 2147483647 h 143"/>
                <a:gd name="T70" fmla="*/ 2147483647 w 98"/>
                <a:gd name="T71" fmla="*/ 2147483647 h 143"/>
                <a:gd name="T72" fmla="*/ 2147483647 w 98"/>
                <a:gd name="T73" fmla="*/ 2147483647 h 143"/>
                <a:gd name="T74" fmla="*/ 2147483647 w 98"/>
                <a:gd name="T75" fmla="*/ 2147483647 h 143"/>
                <a:gd name="T76" fmla="*/ 2147483647 w 98"/>
                <a:gd name="T77" fmla="*/ 2147483647 h 143"/>
                <a:gd name="T78" fmla="*/ 2147483647 w 98"/>
                <a:gd name="T79" fmla="*/ 2147483647 h 143"/>
                <a:gd name="T80" fmla="*/ 2147483647 w 98"/>
                <a:gd name="T81" fmla="*/ 2147483647 h 143"/>
                <a:gd name="T82" fmla="*/ 2147483647 w 98"/>
                <a:gd name="T83" fmla="*/ 2147483647 h 143"/>
                <a:gd name="T84" fmla="*/ 0 w 98"/>
                <a:gd name="T85" fmla="*/ 2147483647 h 143"/>
                <a:gd name="T86" fmla="*/ 2147483647 w 98"/>
                <a:gd name="T87" fmla="*/ 2147483647 h 143"/>
                <a:gd name="T88" fmla="*/ 0 w 98"/>
                <a:gd name="T89" fmla="*/ 2147483647 h 14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8"/>
                <a:gd name="T136" fmla="*/ 0 h 143"/>
                <a:gd name="T137" fmla="*/ 98 w 98"/>
                <a:gd name="T138" fmla="*/ 143 h 14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8" h="143">
                  <a:moveTo>
                    <a:pt x="0" y="36"/>
                  </a:moveTo>
                  <a:cubicBezTo>
                    <a:pt x="0" y="35"/>
                    <a:pt x="1" y="33"/>
                    <a:pt x="2" y="32"/>
                  </a:cubicBezTo>
                  <a:cubicBezTo>
                    <a:pt x="3" y="31"/>
                    <a:pt x="6" y="28"/>
                    <a:pt x="8" y="28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10" y="35"/>
                    <a:pt x="13" y="35"/>
                    <a:pt x="14" y="36"/>
                  </a:cubicBezTo>
                  <a:cubicBezTo>
                    <a:pt x="15" y="37"/>
                    <a:pt x="17" y="40"/>
                    <a:pt x="18" y="39"/>
                  </a:cubicBezTo>
                  <a:cubicBezTo>
                    <a:pt x="19" y="38"/>
                    <a:pt x="24" y="29"/>
                    <a:pt x="25" y="27"/>
                  </a:cubicBezTo>
                  <a:cubicBezTo>
                    <a:pt x="27" y="25"/>
                    <a:pt x="35" y="23"/>
                    <a:pt x="38" y="20"/>
                  </a:cubicBezTo>
                  <a:cubicBezTo>
                    <a:pt x="40" y="18"/>
                    <a:pt x="45" y="14"/>
                    <a:pt x="45" y="11"/>
                  </a:cubicBezTo>
                  <a:cubicBezTo>
                    <a:pt x="45" y="9"/>
                    <a:pt x="44" y="5"/>
                    <a:pt x="44" y="5"/>
                  </a:cubicBezTo>
                  <a:cubicBezTo>
                    <a:pt x="44" y="3"/>
                    <a:pt x="44" y="0"/>
                    <a:pt x="44" y="0"/>
                  </a:cubicBezTo>
                  <a:cubicBezTo>
                    <a:pt x="47" y="0"/>
                    <a:pt x="50" y="1"/>
                    <a:pt x="51" y="3"/>
                  </a:cubicBezTo>
                  <a:cubicBezTo>
                    <a:pt x="54" y="5"/>
                    <a:pt x="63" y="18"/>
                    <a:pt x="66" y="20"/>
                  </a:cubicBezTo>
                  <a:cubicBezTo>
                    <a:pt x="70" y="22"/>
                    <a:pt x="81" y="18"/>
                    <a:pt x="83" y="20"/>
                  </a:cubicBezTo>
                  <a:cubicBezTo>
                    <a:pt x="85" y="21"/>
                    <a:pt x="81" y="28"/>
                    <a:pt x="81" y="28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7" y="32"/>
                    <a:pt x="87" y="34"/>
                    <a:pt x="86" y="34"/>
                  </a:cubicBezTo>
                  <a:cubicBezTo>
                    <a:pt x="85" y="34"/>
                    <a:pt x="72" y="36"/>
                    <a:pt x="69" y="38"/>
                  </a:cubicBezTo>
                  <a:cubicBezTo>
                    <a:pt x="66" y="39"/>
                    <a:pt x="63" y="43"/>
                    <a:pt x="62" y="45"/>
                  </a:cubicBezTo>
                  <a:cubicBezTo>
                    <a:pt x="61" y="46"/>
                    <a:pt x="65" y="49"/>
                    <a:pt x="64" y="51"/>
                  </a:cubicBezTo>
                  <a:cubicBezTo>
                    <a:pt x="63" y="53"/>
                    <a:pt x="60" y="53"/>
                    <a:pt x="58" y="56"/>
                  </a:cubicBezTo>
                  <a:cubicBezTo>
                    <a:pt x="56" y="60"/>
                    <a:pt x="62" y="69"/>
                    <a:pt x="63" y="72"/>
                  </a:cubicBezTo>
                  <a:cubicBezTo>
                    <a:pt x="65" y="74"/>
                    <a:pt x="69" y="76"/>
                    <a:pt x="72" y="77"/>
                  </a:cubicBezTo>
                  <a:cubicBezTo>
                    <a:pt x="74" y="79"/>
                    <a:pt x="81" y="72"/>
                    <a:pt x="82" y="72"/>
                  </a:cubicBezTo>
                  <a:cubicBezTo>
                    <a:pt x="83" y="73"/>
                    <a:pt x="82" y="84"/>
                    <a:pt x="84" y="84"/>
                  </a:cubicBezTo>
                  <a:cubicBezTo>
                    <a:pt x="85" y="84"/>
                    <a:pt x="89" y="84"/>
                    <a:pt x="91" y="85"/>
                  </a:cubicBezTo>
                  <a:cubicBezTo>
                    <a:pt x="91" y="85"/>
                    <a:pt x="92" y="86"/>
                    <a:pt x="93" y="87"/>
                  </a:cubicBezTo>
                  <a:cubicBezTo>
                    <a:pt x="95" y="90"/>
                    <a:pt x="97" y="95"/>
                    <a:pt x="98" y="97"/>
                  </a:cubicBezTo>
                  <a:cubicBezTo>
                    <a:pt x="98" y="98"/>
                    <a:pt x="97" y="99"/>
                    <a:pt x="95" y="101"/>
                  </a:cubicBezTo>
                  <a:cubicBezTo>
                    <a:pt x="94" y="103"/>
                    <a:pt x="97" y="109"/>
                    <a:pt x="96" y="111"/>
                  </a:cubicBezTo>
                  <a:cubicBezTo>
                    <a:pt x="95" y="113"/>
                    <a:pt x="93" y="118"/>
                    <a:pt x="92" y="121"/>
                  </a:cubicBezTo>
                  <a:cubicBezTo>
                    <a:pt x="91" y="124"/>
                    <a:pt x="97" y="126"/>
                    <a:pt x="96" y="128"/>
                  </a:cubicBezTo>
                  <a:cubicBezTo>
                    <a:pt x="95" y="129"/>
                    <a:pt x="93" y="133"/>
                    <a:pt x="91" y="137"/>
                  </a:cubicBezTo>
                  <a:cubicBezTo>
                    <a:pt x="90" y="139"/>
                    <a:pt x="89" y="140"/>
                    <a:pt x="89" y="141"/>
                  </a:cubicBezTo>
                  <a:cubicBezTo>
                    <a:pt x="84" y="143"/>
                    <a:pt x="84" y="143"/>
                    <a:pt x="84" y="143"/>
                  </a:cubicBezTo>
                  <a:cubicBezTo>
                    <a:pt x="84" y="142"/>
                    <a:pt x="76" y="134"/>
                    <a:pt x="73" y="133"/>
                  </a:cubicBezTo>
                  <a:cubicBezTo>
                    <a:pt x="70" y="131"/>
                    <a:pt x="54" y="123"/>
                    <a:pt x="50" y="121"/>
                  </a:cubicBezTo>
                  <a:cubicBezTo>
                    <a:pt x="45" y="119"/>
                    <a:pt x="39" y="111"/>
                    <a:pt x="38" y="110"/>
                  </a:cubicBezTo>
                  <a:cubicBezTo>
                    <a:pt x="37" y="108"/>
                    <a:pt x="39" y="103"/>
                    <a:pt x="39" y="102"/>
                  </a:cubicBezTo>
                  <a:cubicBezTo>
                    <a:pt x="38" y="100"/>
                    <a:pt x="30" y="90"/>
                    <a:pt x="29" y="87"/>
                  </a:cubicBezTo>
                  <a:cubicBezTo>
                    <a:pt x="28" y="83"/>
                    <a:pt x="13" y="57"/>
                    <a:pt x="11" y="53"/>
                  </a:cubicBezTo>
                  <a:cubicBezTo>
                    <a:pt x="9" y="50"/>
                    <a:pt x="3" y="49"/>
                    <a:pt x="2" y="48"/>
                  </a:cubicBezTo>
                  <a:cubicBezTo>
                    <a:pt x="0" y="48"/>
                    <a:pt x="0" y="44"/>
                    <a:pt x="0" y="43"/>
                  </a:cubicBezTo>
                  <a:cubicBezTo>
                    <a:pt x="0" y="42"/>
                    <a:pt x="3" y="42"/>
                    <a:pt x="3" y="41"/>
                  </a:cubicBezTo>
                  <a:cubicBezTo>
                    <a:pt x="3" y="39"/>
                    <a:pt x="0" y="37"/>
                    <a:pt x="0" y="36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81" name="Freeform 535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3668886" y="4318728"/>
              <a:ext cx="154358" cy="81483"/>
            </a:xfrm>
            <a:custGeom>
              <a:avLst/>
              <a:gdLst>
                <a:gd name="T0" fmla="*/ 0 w 44"/>
                <a:gd name="T1" fmla="*/ 2147483647 h 22"/>
                <a:gd name="T2" fmla="*/ 2147483647 w 44"/>
                <a:gd name="T3" fmla="*/ 0 h 22"/>
                <a:gd name="T4" fmla="*/ 2147483647 w 44"/>
                <a:gd name="T5" fmla="*/ 2147483647 h 22"/>
                <a:gd name="T6" fmla="*/ 2147483647 w 44"/>
                <a:gd name="T7" fmla="*/ 2147483647 h 22"/>
                <a:gd name="T8" fmla="*/ 2147483647 w 44"/>
                <a:gd name="T9" fmla="*/ 2147483647 h 22"/>
                <a:gd name="T10" fmla="*/ 2147483647 w 44"/>
                <a:gd name="T11" fmla="*/ 2147483647 h 22"/>
                <a:gd name="T12" fmla="*/ 2147483647 w 44"/>
                <a:gd name="T13" fmla="*/ 2147483647 h 22"/>
                <a:gd name="T14" fmla="*/ 2147483647 w 44"/>
                <a:gd name="T15" fmla="*/ 2147483647 h 22"/>
                <a:gd name="T16" fmla="*/ 2147483647 w 44"/>
                <a:gd name="T17" fmla="*/ 2147483647 h 22"/>
                <a:gd name="T18" fmla="*/ 2147483647 w 44"/>
                <a:gd name="T19" fmla="*/ 2147483647 h 22"/>
                <a:gd name="T20" fmla="*/ 2147483647 w 44"/>
                <a:gd name="T21" fmla="*/ 2147483647 h 22"/>
                <a:gd name="T22" fmla="*/ 2147483647 w 44"/>
                <a:gd name="T23" fmla="*/ 2147483647 h 22"/>
                <a:gd name="T24" fmla="*/ 2147483647 w 44"/>
                <a:gd name="T25" fmla="*/ 2147483647 h 22"/>
                <a:gd name="T26" fmla="*/ 2147483647 w 44"/>
                <a:gd name="T27" fmla="*/ 2147483647 h 22"/>
                <a:gd name="T28" fmla="*/ 2147483647 w 44"/>
                <a:gd name="T29" fmla="*/ 2147483647 h 22"/>
                <a:gd name="T30" fmla="*/ 2147483647 w 44"/>
                <a:gd name="T31" fmla="*/ 2147483647 h 22"/>
                <a:gd name="T32" fmla="*/ 2147483647 w 44"/>
                <a:gd name="T33" fmla="*/ 2147483647 h 22"/>
                <a:gd name="T34" fmla="*/ 2147483647 w 44"/>
                <a:gd name="T35" fmla="*/ 2147483647 h 22"/>
                <a:gd name="T36" fmla="*/ 0 w 44"/>
                <a:gd name="T37" fmla="*/ 2147483647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4"/>
                <a:gd name="T58" fmla="*/ 0 h 22"/>
                <a:gd name="T59" fmla="*/ 44 w 44"/>
                <a:gd name="T60" fmla="*/ 22 h 2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4" h="22">
                  <a:moveTo>
                    <a:pt x="0" y="13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5" y="3"/>
                    <a:pt x="10" y="7"/>
                    <a:pt x="12" y="8"/>
                  </a:cubicBezTo>
                  <a:cubicBezTo>
                    <a:pt x="15" y="11"/>
                    <a:pt x="23" y="3"/>
                    <a:pt x="27" y="3"/>
                  </a:cubicBezTo>
                  <a:cubicBezTo>
                    <a:pt x="32" y="2"/>
                    <a:pt x="38" y="5"/>
                    <a:pt x="41" y="8"/>
                  </a:cubicBezTo>
                  <a:cubicBezTo>
                    <a:pt x="42" y="9"/>
                    <a:pt x="43" y="10"/>
                    <a:pt x="44" y="10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7" y="20"/>
                    <a:pt x="35" y="18"/>
                    <a:pt x="35" y="18"/>
                  </a:cubicBezTo>
                  <a:cubicBezTo>
                    <a:pt x="34" y="17"/>
                    <a:pt x="37" y="14"/>
                    <a:pt x="37" y="13"/>
                  </a:cubicBezTo>
                  <a:cubicBezTo>
                    <a:pt x="37" y="12"/>
                    <a:pt x="31" y="8"/>
                    <a:pt x="29" y="8"/>
                  </a:cubicBezTo>
                  <a:cubicBezTo>
                    <a:pt x="27" y="8"/>
                    <a:pt x="26" y="10"/>
                    <a:pt x="25" y="11"/>
                  </a:cubicBezTo>
                  <a:cubicBezTo>
                    <a:pt x="24" y="11"/>
                    <a:pt x="20" y="13"/>
                    <a:pt x="20" y="14"/>
                  </a:cubicBezTo>
                  <a:cubicBezTo>
                    <a:pt x="18" y="15"/>
                    <a:pt x="24" y="19"/>
                    <a:pt x="22" y="20"/>
                  </a:cubicBezTo>
                  <a:cubicBezTo>
                    <a:pt x="21" y="20"/>
                    <a:pt x="17" y="22"/>
                    <a:pt x="16" y="22"/>
                  </a:cubicBezTo>
                  <a:cubicBezTo>
                    <a:pt x="14" y="22"/>
                    <a:pt x="14" y="19"/>
                    <a:pt x="12" y="18"/>
                  </a:cubicBezTo>
                  <a:cubicBezTo>
                    <a:pt x="11" y="17"/>
                    <a:pt x="8" y="14"/>
                    <a:pt x="6" y="14"/>
                  </a:cubicBezTo>
                  <a:cubicBezTo>
                    <a:pt x="5" y="14"/>
                    <a:pt x="2" y="14"/>
                    <a:pt x="0" y="1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82" name="Freeform 536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3621550" y="3940074"/>
              <a:ext cx="286077" cy="103051"/>
            </a:xfrm>
            <a:custGeom>
              <a:avLst/>
              <a:gdLst>
                <a:gd name="T0" fmla="*/ 2147483647 w 81"/>
                <a:gd name="T1" fmla="*/ 2147483647 h 28"/>
                <a:gd name="T2" fmla="*/ 2147483647 w 81"/>
                <a:gd name="T3" fmla="*/ 2147483647 h 28"/>
                <a:gd name="T4" fmla="*/ 2147483647 w 81"/>
                <a:gd name="T5" fmla="*/ 2147483647 h 28"/>
                <a:gd name="T6" fmla="*/ 2147483647 w 81"/>
                <a:gd name="T7" fmla="*/ 2147483647 h 28"/>
                <a:gd name="T8" fmla="*/ 2147483647 w 81"/>
                <a:gd name="T9" fmla="*/ 0 h 28"/>
                <a:gd name="T10" fmla="*/ 2147483647 w 81"/>
                <a:gd name="T11" fmla="*/ 0 h 28"/>
                <a:gd name="T12" fmla="*/ 2147483647 w 81"/>
                <a:gd name="T13" fmla="*/ 0 h 28"/>
                <a:gd name="T14" fmla="*/ 2147483647 w 81"/>
                <a:gd name="T15" fmla="*/ 2147483647 h 28"/>
                <a:gd name="T16" fmla="*/ 2147483647 w 81"/>
                <a:gd name="T17" fmla="*/ 2147483647 h 28"/>
                <a:gd name="T18" fmla="*/ 2147483647 w 81"/>
                <a:gd name="T19" fmla="*/ 2147483647 h 28"/>
                <a:gd name="T20" fmla="*/ 2147483647 w 81"/>
                <a:gd name="T21" fmla="*/ 2147483647 h 28"/>
                <a:gd name="T22" fmla="*/ 2147483647 w 81"/>
                <a:gd name="T23" fmla="*/ 2147483647 h 28"/>
                <a:gd name="T24" fmla="*/ 2147483647 w 81"/>
                <a:gd name="T25" fmla="*/ 2147483647 h 28"/>
                <a:gd name="T26" fmla="*/ 2147483647 w 81"/>
                <a:gd name="T27" fmla="*/ 2147483647 h 28"/>
                <a:gd name="T28" fmla="*/ 2147483647 w 81"/>
                <a:gd name="T29" fmla="*/ 2147483647 h 28"/>
                <a:gd name="T30" fmla="*/ 2147483647 w 81"/>
                <a:gd name="T31" fmla="*/ 2147483647 h 28"/>
                <a:gd name="T32" fmla="*/ 2147483647 w 81"/>
                <a:gd name="T33" fmla="*/ 2147483647 h 28"/>
                <a:gd name="T34" fmla="*/ 2147483647 w 81"/>
                <a:gd name="T35" fmla="*/ 2147483647 h 28"/>
                <a:gd name="T36" fmla="*/ 2147483647 w 81"/>
                <a:gd name="T37" fmla="*/ 2147483647 h 28"/>
                <a:gd name="T38" fmla="*/ 2147483647 w 81"/>
                <a:gd name="T39" fmla="*/ 2147483647 h 28"/>
                <a:gd name="T40" fmla="*/ 2147483647 w 81"/>
                <a:gd name="T41" fmla="*/ 2147483647 h 2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1"/>
                <a:gd name="T64" fmla="*/ 0 h 28"/>
                <a:gd name="T65" fmla="*/ 81 w 81"/>
                <a:gd name="T66" fmla="*/ 28 h 2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1" h="28">
                  <a:moveTo>
                    <a:pt x="2" y="12"/>
                  </a:moveTo>
                  <a:cubicBezTo>
                    <a:pt x="2" y="11"/>
                    <a:pt x="2" y="11"/>
                    <a:pt x="2" y="11"/>
                  </a:cubicBezTo>
                  <a:cubicBezTo>
                    <a:pt x="1" y="10"/>
                    <a:pt x="1" y="9"/>
                    <a:pt x="1" y="9"/>
                  </a:cubicBezTo>
                  <a:cubicBezTo>
                    <a:pt x="0" y="8"/>
                    <a:pt x="3" y="5"/>
                    <a:pt x="5" y="4"/>
                  </a:cubicBezTo>
                  <a:cubicBezTo>
                    <a:pt x="7" y="3"/>
                    <a:pt x="22" y="0"/>
                    <a:pt x="25" y="0"/>
                  </a:cubicBezTo>
                  <a:cubicBezTo>
                    <a:pt x="25" y="0"/>
                    <a:pt x="27" y="0"/>
                    <a:pt x="28" y="0"/>
                  </a:cubicBezTo>
                  <a:cubicBezTo>
                    <a:pt x="31" y="0"/>
                    <a:pt x="33" y="0"/>
                    <a:pt x="35" y="0"/>
                  </a:cubicBezTo>
                  <a:cubicBezTo>
                    <a:pt x="37" y="1"/>
                    <a:pt x="39" y="4"/>
                    <a:pt x="42" y="5"/>
                  </a:cubicBezTo>
                  <a:cubicBezTo>
                    <a:pt x="44" y="5"/>
                    <a:pt x="47" y="4"/>
                    <a:pt x="51" y="6"/>
                  </a:cubicBezTo>
                  <a:cubicBezTo>
                    <a:pt x="55" y="9"/>
                    <a:pt x="63" y="14"/>
                    <a:pt x="65" y="15"/>
                  </a:cubicBezTo>
                  <a:cubicBezTo>
                    <a:pt x="68" y="16"/>
                    <a:pt x="81" y="21"/>
                    <a:pt x="81" y="23"/>
                  </a:cubicBezTo>
                  <a:cubicBezTo>
                    <a:pt x="81" y="24"/>
                    <a:pt x="77" y="26"/>
                    <a:pt x="74" y="26"/>
                  </a:cubicBezTo>
                  <a:cubicBezTo>
                    <a:pt x="71" y="26"/>
                    <a:pt x="55" y="28"/>
                    <a:pt x="53" y="28"/>
                  </a:cubicBezTo>
                  <a:cubicBezTo>
                    <a:pt x="51" y="27"/>
                    <a:pt x="59" y="21"/>
                    <a:pt x="57" y="20"/>
                  </a:cubicBezTo>
                  <a:cubicBezTo>
                    <a:pt x="55" y="18"/>
                    <a:pt x="51" y="20"/>
                    <a:pt x="49" y="18"/>
                  </a:cubicBezTo>
                  <a:cubicBezTo>
                    <a:pt x="47" y="17"/>
                    <a:pt x="49" y="13"/>
                    <a:pt x="46" y="13"/>
                  </a:cubicBezTo>
                  <a:cubicBezTo>
                    <a:pt x="44" y="12"/>
                    <a:pt x="40" y="13"/>
                    <a:pt x="37" y="11"/>
                  </a:cubicBezTo>
                  <a:cubicBezTo>
                    <a:pt x="33" y="10"/>
                    <a:pt x="25" y="10"/>
                    <a:pt x="24" y="9"/>
                  </a:cubicBezTo>
                  <a:cubicBezTo>
                    <a:pt x="23" y="9"/>
                    <a:pt x="19" y="6"/>
                    <a:pt x="16" y="7"/>
                  </a:cubicBezTo>
                  <a:cubicBezTo>
                    <a:pt x="13" y="8"/>
                    <a:pt x="10" y="9"/>
                    <a:pt x="8" y="10"/>
                  </a:cubicBezTo>
                  <a:cubicBezTo>
                    <a:pt x="6" y="10"/>
                    <a:pt x="3" y="12"/>
                    <a:pt x="2" y="12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83" name="Freeform 537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3584504" y="4289970"/>
              <a:ext cx="90557" cy="76689"/>
            </a:xfrm>
            <a:custGeom>
              <a:avLst/>
              <a:gdLst>
                <a:gd name="T0" fmla="*/ 2147483647 w 26"/>
                <a:gd name="T1" fmla="*/ 2147483647 h 21"/>
                <a:gd name="T2" fmla="*/ 2147483647 w 26"/>
                <a:gd name="T3" fmla="*/ 2147483647 h 21"/>
                <a:gd name="T4" fmla="*/ 2147483647 w 26"/>
                <a:gd name="T5" fmla="*/ 2147483647 h 21"/>
                <a:gd name="T6" fmla="*/ 2147483647 w 26"/>
                <a:gd name="T7" fmla="*/ 0 h 21"/>
                <a:gd name="T8" fmla="*/ 2147483647 w 26"/>
                <a:gd name="T9" fmla="*/ 0 h 21"/>
                <a:gd name="T10" fmla="*/ 2147483647 w 26"/>
                <a:gd name="T11" fmla="*/ 2147483647 h 21"/>
                <a:gd name="T12" fmla="*/ 2147483647 w 26"/>
                <a:gd name="T13" fmla="*/ 2147483647 h 21"/>
                <a:gd name="T14" fmla="*/ 2147483647 w 26"/>
                <a:gd name="T15" fmla="*/ 2147483647 h 21"/>
                <a:gd name="T16" fmla="*/ 2147483647 w 26"/>
                <a:gd name="T17" fmla="*/ 2147483647 h 21"/>
                <a:gd name="T18" fmla="*/ 2147483647 w 26"/>
                <a:gd name="T19" fmla="*/ 2147483647 h 21"/>
                <a:gd name="T20" fmla="*/ 2147483647 w 26"/>
                <a:gd name="T21" fmla="*/ 2147483647 h 2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21"/>
                <a:gd name="T35" fmla="*/ 26 w 26"/>
                <a:gd name="T36" fmla="*/ 21 h 2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21">
                  <a:moveTo>
                    <a:pt x="8" y="14"/>
                  </a:moveTo>
                  <a:cubicBezTo>
                    <a:pt x="7" y="13"/>
                    <a:pt x="4" y="11"/>
                    <a:pt x="2" y="9"/>
                  </a:cubicBezTo>
                  <a:cubicBezTo>
                    <a:pt x="0" y="7"/>
                    <a:pt x="3" y="3"/>
                    <a:pt x="3" y="2"/>
                  </a:cubicBezTo>
                  <a:cubicBezTo>
                    <a:pt x="3" y="2"/>
                    <a:pt x="3" y="1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22" y="5"/>
                    <a:pt x="26" y="8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2" y="21"/>
                    <a:pt x="21" y="20"/>
                    <a:pt x="20" y="20"/>
                  </a:cubicBezTo>
                  <a:cubicBezTo>
                    <a:pt x="19" y="19"/>
                    <a:pt x="20" y="16"/>
                    <a:pt x="18" y="15"/>
                  </a:cubicBezTo>
                  <a:cubicBezTo>
                    <a:pt x="17" y="13"/>
                    <a:pt x="11" y="8"/>
                    <a:pt x="10" y="8"/>
                  </a:cubicBezTo>
                  <a:cubicBezTo>
                    <a:pt x="9" y="7"/>
                    <a:pt x="9" y="15"/>
                    <a:pt x="8" y="1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84" name="Freeform 538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3547458" y="4167746"/>
              <a:ext cx="117312" cy="122224"/>
            </a:xfrm>
            <a:custGeom>
              <a:avLst/>
              <a:gdLst>
                <a:gd name="T0" fmla="*/ 0 w 33"/>
                <a:gd name="T1" fmla="*/ 2147483647 h 33"/>
                <a:gd name="T2" fmla="*/ 2147483647 w 33"/>
                <a:gd name="T3" fmla="*/ 2147483647 h 33"/>
                <a:gd name="T4" fmla="*/ 2147483647 w 33"/>
                <a:gd name="T5" fmla="*/ 2147483647 h 33"/>
                <a:gd name="T6" fmla="*/ 2147483647 w 33"/>
                <a:gd name="T7" fmla="*/ 2147483647 h 33"/>
                <a:gd name="T8" fmla="*/ 2147483647 w 33"/>
                <a:gd name="T9" fmla="*/ 2147483647 h 33"/>
                <a:gd name="T10" fmla="*/ 2147483647 w 33"/>
                <a:gd name="T11" fmla="*/ 2147483647 h 33"/>
                <a:gd name="T12" fmla="*/ 2147483647 w 33"/>
                <a:gd name="T13" fmla="*/ 0 h 33"/>
                <a:gd name="T14" fmla="*/ 2147483647 w 33"/>
                <a:gd name="T15" fmla="*/ 2147483647 h 33"/>
                <a:gd name="T16" fmla="*/ 2147483647 w 33"/>
                <a:gd name="T17" fmla="*/ 2147483647 h 33"/>
                <a:gd name="T18" fmla="*/ 2147483647 w 33"/>
                <a:gd name="T19" fmla="*/ 2147483647 h 33"/>
                <a:gd name="T20" fmla="*/ 2147483647 w 33"/>
                <a:gd name="T21" fmla="*/ 2147483647 h 33"/>
                <a:gd name="T22" fmla="*/ 2147483647 w 33"/>
                <a:gd name="T23" fmla="*/ 2147483647 h 33"/>
                <a:gd name="T24" fmla="*/ 2147483647 w 33"/>
                <a:gd name="T25" fmla="*/ 2147483647 h 33"/>
                <a:gd name="T26" fmla="*/ 0 w 33"/>
                <a:gd name="T27" fmla="*/ 2147483647 h 33"/>
                <a:gd name="T28" fmla="*/ 0 w 33"/>
                <a:gd name="T29" fmla="*/ 2147483647 h 3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3"/>
                <a:gd name="T46" fmla="*/ 0 h 33"/>
                <a:gd name="T47" fmla="*/ 33 w 33"/>
                <a:gd name="T48" fmla="*/ 33 h 3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3" h="33">
                  <a:moveTo>
                    <a:pt x="0" y="19"/>
                  </a:moveTo>
                  <a:cubicBezTo>
                    <a:pt x="6" y="17"/>
                    <a:pt x="6" y="17"/>
                    <a:pt x="6" y="17"/>
                  </a:cubicBezTo>
                  <a:cubicBezTo>
                    <a:pt x="7" y="15"/>
                    <a:pt x="5" y="12"/>
                    <a:pt x="7" y="11"/>
                  </a:cubicBezTo>
                  <a:cubicBezTo>
                    <a:pt x="8" y="11"/>
                    <a:pt x="15" y="9"/>
                    <a:pt x="16" y="8"/>
                  </a:cubicBezTo>
                  <a:cubicBezTo>
                    <a:pt x="17" y="8"/>
                    <a:pt x="18" y="4"/>
                    <a:pt x="20" y="4"/>
                  </a:cubicBezTo>
                  <a:cubicBezTo>
                    <a:pt x="21" y="3"/>
                    <a:pt x="26" y="4"/>
                    <a:pt x="26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1"/>
                    <a:pt x="33" y="5"/>
                    <a:pt x="33" y="8"/>
                  </a:cubicBezTo>
                  <a:cubicBezTo>
                    <a:pt x="33" y="10"/>
                    <a:pt x="30" y="11"/>
                    <a:pt x="30" y="12"/>
                  </a:cubicBezTo>
                  <a:cubicBezTo>
                    <a:pt x="30" y="14"/>
                    <a:pt x="30" y="20"/>
                    <a:pt x="30" y="22"/>
                  </a:cubicBezTo>
                  <a:cubicBezTo>
                    <a:pt x="30" y="25"/>
                    <a:pt x="28" y="29"/>
                    <a:pt x="28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2"/>
                    <a:pt x="11" y="31"/>
                    <a:pt x="10" y="31"/>
                  </a:cubicBezTo>
                  <a:cubicBezTo>
                    <a:pt x="9" y="30"/>
                    <a:pt x="2" y="21"/>
                    <a:pt x="0" y="21"/>
                  </a:cubicBezTo>
                  <a:cubicBezTo>
                    <a:pt x="0" y="21"/>
                    <a:pt x="0" y="20"/>
                    <a:pt x="0" y="19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85" name="Freeform 539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3500121" y="4146177"/>
              <a:ext cx="160533" cy="93465"/>
            </a:xfrm>
            <a:custGeom>
              <a:avLst/>
              <a:gdLst>
                <a:gd name="T0" fmla="*/ 0 w 46"/>
                <a:gd name="T1" fmla="*/ 2147483647 h 25"/>
                <a:gd name="T2" fmla="*/ 2147483647 w 46"/>
                <a:gd name="T3" fmla="*/ 2147483647 h 25"/>
                <a:gd name="T4" fmla="*/ 2147483647 w 46"/>
                <a:gd name="T5" fmla="*/ 2147483647 h 25"/>
                <a:gd name="T6" fmla="*/ 2147483647 w 46"/>
                <a:gd name="T7" fmla="*/ 2147483647 h 25"/>
                <a:gd name="T8" fmla="*/ 2147483647 w 46"/>
                <a:gd name="T9" fmla="*/ 0 h 25"/>
                <a:gd name="T10" fmla="*/ 2147483647 w 46"/>
                <a:gd name="T11" fmla="*/ 2147483647 h 25"/>
                <a:gd name="T12" fmla="*/ 2147483647 w 46"/>
                <a:gd name="T13" fmla="*/ 2147483647 h 25"/>
                <a:gd name="T14" fmla="*/ 2147483647 w 46"/>
                <a:gd name="T15" fmla="*/ 2147483647 h 25"/>
                <a:gd name="T16" fmla="*/ 2147483647 w 46"/>
                <a:gd name="T17" fmla="*/ 2147483647 h 25"/>
                <a:gd name="T18" fmla="*/ 2147483647 w 46"/>
                <a:gd name="T19" fmla="*/ 2147483647 h 25"/>
                <a:gd name="T20" fmla="*/ 2147483647 w 46"/>
                <a:gd name="T21" fmla="*/ 2147483647 h 25"/>
                <a:gd name="T22" fmla="*/ 2147483647 w 46"/>
                <a:gd name="T23" fmla="*/ 2147483647 h 25"/>
                <a:gd name="T24" fmla="*/ 2147483647 w 46"/>
                <a:gd name="T25" fmla="*/ 2147483647 h 25"/>
                <a:gd name="T26" fmla="*/ 2147483647 w 46"/>
                <a:gd name="T27" fmla="*/ 2147483647 h 25"/>
                <a:gd name="T28" fmla="*/ 2147483647 w 46"/>
                <a:gd name="T29" fmla="*/ 2147483647 h 25"/>
                <a:gd name="T30" fmla="*/ 2147483647 w 46"/>
                <a:gd name="T31" fmla="*/ 2147483647 h 25"/>
                <a:gd name="T32" fmla="*/ 0 w 46"/>
                <a:gd name="T33" fmla="*/ 2147483647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6"/>
                <a:gd name="T52" fmla="*/ 0 h 25"/>
                <a:gd name="T53" fmla="*/ 46 w 46"/>
                <a:gd name="T54" fmla="*/ 25 h 2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6" h="25">
                  <a:moveTo>
                    <a:pt x="0" y="11"/>
                  </a:moveTo>
                  <a:cubicBezTo>
                    <a:pt x="0" y="10"/>
                    <a:pt x="1" y="9"/>
                    <a:pt x="1" y="9"/>
                  </a:cubicBezTo>
                  <a:cubicBezTo>
                    <a:pt x="3" y="7"/>
                    <a:pt x="8" y="2"/>
                    <a:pt x="8" y="2"/>
                  </a:cubicBezTo>
                  <a:cubicBezTo>
                    <a:pt x="10" y="2"/>
                    <a:pt x="13" y="2"/>
                    <a:pt x="14" y="2"/>
                  </a:cubicBezTo>
                  <a:cubicBezTo>
                    <a:pt x="16" y="2"/>
                    <a:pt x="23" y="0"/>
                    <a:pt x="26" y="0"/>
                  </a:cubicBezTo>
                  <a:cubicBezTo>
                    <a:pt x="30" y="0"/>
                    <a:pt x="35" y="0"/>
                    <a:pt x="38" y="1"/>
                  </a:cubicBezTo>
                  <a:cubicBezTo>
                    <a:pt x="40" y="1"/>
                    <a:pt x="44" y="4"/>
                    <a:pt x="46" y="6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35" y="9"/>
                    <a:pt x="34" y="10"/>
                  </a:cubicBezTo>
                  <a:cubicBezTo>
                    <a:pt x="32" y="10"/>
                    <a:pt x="31" y="14"/>
                    <a:pt x="30" y="14"/>
                  </a:cubicBezTo>
                  <a:cubicBezTo>
                    <a:pt x="29" y="15"/>
                    <a:pt x="22" y="17"/>
                    <a:pt x="21" y="17"/>
                  </a:cubicBezTo>
                  <a:cubicBezTo>
                    <a:pt x="19" y="18"/>
                    <a:pt x="21" y="21"/>
                    <a:pt x="20" y="23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4"/>
                    <a:pt x="14" y="23"/>
                    <a:pt x="13" y="22"/>
                  </a:cubicBezTo>
                  <a:cubicBezTo>
                    <a:pt x="13" y="21"/>
                    <a:pt x="12" y="21"/>
                    <a:pt x="11" y="21"/>
                  </a:cubicBezTo>
                  <a:cubicBezTo>
                    <a:pt x="11" y="21"/>
                    <a:pt x="14" y="16"/>
                    <a:pt x="12" y="14"/>
                  </a:cubicBezTo>
                  <a:cubicBezTo>
                    <a:pt x="11" y="13"/>
                    <a:pt x="0" y="11"/>
                    <a:pt x="0" y="1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86" name="Freeform 540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3481598" y="4186918"/>
              <a:ext cx="65859" cy="38345"/>
            </a:xfrm>
            <a:custGeom>
              <a:avLst/>
              <a:gdLst>
                <a:gd name="T0" fmla="*/ 0 w 19"/>
                <a:gd name="T1" fmla="*/ 2147483647 h 11"/>
                <a:gd name="T2" fmla="*/ 2147483647 w 19"/>
                <a:gd name="T3" fmla="*/ 0 h 11"/>
                <a:gd name="T4" fmla="*/ 2147483647 w 19"/>
                <a:gd name="T5" fmla="*/ 2147483647 h 11"/>
                <a:gd name="T6" fmla="*/ 2147483647 w 19"/>
                <a:gd name="T7" fmla="*/ 2147483647 h 11"/>
                <a:gd name="T8" fmla="*/ 2147483647 w 19"/>
                <a:gd name="T9" fmla="*/ 2147483647 h 11"/>
                <a:gd name="T10" fmla="*/ 0 w 19"/>
                <a:gd name="T11" fmla="*/ 2147483647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11"/>
                <a:gd name="T20" fmla="*/ 19 w 19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11">
                  <a:moveTo>
                    <a:pt x="0" y="7"/>
                  </a:moveTo>
                  <a:cubicBezTo>
                    <a:pt x="2" y="5"/>
                    <a:pt x="4" y="2"/>
                    <a:pt x="5" y="0"/>
                  </a:cubicBezTo>
                  <a:cubicBezTo>
                    <a:pt x="5" y="0"/>
                    <a:pt x="16" y="2"/>
                    <a:pt x="17" y="3"/>
                  </a:cubicBezTo>
                  <a:cubicBezTo>
                    <a:pt x="19" y="5"/>
                    <a:pt x="16" y="10"/>
                    <a:pt x="16" y="10"/>
                  </a:cubicBezTo>
                  <a:cubicBezTo>
                    <a:pt x="14" y="11"/>
                    <a:pt x="12" y="11"/>
                    <a:pt x="9" y="11"/>
                  </a:cubicBezTo>
                  <a:cubicBezTo>
                    <a:pt x="6" y="10"/>
                    <a:pt x="3" y="8"/>
                    <a:pt x="0" y="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87" name="Freeform 541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3496005" y="4067091"/>
              <a:ext cx="45278" cy="81483"/>
            </a:xfrm>
            <a:custGeom>
              <a:avLst/>
              <a:gdLst>
                <a:gd name="T0" fmla="*/ 2147483647 w 13"/>
                <a:gd name="T1" fmla="*/ 2147483647 h 22"/>
                <a:gd name="T2" fmla="*/ 2147483647 w 13"/>
                <a:gd name="T3" fmla="*/ 2147483647 h 22"/>
                <a:gd name="T4" fmla="*/ 2147483647 w 13"/>
                <a:gd name="T5" fmla="*/ 0 h 22"/>
                <a:gd name="T6" fmla="*/ 2147483647 w 13"/>
                <a:gd name="T7" fmla="*/ 2147483647 h 22"/>
                <a:gd name="T8" fmla="*/ 2147483647 w 13"/>
                <a:gd name="T9" fmla="*/ 2147483647 h 22"/>
                <a:gd name="T10" fmla="*/ 2147483647 w 13"/>
                <a:gd name="T11" fmla="*/ 2147483647 h 22"/>
                <a:gd name="T12" fmla="*/ 2147483647 w 13"/>
                <a:gd name="T13" fmla="*/ 2147483647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22"/>
                <a:gd name="T23" fmla="*/ 13 w 13"/>
                <a:gd name="T24" fmla="*/ 22 h 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22">
                  <a:moveTo>
                    <a:pt x="1" y="21"/>
                  </a:moveTo>
                  <a:cubicBezTo>
                    <a:pt x="0" y="21"/>
                    <a:pt x="1" y="7"/>
                    <a:pt x="1" y="7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5"/>
                    <a:pt x="11" y="11"/>
                    <a:pt x="10" y="13"/>
                  </a:cubicBezTo>
                  <a:cubicBezTo>
                    <a:pt x="9" y="15"/>
                    <a:pt x="7" y="17"/>
                    <a:pt x="7" y="19"/>
                  </a:cubicBezTo>
                  <a:cubicBezTo>
                    <a:pt x="7" y="19"/>
                    <a:pt x="2" y="22"/>
                    <a:pt x="1" y="2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88" name="Freeform 542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3413681" y="4093453"/>
              <a:ext cx="113196" cy="119827"/>
            </a:xfrm>
            <a:custGeom>
              <a:avLst/>
              <a:gdLst>
                <a:gd name="T0" fmla="*/ 0 w 32"/>
                <a:gd name="T1" fmla="*/ 2147483647 h 32"/>
                <a:gd name="T2" fmla="*/ 2147483647 w 32"/>
                <a:gd name="T3" fmla="*/ 2147483647 h 32"/>
                <a:gd name="T4" fmla="*/ 2147483647 w 32"/>
                <a:gd name="T5" fmla="*/ 2147483647 h 32"/>
                <a:gd name="T6" fmla="*/ 2147483647 w 32"/>
                <a:gd name="T7" fmla="*/ 2147483647 h 32"/>
                <a:gd name="T8" fmla="*/ 2147483647 w 32"/>
                <a:gd name="T9" fmla="*/ 2147483647 h 32"/>
                <a:gd name="T10" fmla="*/ 2147483647 w 32"/>
                <a:gd name="T11" fmla="*/ 2147483647 h 32"/>
                <a:gd name="T12" fmla="*/ 2147483647 w 32"/>
                <a:gd name="T13" fmla="*/ 0 h 32"/>
                <a:gd name="T14" fmla="*/ 2147483647 w 32"/>
                <a:gd name="T15" fmla="*/ 0 h 32"/>
                <a:gd name="T16" fmla="*/ 2147483647 w 32"/>
                <a:gd name="T17" fmla="*/ 2147483647 h 32"/>
                <a:gd name="T18" fmla="*/ 2147483647 w 32"/>
                <a:gd name="T19" fmla="*/ 2147483647 h 32"/>
                <a:gd name="T20" fmla="*/ 2147483647 w 32"/>
                <a:gd name="T21" fmla="*/ 2147483647 h 32"/>
                <a:gd name="T22" fmla="*/ 2147483647 w 32"/>
                <a:gd name="T23" fmla="*/ 2147483647 h 32"/>
                <a:gd name="T24" fmla="*/ 2147483647 w 32"/>
                <a:gd name="T25" fmla="*/ 2147483647 h 32"/>
                <a:gd name="T26" fmla="*/ 2147483647 w 32"/>
                <a:gd name="T27" fmla="*/ 2147483647 h 32"/>
                <a:gd name="T28" fmla="*/ 2147483647 w 32"/>
                <a:gd name="T29" fmla="*/ 2147483647 h 32"/>
                <a:gd name="T30" fmla="*/ 2147483647 w 32"/>
                <a:gd name="T31" fmla="*/ 2147483647 h 32"/>
                <a:gd name="T32" fmla="*/ 2147483647 w 32"/>
                <a:gd name="T33" fmla="*/ 2147483647 h 32"/>
                <a:gd name="T34" fmla="*/ 0 w 32"/>
                <a:gd name="T35" fmla="*/ 2147483647 h 3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2"/>
                <a:gd name="T55" fmla="*/ 0 h 32"/>
                <a:gd name="T56" fmla="*/ 32 w 32"/>
                <a:gd name="T57" fmla="*/ 32 h 3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2" h="32">
                  <a:moveTo>
                    <a:pt x="0" y="24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3" y="14"/>
                    <a:pt x="24" y="14"/>
                  </a:cubicBezTo>
                  <a:cubicBezTo>
                    <a:pt x="25" y="15"/>
                    <a:pt x="30" y="12"/>
                    <a:pt x="30" y="12"/>
                  </a:cubicBezTo>
                  <a:cubicBezTo>
                    <a:pt x="29" y="14"/>
                    <a:pt x="28" y="14"/>
                    <a:pt x="30" y="15"/>
                  </a:cubicBezTo>
                  <a:cubicBezTo>
                    <a:pt x="30" y="15"/>
                    <a:pt x="31" y="16"/>
                    <a:pt x="32" y="16"/>
                  </a:cubicBezTo>
                  <a:cubicBezTo>
                    <a:pt x="32" y="16"/>
                    <a:pt x="27" y="21"/>
                    <a:pt x="25" y="23"/>
                  </a:cubicBezTo>
                  <a:cubicBezTo>
                    <a:pt x="25" y="23"/>
                    <a:pt x="24" y="24"/>
                    <a:pt x="24" y="25"/>
                  </a:cubicBezTo>
                  <a:cubicBezTo>
                    <a:pt x="23" y="27"/>
                    <a:pt x="21" y="30"/>
                    <a:pt x="19" y="32"/>
                  </a:cubicBezTo>
                  <a:cubicBezTo>
                    <a:pt x="18" y="32"/>
                    <a:pt x="17" y="31"/>
                    <a:pt x="16" y="31"/>
                  </a:cubicBezTo>
                  <a:cubicBezTo>
                    <a:pt x="14" y="30"/>
                    <a:pt x="12" y="31"/>
                    <a:pt x="9" y="30"/>
                  </a:cubicBezTo>
                  <a:cubicBezTo>
                    <a:pt x="7" y="30"/>
                    <a:pt x="2" y="25"/>
                    <a:pt x="0" y="2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89" name="Freeform 543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2753028" y="3635712"/>
              <a:ext cx="825302" cy="548809"/>
            </a:xfrm>
            <a:custGeom>
              <a:avLst/>
              <a:gdLst>
                <a:gd name="T0" fmla="*/ 0 w 236"/>
                <a:gd name="T1" fmla="*/ 2147483647 h 148"/>
                <a:gd name="T2" fmla="*/ 2147483647 w 236"/>
                <a:gd name="T3" fmla="*/ 0 h 148"/>
                <a:gd name="T4" fmla="*/ 2147483647 w 236"/>
                <a:gd name="T5" fmla="*/ 2147483647 h 148"/>
                <a:gd name="T6" fmla="*/ 2147483647 w 236"/>
                <a:gd name="T7" fmla="*/ 2147483647 h 148"/>
                <a:gd name="T8" fmla="*/ 2147483647 w 236"/>
                <a:gd name="T9" fmla="*/ 2147483647 h 148"/>
                <a:gd name="T10" fmla="*/ 2147483647 w 236"/>
                <a:gd name="T11" fmla="*/ 2147483647 h 148"/>
                <a:gd name="T12" fmla="*/ 2147483647 w 236"/>
                <a:gd name="T13" fmla="*/ 2147483647 h 148"/>
                <a:gd name="T14" fmla="*/ 2147483647 w 236"/>
                <a:gd name="T15" fmla="*/ 2147483647 h 148"/>
                <a:gd name="T16" fmla="*/ 2147483647 w 236"/>
                <a:gd name="T17" fmla="*/ 2147483647 h 148"/>
                <a:gd name="T18" fmla="*/ 2147483647 w 236"/>
                <a:gd name="T19" fmla="*/ 2147483647 h 148"/>
                <a:gd name="T20" fmla="*/ 2147483647 w 236"/>
                <a:gd name="T21" fmla="*/ 2147483647 h 148"/>
                <a:gd name="T22" fmla="*/ 2147483647 w 236"/>
                <a:gd name="T23" fmla="*/ 2147483647 h 148"/>
                <a:gd name="T24" fmla="*/ 2147483647 w 236"/>
                <a:gd name="T25" fmla="*/ 2147483647 h 148"/>
                <a:gd name="T26" fmla="*/ 2147483647 w 236"/>
                <a:gd name="T27" fmla="*/ 2147483647 h 148"/>
                <a:gd name="T28" fmla="*/ 2147483647 w 236"/>
                <a:gd name="T29" fmla="*/ 2147483647 h 148"/>
                <a:gd name="T30" fmla="*/ 2147483647 w 236"/>
                <a:gd name="T31" fmla="*/ 2147483647 h 148"/>
                <a:gd name="T32" fmla="*/ 2147483647 w 236"/>
                <a:gd name="T33" fmla="*/ 2147483647 h 148"/>
                <a:gd name="T34" fmla="*/ 2147483647 w 236"/>
                <a:gd name="T35" fmla="*/ 2147483647 h 148"/>
                <a:gd name="T36" fmla="*/ 2147483647 w 236"/>
                <a:gd name="T37" fmla="*/ 2147483647 h 148"/>
                <a:gd name="T38" fmla="*/ 2147483647 w 236"/>
                <a:gd name="T39" fmla="*/ 2147483647 h 148"/>
                <a:gd name="T40" fmla="*/ 2147483647 w 236"/>
                <a:gd name="T41" fmla="*/ 2147483647 h 148"/>
                <a:gd name="T42" fmla="*/ 2147483647 w 236"/>
                <a:gd name="T43" fmla="*/ 2147483647 h 148"/>
                <a:gd name="T44" fmla="*/ 2147483647 w 236"/>
                <a:gd name="T45" fmla="*/ 2147483647 h 148"/>
                <a:gd name="T46" fmla="*/ 2147483647 w 236"/>
                <a:gd name="T47" fmla="*/ 2147483647 h 148"/>
                <a:gd name="T48" fmla="*/ 2147483647 w 236"/>
                <a:gd name="T49" fmla="*/ 2147483647 h 148"/>
                <a:gd name="T50" fmla="*/ 2147483647 w 236"/>
                <a:gd name="T51" fmla="*/ 2147483647 h 148"/>
                <a:gd name="T52" fmla="*/ 2147483647 w 236"/>
                <a:gd name="T53" fmla="*/ 2147483647 h 148"/>
                <a:gd name="T54" fmla="*/ 2147483647 w 236"/>
                <a:gd name="T55" fmla="*/ 2147483647 h 148"/>
                <a:gd name="T56" fmla="*/ 2147483647 w 236"/>
                <a:gd name="T57" fmla="*/ 2147483647 h 148"/>
                <a:gd name="T58" fmla="*/ 2147483647 w 236"/>
                <a:gd name="T59" fmla="*/ 2147483647 h 148"/>
                <a:gd name="T60" fmla="*/ 2147483647 w 236"/>
                <a:gd name="T61" fmla="*/ 2147483647 h 148"/>
                <a:gd name="T62" fmla="*/ 2147483647 w 236"/>
                <a:gd name="T63" fmla="*/ 2147483647 h 148"/>
                <a:gd name="T64" fmla="*/ 2147483647 w 236"/>
                <a:gd name="T65" fmla="*/ 2147483647 h 148"/>
                <a:gd name="T66" fmla="*/ 2147483647 w 236"/>
                <a:gd name="T67" fmla="*/ 2147483647 h 148"/>
                <a:gd name="T68" fmla="*/ 2147483647 w 236"/>
                <a:gd name="T69" fmla="*/ 2147483647 h 148"/>
                <a:gd name="T70" fmla="*/ 2147483647 w 236"/>
                <a:gd name="T71" fmla="*/ 2147483647 h 148"/>
                <a:gd name="T72" fmla="*/ 2147483647 w 236"/>
                <a:gd name="T73" fmla="*/ 2147483647 h 148"/>
                <a:gd name="T74" fmla="*/ 2147483647 w 236"/>
                <a:gd name="T75" fmla="*/ 2147483647 h 148"/>
                <a:gd name="T76" fmla="*/ 2147483647 w 236"/>
                <a:gd name="T77" fmla="*/ 2147483647 h 148"/>
                <a:gd name="T78" fmla="*/ 2147483647 w 236"/>
                <a:gd name="T79" fmla="*/ 2147483647 h 148"/>
                <a:gd name="T80" fmla="*/ 2147483647 w 236"/>
                <a:gd name="T81" fmla="*/ 2147483647 h 148"/>
                <a:gd name="T82" fmla="*/ 2147483647 w 236"/>
                <a:gd name="T83" fmla="*/ 2147483647 h 148"/>
                <a:gd name="T84" fmla="*/ 2147483647 w 236"/>
                <a:gd name="T85" fmla="*/ 2147483647 h 14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36"/>
                <a:gd name="T130" fmla="*/ 0 h 148"/>
                <a:gd name="T131" fmla="*/ 236 w 236"/>
                <a:gd name="T132" fmla="*/ 148 h 14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36" h="148">
                  <a:moveTo>
                    <a:pt x="4" y="12"/>
                  </a:moveTo>
                  <a:cubicBezTo>
                    <a:pt x="3" y="10"/>
                    <a:pt x="1" y="6"/>
                    <a:pt x="0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82" y="10"/>
                    <a:pt x="88" y="16"/>
                    <a:pt x="90" y="18"/>
                  </a:cubicBezTo>
                  <a:cubicBezTo>
                    <a:pt x="93" y="19"/>
                    <a:pt x="94" y="21"/>
                    <a:pt x="95" y="25"/>
                  </a:cubicBezTo>
                  <a:cubicBezTo>
                    <a:pt x="96" y="29"/>
                    <a:pt x="102" y="31"/>
                    <a:pt x="106" y="33"/>
                  </a:cubicBezTo>
                  <a:cubicBezTo>
                    <a:pt x="110" y="34"/>
                    <a:pt x="110" y="27"/>
                    <a:pt x="112" y="26"/>
                  </a:cubicBezTo>
                  <a:cubicBezTo>
                    <a:pt x="114" y="26"/>
                    <a:pt x="117" y="26"/>
                    <a:pt x="122" y="28"/>
                  </a:cubicBezTo>
                  <a:cubicBezTo>
                    <a:pt x="126" y="30"/>
                    <a:pt x="137" y="54"/>
                    <a:pt x="138" y="55"/>
                  </a:cubicBezTo>
                  <a:cubicBezTo>
                    <a:pt x="139" y="56"/>
                    <a:pt x="148" y="60"/>
                    <a:pt x="148" y="60"/>
                  </a:cubicBezTo>
                  <a:cubicBezTo>
                    <a:pt x="153" y="58"/>
                    <a:pt x="153" y="58"/>
                    <a:pt x="153" y="58"/>
                  </a:cubicBezTo>
                  <a:cubicBezTo>
                    <a:pt x="154" y="58"/>
                    <a:pt x="154" y="58"/>
                    <a:pt x="154" y="58"/>
                  </a:cubicBezTo>
                  <a:cubicBezTo>
                    <a:pt x="154" y="59"/>
                    <a:pt x="154" y="59"/>
                    <a:pt x="154" y="60"/>
                  </a:cubicBezTo>
                  <a:cubicBezTo>
                    <a:pt x="154" y="63"/>
                    <a:pt x="149" y="70"/>
                    <a:pt x="149" y="73"/>
                  </a:cubicBezTo>
                  <a:cubicBezTo>
                    <a:pt x="148" y="75"/>
                    <a:pt x="148" y="84"/>
                    <a:pt x="148" y="87"/>
                  </a:cubicBezTo>
                  <a:cubicBezTo>
                    <a:pt x="148" y="89"/>
                    <a:pt x="152" y="92"/>
                    <a:pt x="153" y="93"/>
                  </a:cubicBezTo>
                  <a:cubicBezTo>
                    <a:pt x="154" y="95"/>
                    <a:pt x="151" y="96"/>
                    <a:pt x="151" y="98"/>
                  </a:cubicBezTo>
                  <a:cubicBezTo>
                    <a:pt x="151" y="99"/>
                    <a:pt x="155" y="103"/>
                    <a:pt x="158" y="107"/>
                  </a:cubicBezTo>
                  <a:cubicBezTo>
                    <a:pt x="161" y="110"/>
                    <a:pt x="159" y="111"/>
                    <a:pt x="161" y="115"/>
                  </a:cubicBezTo>
                  <a:cubicBezTo>
                    <a:pt x="164" y="118"/>
                    <a:pt x="168" y="116"/>
                    <a:pt x="171" y="118"/>
                  </a:cubicBezTo>
                  <a:cubicBezTo>
                    <a:pt x="173" y="120"/>
                    <a:pt x="173" y="122"/>
                    <a:pt x="176" y="121"/>
                  </a:cubicBezTo>
                  <a:cubicBezTo>
                    <a:pt x="178" y="120"/>
                    <a:pt x="186" y="119"/>
                    <a:pt x="189" y="118"/>
                  </a:cubicBezTo>
                  <a:cubicBezTo>
                    <a:pt x="192" y="118"/>
                    <a:pt x="198" y="116"/>
                    <a:pt x="200" y="114"/>
                  </a:cubicBezTo>
                  <a:cubicBezTo>
                    <a:pt x="202" y="112"/>
                    <a:pt x="203" y="108"/>
                    <a:pt x="203" y="106"/>
                  </a:cubicBezTo>
                  <a:cubicBezTo>
                    <a:pt x="203" y="105"/>
                    <a:pt x="204" y="99"/>
                    <a:pt x="206" y="97"/>
                  </a:cubicBezTo>
                  <a:cubicBezTo>
                    <a:pt x="208" y="95"/>
                    <a:pt x="216" y="94"/>
                    <a:pt x="220" y="93"/>
                  </a:cubicBezTo>
                  <a:cubicBezTo>
                    <a:pt x="224" y="93"/>
                    <a:pt x="226" y="92"/>
                    <a:pt x="229" y="93"/>
                  </a:cubicBezTo>
                  <a:cubicBezTo>
                    <a:pt x="230" y="93"/>
                    <a:pt x="231" y="94"/>
                    <a:pt x="232" y="94"/>
                  </a:cubicBezTo>
                  <a:cubicBezTo>
                    <a:pt x="236" y="96"/>
                    <a:pt x="231" y="100"/>
                    <a:pt x="230" y="102"/>
                  </a:cubicBezTo>
                  <a:cubicBezTo>
                    <a:pt x="229" y="103"/>
                    <a:pt x="227" y="108"/>
                    <a:pt x="227" y="109"/>
                  </a:cubicBezTo>
                  <a:cubicBezTo>
                    <a:pt x="227" y="111"/>
                    <a:pt x="225" y="116"/>
                    <a:pt x="225" y="119"/>
                  </a:cubicBezTo>
                  <a:cubicBezTo>
                    <a:pt x="220" y="117"/>
                    <a:pt x="220" y="117"/>
                    <a:pt x="220" y="117"/>
                  </a:cubicBezTo>
                  <a:cubicBezTo>
                    <a:pt x="213" y="124"/>
                    <a:pt x="213" y="124"/>
                    <a:pt x="213" y="124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7"/>
                    <a:pt x="198" y="127"/>
                    <a:pt x="198" y="127"/>
                  </a:cubicBezTo>
                  <a:cubicBezTo>
                    <a:pt x="203" y="132"/>
                    <a:pt x="203" y="132"/>
                    <a:pt x="203" y="132"/>
                  </a:cubicBezTo>
                  <a:cubicBezTo>
                    <a:pt x="203" y="137"/>
                    <a:pt x="203" y="137"/>
                    <a:pt x="203" y="137"/>
                  </a:cubicBezTo>
                  <a:cubicBezTo>
                    <a:pt x="195" y="139"/>
                    <a:pt x="195" y="139"/>
                    <a:pt x="195" y="139"/>
                  </a:cubicBezTo>
                  <a:cubicBezTo>
                    <a:pt x="192" y="144"/>
                    <a:pt x="192" y="144"/>
                    <a:pt x="192" y="144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8" y="147"/>
                    <a:pt x="177" y="137"/>
                    <a:pt x="173" y="136"/>
                  </a:cubicBezTo>
                  <a:cubicBezTo>
                    <a:pt x="169" y="134"/>
                    <a:pt x="166" y="138"/>
                    <a:pt x="163" y="139"/>
                  </a:cubicBezTo>
                  <a:cubicBezTo>
                    <a:pt x="161" y="141"/>
                    <a:pt x="157" y="141"/>
                    <a:pt x="153" y="140"/>
                  </a:cubicBezTo>
                  <a:cubicBezTo>
                    <a:pt x="149" y="139"/>
                    <a:pt x="132" y="132"/>
                    <a:pt x="129" y="131"/>
                  </a:cubicBezTo>
                  <a:cubicBezTo>
                    <a:pt x="127" y="131"/>
                    <a:pt x="115" y="124"/>
                    <a:pt x="113" y="123"/>
                  </a:cubicBezTo>
                  <a:cubicBezTo>
                    <a:pt x="110" y="123"/>
                    <a:pt x="101" y="117"/>
                    <a:pt x="97" y="114"/>
                  </a:cubicBezTo>
                  <a:cubicBezTo>
                    <a:pt x="93" y="112"/>
                    <a:pt x="91" y="109"/>
                    <a:pt x="89" y="108"/>
                  </a:cubicBezTo>
                  <a:cubicBezTo>
                    <a:pt x="88" y="106"/>
                    <a:pt x="87" y="103"/>
                    <a:pt x="89" y="103"/>
                  </a:cubicBezTo>
                  <a:cubicBezTo>
                    <a:pt x="90" y="102"/>
                    <a:pt x="91" y="99"/>
                    <a:pt x="91" y="97"/>
                  </a:cubicBezTo>
                  <a:cubicBezTo>
                    <a:pt x="91" y="95"/>
                    <a:pt x="89" y="89"/>
                    <a:pt x="87" y="87"/>
                  </a:cubicBezTo>
                  <a:cubicBezTo>
                    <a:pt x="86" y="84"/>
                    <a:pt x="74" y="72"/>
                    <a:pt x="71" y="70"/>
                  </a:cubicBezTo>
                  <a:cubicBezTo>
                    <a:pt x="68" y="68"/>
                    <a:pt x="61" y="62"/>
                    <a:pt x="59" y="61"/>
                  </a:cubicBezTo>
                  <a:cubicBezTo>
                    <a:pt x="57" y="61"/>
                    <a:pt x="61" y="57"/>
                    <a:pt x="59" y="54"/>
                  </a:cubicBezTo>
                  <a:cubicBezTo>
                    <a:pt x="59" y="52"/>
                    <a:pt x="54" y="49"/>
                    <a:pt x="53" y="49"/>
                  </a:cubicBezTo>
                  <a:cubicBezTo>
                    <a:pt x="51" y="48"/>
                    <a:pt x="51" y="44"/>
                    <a:pt x="51" y="43"/>
                  </a:cubicBezTo>
                  <a:cubicBezTo>
                    <a:pt x="51" y="41"/>
                    <a:pt x="46" y="41"/>
                    <a:pt x="45" y="40"/>
                  </a:cubicBezTo>
                  <a:cubicBezTo>
                    <a:pt x="43" y="39"/>
                    <a:pt x="36" y="29"/>
                    <a:pt x="35" y="27"/>
                  </a:cubicBezTo>
                  <a:cubicBezTo>
                    <a:pt x="34" y="26"/>
                    <a:pt x="32" y="16"/>
                    <a:pt x="31" y="15"/>
                  </a:cubicBezTo>
                  <a:cubicBezTo>
                    <a:pt x="30" y="15"/>
                    <a:pt x="19" y="10"/>
                    <a:pt x="18" y="10"/>
                  </a:cubicBezTo>
                  <a:cubicBezTo>
                    <a:pt x="17" y="10"/>
                    <a:pt x="18" y="14"/>
                    <a:pt x="18" y="16"/>
                  </a:cubicBezTo>
                  <a:cubicBezTo>
                    <a:pt x="18" y="17"/>
                    <a:pt x="19" y="22"/>
                    <a:pt x="20" y="24"/>
                  </a:cubicBezTo>
                  <a:cubicBezTo>
                    <a:pt x="21" y="26"/>
                    <a:pt x="23" y="27"/>
                    <a:pt x="25" y="29"/>
                  </a:cubicBezTo>
                  <a:cubicBezTo>
                    <a:pt x="27" y="31"/>
                    <a:pt x="30" y="35"/>
                    <a:pt x="31" y="36"/>
                  </a:cubicBezTo>
                  <a:cubicBezTo>
                    <a:pt x="32" y="38"/>
                    <a:pt x="36" y="45"/>
                    <a:pt x="38" y="47"/>
                  </a:cubicBezTo>
                  <a:cubicBezTo>
                    <a:pt x="40" y="49"/>
                    <a:pt x="41" y="51"/>
                    <a:pt x="43" y="54"/>
                  </a:cubicBezTo>
                  <a:cubicBezTo>
                    <a:pt x="44" y="56"/>
                    <a:pt x="45" y="60"/>
                    <a:pt x="47" y="62"/>
                  </a:cubicBezTo>
                  <a:cubicBezTo>
                    <a:pt x="48" y="65"/>
                    <a:pt x="49" y="67"/>
                    <a:pt x="50" y="69"/>
                  </a:cubicBezTo>
                  <a:cubicBezTo>
                    <a:pt x="51" y="72"/>
                    <a:pt x="54" y="71"/>
                    <a:pt x="55" y="73"/>
                  </a:cubicBezTo>
                  <a:cubicBezTo>
                    <a:pt x="56" y="76"/>
                    <a:pt x="60" y="77"/>
                    <a:pt x="60" y="80"/>
                  </a:cubicBezTo>
                  <a:cubicBezTo>
                    <a:pt x="59" y="82"/>
                    <a:pt x="55" y="85"/>
                    <a:pt x="54" y="85"/>
                  </a:cubicBezTo>
                  <a:cubicBezTo>
                    <a:pt x="52" y="84"/>
                    <a:pt x="52" y="80"/>
                    <a:pt x="51" y="79"/>
                  </a:cubicBezTo>
                  <a:cubicBezTo>
                    <a:pt x="51" y="78"/>
                    <a:pt x="47" y="76"/>
                    <a:pt x="47" y="75"/>
                  </a:cubicBezTo>
                  <a:cubicBezTo>
                    <a:pt x="46" y="74"/>
                    <a:pt x="39" y="72"/>
                    <a:pt x="38" y="71"/>
                  </a:cubicBezTo>
                  <a:cubicBezTo>
                    <a:pt x="37" y="69"/>
                    <a:pt x="39" y="63"/>
                    <a:pt x="38" y="60"/>
                  </a:cubicBezTo>
                  <a:cubicBezTo>
                    <a:pt x="37" y="57"/>
                    <a:pt x="33" y="57"/>
                    <a:pt x="31" y="54"/>
                  </a:cubicBezTo>
                  <a:cubicBezTo>
                    <a:pt x="29" y="52"/>
                    <a:pt x="26" y="52"/>
                    <a:pt x="22" y="51"/>
                  </a:cubicBezTo>
                  <a:cubicBezTo>
                    <a:pt x="19" y="49"/>
                    <a:pt x="14" y="43"/>
                    <a:pt x="15" y="43"/>
                  </a:cubicBezTo>
                  <a:cubicBezTo>
                    <a:pt x="16" y="43"/>
                    <a:pt x="20" y="43"/>
                    <a:pt x="21" y="43"/>
                  </a:cubicBezTo>
                  <a:cubicBezTo>
                    <a:pt x="23" y="43"/>
                    <a:pt x="24" y="40"/>
                    <a:pt x="23" y="37"/>
                  </a:cubicBezTo>
                  <a:cubicBezTo>
                    <a:pt x="23" y="35"/>
                    <a:pt x="13" y="29"/>
                    <a:pt x="11" y="27"/>
                  </a:cubicBezTo>
                  <a:cubicBezTo>
                    <a:pt x="9" y="25"/>
                    <a:pt x="6" y="16"/>
                    <a:pt x="4" y="12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90" name="Freeform 544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084624" y="4071884"/>
              <a:ext cx="55569" cy="26362"/>
            </a:xfrm>
            <a:custGeom>
              <a:avLst/>
              <a:gdLst>
                <a:gd name="T0" fmla="*/ 2147483647 w 16"/>
                <a:gd name="T1" fmla="*/ 2147483647 h 7"/>
                <a:gd name="T2" fmla="*/ 2147483647 w 16"/>
                <a:gd name="T3" fmla="*/ 2147483647 h 7"/>
                <a:gd name="T4" fmla="*/ 2147483647 w 16"/>
                <a:gd name="T5" fmla="*/ 0 h 7"/>
                <a:gd name="T6" fmla="*/ 2147483647 w 16"/>
                <a:gd name="T7" fmla="*/ 2147483647 h 7"/>
                <a:gd name="T8" fmla="*/ 2147483647 w 16"/>
                <a:gd name="T9" fmla="*/ 2147483647 h 7"/>
                <a:gd name="T10" fmla="*/ 2147483647 w 16"/>
                <a:gd name="T11" fmla="*/ 214748364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7"/>
                <a:gd name="T20" fmla="*/ 16 w 16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7">
                  <a:moveTo>
                    <a:pt x="3" y="7"/>
                  </a:moveTo>
                  <a:cubicBezTo>
                    <a:pt x="2" y="6"/>
                    <a:pt x="0" y="3"/>
                    <a:pt x="2" y="1"/>
                  </a:cubicBezTo>
                  <a:cubicBezTo>
                    <a:pt x="3" y="0"/>
                    <a:pt x="6" y="0"/>
                    <a:pt x="9" y="0"/>
                  </a:cubicBezTo>
                  <a:cubicBezTo>
                    <a:pt x="9" y="0"/>
                    <a:pt x="16" y="1"/>
                    <a:pt x="16" y="2"/>
                  </a:cubicBezTo>
                  <a:cubicBezTo>
                    <a:pt x="15" y="4"/>
                    <a:pt x="13" y="7"/>
                    <a:pt x="11" y="7"/>
                  </a:cubicBezTo>
                  <a:cubicBezTo>
                    <a:pt x="11" y="7"/>
                    <a:pt x="3" y="7"/>
                    <a:pt x="3" y="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91" name="Freeform 545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3827361" y="3870574"/>
              <a:ext cx="47337" cy="55121"/>
            </a:xfrm>
            <a:custGeom>
              <a:avLst/>
              <a:gdLst>
                <a:gd name="T0" fmla="*/ 2147483647 w 13"/>
                <a:gd name="T1" fmla="*/ 2147483647 h 15"/>
                <a:gd name="T2" fmla="*/ 2147483647 w 13"/>
                <a:gd name="T3" fmla="*/ 2147483647 h 15"/>
                <a:gd name="T4" fmla="*/ 2147483647 w 13"/>
                <a:gd name="T5" fmla="*/ 2147483647 h 15"/>
                <a:gd name="T6" fmla="*/ 2147483647 w 13"/>
                <a:gd name="T7" fmla="*/ 2147483647 h 15"/>
                <a:gd name="T8" fmla="*/ 2147483647 w 13"/>
                <a:gd name="T9" fmla="*/ 2147483647 h 15"/>
                <a:gd name="T10" fmla="*/ 2147483647 w 13"/>
                <a:gd name="T11" fmla="*/ 2147483647 h 15"/>
                <a:gd name="T12" fmla="*/ 2147483647 w 13"/>
                <a:gd name="T13" fmla="*/ 2147483647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15"/>
                <a:gd name="T23" fmla="*/ 13 w 13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15">
                  <a:moveTo>
                    <a:pt x="2" y="8"/>
                  </a:moveTo>
                  <a:cubicBezTo>
                    <a:pt x="0" y="6"/>
                    <a:pt x="0" y="2"/>
                    <a:pt x="3" y="1"/>
                  </a:cubicBezTo>
                  <a:cubicBezTo>
                    <a:pt x="3" y="1"/>
                    <a:pt x="5" y="0"/>
                    <a:pt x="6" y="1"/>
                  </a:cubicBezTo>
                  <a:cubicBezTo>
                    <a:pt x="7" y="2"/>
                    <a:pt x="6" y="6"/>
                    <a:pt x="8" y="7"/>
                  </a:cubicBezTo>
                  <a:cubicBezTo>
                    <a:pt x="9" y="8"/>
                    <a:pt x="11" y="8"/>
                    <a:pt x="12" y="10"/>
                  </a:cubicBezTo>
                  <a:cubicBezTo>
                    <a:pt x="13" y="12"/>
                    <a:pt x="10" y="15"/>
                    <a:pt x="9" y="15"/>
                  </a:cubicBezTo>
                  <a:cubicBezTo>
                    <a:pt x="8" y="15"/>
                    <a:pt x="4" y="10"/>
                    <a:pt x="2" y="8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92" name="Freeform 546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3786199" y="3825040"/>
              <a:ext cx="41162" cy="33552"/>
            </a:xfrm>
            <a:custGeom>
              <a:avLst/>
              <a:gdLst>
                <a:gd name="T0" fmla="*/ 2147483647 w 12"/>
                <a:gd name="T1" fmla="*/ 2147483647 h 9"/>
                <a:gd name="T2" fmla="*/ 2147483647 w 12"/>
                <a:gd name="T3" fmla="*/ 2147483647 h 9"/>
                <a:gd name="T4" fmla="*/ 2147483647 w 12"/>
                <a:gd name="T5" fmla="*/ 0 h 9"/>
                <a:gd name="T6" fmla="*/ 2147483647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9"/>
                <a:gd name="T20" fmla="*/ 12 w 12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9">
                  <a:moveTo>
                    <a:pt x="6" y="7"/>
                  </a:moveTo>
                  <a:cubicBezTo>
                    <a:pt x="5" y="7"/>
                    <a:pt x="2" y="4"/>
                    <a:pt x="2" y="3"/>
                  </a:cubicBezTo>
                  <a:cubicBezTo>
                    <a:pt x="0" y="1"/>
                    <a:pt x="4" y="0"/>
                    <a:pt x="6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1" y="7"/>
                    <a:pt x="10" y="8"/>
                  </a:cubicBezTo>
                  <a:cubicBezTo>
                    <a:pt x="10" y="9"/>
                    <a:pt x="7" y="8"/>
                    <a:pt x="6" y="7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93" name="Freeform 547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3969370" y="4033539"/>
              <a:ext cx="92615" cy="67103"/>
            </a:xfrm>
            <a:custGeom>
              <a:avLst/>
              <a:gdLst>
                <a:gd name="T0" fmla="*/ 2147483647 w 26"/>
                <a:gd name="T1" fmla="*/ 2147483647 h 19"/>
                <a:gd name="T2" fmla="*/ 2147483647 w 26"/>
                <a:gd name="T3" fmla="*/ 2147483647 h 19"/>
                <a:gd name="T4" fmla="*/ 0 w 26"/>
                <a:gd name="T5" fmla="*/ 2147483647 h 19"/>
                <a:gd name="T6" fmla="*/ 2147483647 w 26"/>
                <a:gd name="T7" fmla="*/ 2147483647 h 19"/>
                <a:gd name="T8" fmla="*/ 2147483647 w 26"/>
                <a:gd name="T9" fmla="*/ 0 h 19"/>
                <a:gd name="T10" fmla="*/ 2147483647 w 26"/>
                <a:gd name="T11" fmla="*/ 2147483647 h 19"/>
                <a:gd name="T12" fmla="*/ 2147483647 w 26"/>
                <a:gd name="T13" fmla="*/ 2147483647 h 19"/>
                <a:gd name="T14" fmla="*/ 2147483647 w 26"/>
                <a:gd name="T15" fmla="*/ 2147483647 h 19"/>
                <a:gd name="T16" fmla="*/ 2147483647 w 26"/>
                <a:gd name="T17" fmla="*/ 2147483647 h 19"/>
                <a:gd name="T18" fmla="*/ 2147483647 w 26"/>
                <a:gd name="T19" fmla="*/ 2147483647 h 19"/>
                <a:gd name="T20" fmla="*/ 2147483647 w 26"/>
                <a:gd name="T21" fmla="*/ 2147483647 h 1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19"/>
                <a:gd name="T35" fmla="*/ 26 w 26"/>
                <a:gd name="T36" fmla="*/ 19 h 1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19">
                  <a:moveTo>
                    <a:pt x="7" y="14"/>
                  </a:moveTo>
                  <a:cubicBezTo>
                    <a:pt x="5" y="15"/>
                    <a:pt x="3" y="19"/>
                    <a:pt x="1" y="19"/>
                  </a:cubicBezTo>
                  <a:cubicBezTo>
                    <a:pt x="1" y="19"/>
                    <a:pt x="0" y="19"/>
                    <a:pt x="0" y="19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3" y="2"/>
                    <a:pt x="6" y="0"/>
                    <a:pt x="8" y="0"/>
                  </a:cubicBezTo>
                  <a:cubicBezTo>
                    <a:pt x="10" y="0"/>
                    <a:pt x="14" y="2"/>
                    <a:pt x="14" y="3"/>
                  </a:cubicBezTo>
                  <a:cubicBezTo>
                    <a:pt x="15" y="3"/>
                    <a:pt x="16" y="6"/>
                    <a:pt x="18" y="6"/>
                  </a:cubicBezTo>
                  <a:cubicBezTo>
                    <a:pt x="19" y="6"/>
                    <a:pt x="26" y="9"/>
                    <a:pt x="26" y="10"/>
                  </a:cubicBezTo>
                  <a:cubicBezTo>
                    <a:pt x="26" y="11"/>
                    <a:pt x="24" y="14"/>
                    <a:pt x="23" y="15"/>
                  </a:cubicBezTo>
                  <a:cubicBezTo>
                    <a:pt x="22" y="15"/>
                    <a:pt x="18" y="13"/>
                    <a:pt x="16" y="13"/>
                  </a:cubicBezTo>
                  <a:cubicBezTo>
                    <a:pt x="13" y="13"/>
                    <a:pt x="9" y="14"/>
                    <a:pt x="7" y="1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94" name="Freeform 548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3899395" y="4028746"/>
              <a:ext cx="72034" cy="71896"/>
            </a:xfrm>
            <a:custGeom>
              <a:avLst/>
              <a:gdLst>
                <a:gd name="T0" fmla="*/ 2147483647 w 21"/>
                <a:gd name="T1" fmla="*/ 2147483647 h 20"/>
                <a:gd name="T2" fmla="*/ 2147483647 w 21"/>
                <a:gd name="T3" fmla="*/ 2147483647 h 20"/>
                <a:gd name="T4" fmla="*/ 2147483647 w 21"/>
                <a:gd name="T5" fmla="*/ 2147483647 h 20"/>
                <a:gd name="T6" fmla="*/ 2147483647 w 21"/>
                <a:gd name="T7" fmla="*/ 2147483647 h 20"/>
                <a:gd name="T8" fmla="*/ 0 w 21"/>
                <a:gd name="T9" fmla="*/ 2147483647 h 20"/>
                <a:gd name="T10" fmla="*/ 2147483647 w 21"/>
                <a:gd name="T11" fmla="*/ 2147483647 h 20"/>
                <a:gd name="T12" fmla="*/ 2147483647 w 21"/>
                <a:gd name="T13" fmla="*/ 2147483647 h 20"/>
                <a:gd name="T14" fmla="*/ 2147483647 w 21"/>
                <a:gd name="T15" fmla="*/ 2147483647 h 20"/>
                <a:gd name="T16" fmla="*/ 2147483647 w 21"/>
                <a:gd name="T17" fmla="*/ 0 h 20"/>
                <a:gd name="T18" fmla="*/ 2147483647 w 21"/>
                <a:gd name="T19" fmla="*/ 2147483647 h 20"/>
                <a:gd name="T20" fmla="*/ 2147483647 w 21"/>
                <a:gd name="T21" fmla="*/ 2147483647 h 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1"/>
                <a:gd name="T34" fmla="*/ 0 h 20"/>
                <a:gd name="T35" fmla="*/ 21 w 21"/>
                <a:gd name="T36" fmla="*/ 20 h 2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1" h="20">
                  <a:moveTo>
                    <a:pt x="21" y="3"/>
                  </a:moveTo>
                  <a:cubicBezTo>
                    <a:pt x="21" y="3"/>
                    <a:pt x="20" y="20"/>
                    <a:pt x="20" y="20"/>
                  </a:cubicBezTo>
                  <a:cubicBezTo>
                    <a:pt x="20" y="20"/>
                    <a:pt x="17" y="18"/>
                    <a:pt x="15" y="18"/>
                  </a:cubicBezTo>
                  <a:cubicBezTo>
                    <a:pt x="14" y="18"/>
                    <a:pt x="8" y="18"/>
                    <a:pt x="6" y="18"/>
                  </a:cubicBezTo>
                  <a:cubicBezTo>
                    <a:pt x="3" y="18"/>
                    <a:pt x="0" y="15"/>
                    <a:pt x="0" y="13"/>
                  </a:cubicBezTo>
                  <a:cubicBezTo>
                    <a:pt x="0" y="11"/>
                    <a:pt x="12" y="14"/>
                    <a:pt x="12" y="12"/>
                  </a:cubicBezTo>
                  <a:cubicBezTo>
                    <a:pt x="12" y="10"/>
                    <a:pt x="12" y="6"/>
                    <a:pt x="10" y="6"/>
                  </a:cubicBezTo>
                  <a:cubicBezTo>
                    <a:pt x="9" y="5"/>
                    <a:pt x="6" y="3"/>
                    <a:pt x="6" y="2"/>
                  </a:cubicBezTo>
                  <a:cubicBezTo>
                    <a:pt x="7" y="1"/>
                    <a:pt x="12" y="0"/>
                    <a:pt x="13" y="0"/>
                  </a:cubicBezTo>
                  <a:cubicBezTo>
                    <a:pt x="14" y="0"/>
                    <a:pt x="18" y="3"/>
                    <a:pt x="20" y="3"/>
                  </a:cubicBezTo>
                  <a:cubicBezTo>
                    <a:pt x="20" y="3"/>
                    <a:pt x="20" y="3"/>
                    <a:pt x="21" y="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95" name="Freeform 549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9643578" y="3216317"/>
              <a:ext cx="160533" cy="143793"/>
            </a:xfrm>
            <a:custGeom>
              <a:avLst/>
              <a:gdLst>
                <a:gd name="T0" fmla="*/ 2147483647 w 46"/>
                <a:gd name="T1" fmla="*/ 2147483647 h 39"/>
                <a:gd name="T2" fmla="*/ 2147483647 w 46"/>
                <a:gd name="T3" fmla="*/ 2147483647 h 39"/>
                <a:gd name="T4" fmla="*/ 2147483647 w 46"/>
                <a:gd name="T5" fmla="*/ 2147483647 h 39"/>
                <a:gd name="T6" fmla="*/ 2147483647 w 46"/>
                <a:gd name="T7" fmla="*/ 2147483647 h 39"/>
                <a:gd name="T8" fmla="*/ 2147483647 w 46"/>
                <a:gd name="T9" fmla="*/ 2147483647 h 39"/>
                <a:gd name="T10" fmla="*/ 2147483647 w 46"/>
                <a:gd name="T11" fmla="*/ 2147483647 h 39"/>
                <a:gd name="T12" fmla="*/ 2147483647 w 46"/>
                <a:gd name="T13" fmla="*/ 2147483647 h 39"/>
                <a:gd name="T14" fmla="*/ 2147483647 w 46"/>
                <a:gd name="T15" fmla="*/ 2147483647 h 39"/>
                <a:gd name="T16" fmla="*/ 2147483647 w 46"/>
                <a:gd name="T17" fmla="*/ 2147483647 h 39"/>
                <a:gd name="T18" fmla="*/ 2147483647 w 46"/>
                <a:gd name="T19" fmla="*/ 2147483647 h 39"/>
                <a:gd name="T20" fmla="*/ 2147483647 w 46"/>
                <a:gd name="T21" fmla="*/ 2147483647 h 39"/>
                <a:gd name="T22" fmla="*/ 2147483647 w 46"/>
                <a:gd name="T23" fmla="*/ 2147483647 h 39"/>
                <a:gd name="T24" fmla="*/ 2147483647 w 46"/>
                <a:gd name="T25" fmla="*/ 2147483647 h 39"/>
                <a:gd name="T26" fmla="*/ 2147483647 w 46"/>
                <a:gd name="T27" fmla="*/ 2147483647 h 39"/>
                <a:gd name="T28" fmla="*/ 2147483647 w 46"/>
                <a:gd name="T29" fmla="*/ 2147483647 h 39"/>
                <a:gd name="T30" fmla="*/ 2147483647 w 46"/>
                <a:gd name="T31" fmla="*/ 2147483647 h 39"/>
                <a:gd name="T32" fmla="*/ 2147483647 w 46"/>
                <a:gd name="T33" fmla="*/ 2147483647 h 39"/>
                <a:gd name="T34" fmla="*/ 2147483647 w 46"/>
                <a:gd name="T35" fmla="*/ 2147483647 h 3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6"/>
                <a:gd name="T55" fmla="*/ 0 h 39"/>
                <a:gd name="T56" fmla="*/ 46 w 46"/>
                <a:gd name="T57" fmla="*/ 39 h 3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6" h="39">
                  <a:moveTo>
                    <a:pt x="1" y="31"/>
                  </a:moveTo>
                  <a:cubicBezTo>
                    <a:pt x="0" y="29"/>
                    <a:pt x="5" y="26"/>
                    <a:pt x="6" y="23"/>
                  </a:cubicBezTo>
                  <a:cubicBezTo>
                    <a:pt x="7" y="20"/>
                    <a:pt x="13" y="23"/>
                    <a:pt x="14" y="20"/>
                  </a:cubicBezTo>
                  <a:cubicBezTo>
                    <a:pt x="15" y="16"/>
                    <a:pt x="17" y="10"/>
                    <a:pt x="17" y="8"/>
                  </a:cubicBezTo>
                  <a:cubicBezTo>
                    <a:pt x="16" y="6"/>
                    <a:pt x="13" y="4"/>
                    <a:pt x="15" y="2"/>
                  </a:cubicBezTo>
                  <a:cubicBezTo>
                    <a:pt x="17" y="0"/>
                    <a:pt x="17" y="2"/>
                    <a:pt x="19" y="2"/>
                  </a:cubicBezTo>
                  <a:cubicBezTo>
                    <a:pt x="21" y="2"/>
                    <a:pt x="25" y="9"/>
                    <a:pt x="25" y="9"/>
                  </a:cubicBezTo>
                  <a:cubicBezTo>
                    <a:pt x="30" y="12"/>
                    <a:pt x="34" y="13"/>
                    <a:pt x="37" y="13"/>
                  </a:cubicBezTo>
                  <a:cubicBezTo>
                    <a:pt x="40" y="13"/>
                    <a:pt x="42" y="11"/>
                    <a:pt x="44" y="12"/>
                  </a:cubicBezTo>
                  <a:cubicBezTo>
                    <a:pt x="45" y="12"/>
                    <a:pt x="42" y="16"/>
                    <a:pt x="43" y="18"/>
                  </a:cubicBezTo>
                  <a:cubicBezTo>
                    <a:pt x="44" y="20"/>
                    <a:pt x="45" y="22"/>
                    <a:pt x="45" y="23"/>
                  </a:cubicBezTo>
                  <a:cubicBezTo>
                    <a:pt x="46" y="24"/>
                    <a:pt x="36" y="24"/>
                    <a:pt x="34" y="26"/>
                  </a:cubicBezTo>
                  <a:cubicBezTo>
                    <a:pt x="32" y="28"/>
                    <a:pt x="29" y="34"/>
                    <a:pt x="27" y="34"/>
                  </a:cubicBezTo>
                  <a:cubicBezTo>
                    <a:pt x="26" y="34"/>
                    <a:pt x="18" y="28"/>
                    <a:pt x="16" y="28"/>
                  </a:cubicBezTo>
                  <a:cubicBezTo>
                    <a:pt x="14" y="28"/>
                    <a:pt x="9" y="28"/>
                    <a:pt x="9" y="30"/>
                  </a:cubicBezTo>
                  <a:cubicBezTo>
                    <a:pt x="8" y="31"/>
                    <a:pt x="13" y="35"/>
                    <a:pt x="12" y="35"/>
                  </a:cubicBezTo>
                  <a:cubicBezTo>
                    <a:pt x="10" y="36"/>
                    <a:pt x="5" y="37"/>
                    <a:pt x="3" y="38"/>
                  </a:cubicBezTo>
                  <a:cubicBezTo>
                    <a:pt x="1" y="39"/>
                    <a:pt x="1" y="32"/>
                    <a:pt x="1" y="3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96" name="Freeform 550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9376024" y="3609350"/>
              <a:ext cx="65859" cy="91069"/>
            </a:xfrm>
            <a:custGeom>
              <a:avLst/>
              <a:gdLst>
                <a:gd name="T0" fmla="*/ 2147483647 w 19"/>
                <a:gd name="T1" fmla="*/ 2147483647 h 25"/>
                <a:gd name="T2" fmla="*/ 2147483647 w 19"/>
                <a:gd name="T3" fmla="*/ 2147483647 h 25"/>
                <a:gd name="T4" fmla="*/ 2147483647 w 19"/>
                <a:gd name="T5" fmla="*/ 2147483647 h 25"/>
                <a:gd name="T6" fmla="*/ 2147483647 w 19"/>
                <a:gd name="T7" fmla="*/ 2147483647 h 25"/>
                <a:gd name="T8" fmla="*/ 2147483647 w 19"/>
                <a:gd name="T9" fmla="*/ 2147483647 h 25"/>
                <a:gd name="T10" fmla="*/ 0 w 19"/>
                <a:gd name="T11" fmla="*/ 2147483647 h 25"/>
                <a:gd name="T12" fmla="*/ 2147483647 w 19"/>
                <a:gd name="T13" fmla="*/ 0 h 25"/>
                <a:gd name="T14" fmla="*/ 2147483647 w 19"/>
                <a:gd name="T15" fmla="*/ 2147483647 h 25"/>
                <a:gd name="T16" fmla="*/ 2147483647 w 19"/>
                <a:gd name="T17" fmla="*/ 2147483647 h 25"/>
                <a:gd name="T18" fmla="*/ 2147483647 w 19"/>
                <a:gd name="T19" fmla="*/ 214748364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25"/>
                <a:gd name="T32" fmla="*/ 19 w 19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25">
                  <a:moveTo>
                    <a:pt x="16" y="11"/>
                  </a:moveTo>
                  <a:cubicBezTo>
                    <a:pt x="16" y="14"/>
                    <a:pt x="15" y="18"/>
                    <a:pt x="13" y="19"/>
                  </a:cubicBezTo>
                  <a:cubicBezTo>
                    <a:pt x="10" y="22"/>
                    <a:pt x="8" y="25"/>
                    <a:pt x="7" y="25"/>
                  </a:cubicBezTo>
                  <a:cubicBezTo>
                    <a:pt x="6" y="24"/>
                    <a:pt x="4" y="22"/>
                    <a:pt x="4" y="20"/>
                  </a:cubicBezTo>
                  <a:cubicBezTo>
                    <a:pt x="4" y="17"/>
                    <a:pt x="7" y="12"/>
                    <a:pt x="5" y="10"/>
                  </a:cubicBezTo>
                  <a:cubicBezTo>
                    <a:pt x="4" y="8"/>
                    <a:pt x="0" y="9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6" y="0"/>
                    <a:pt x="10" y="4"/>
                    <a:pt x="11" y="4"/>
                  </a:cubicBezTo>
                  <a:cubicBezTo>
                    <a:pt x="12" y="5"/>
                    <a:pt x="17" y="3"/>
                    <a:pt x="18" y="6"/>
                  </a:cubicBezTo>
                  <a:cubicBezTo>
                    <a:pt x="19" y="8"/>
                    <a:pt x="16" y="11"/>
                    <a:pt x="16" y="1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97" name="Freeform 551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9411011" y="3369696"/>
              <a:ext cx="298426" cy="244448"/>
            </a:xfrm>
            <a:custGeom>
              <a:avLst/>
              <a:gdLst>
                <a:gd name="T0" fmla="*/ 2147483647 w 85"/>
                <a:gd name="T1" fmla="*/ 2147483647 h 66"/>
                <a:gd name="T2" fmla="*/ 2147483647 w 85"/>
                <a:gd name="T3" fmla="*/ 2147483647 h 66"/>
                <a:gd name="T4" fmla="*/ 2147483647 w 85"/>
                <a:gd name="T5" fmla="*/ 2147483647 h 66"/>
                <a:gd name="T6" fmla="*/ 2147483647 w 85"/>
                <a:gd name="T7" fmla="*/ 2147483647 h 66"/>
                <a:gd name="T8" fmla="*/ 2147483647 w 85"/>
                <a:gd name="T9" fmla="*/ 2147483647 h 66"/>
                <a:gd name="T10" fmla="*/ 2147483647 w 85"/>
                <a:gd name="T11" fmla="*/ 2147483647 h 66"/>
                <a:gd name="T12" fmla="*/ 2147483647 w 85"/>
                <a:gd name="T13" fmla="*/ 2147483647 h 66"/>
                <a:gd name="T14" fmla="*/ 2147483647 w 85"/>
                <a:gd name="T15" fmla="*/ 2147483647 h 66"/>
                <a:gd name="T16" fmla="*/ 2147483647 w 85"/>
                <a:gd name="T17" fmla="*/ 2147483647 h 66"/>
                <a:gd name="T18" fmla="*/ 2147483647 w 85"/>
                <a:gd name="T19" fmla="*/ 2147483647 h 66"/>
                <a:gd name="T20" fmla="*/ 2147483647 w 85"/>
                <a:gd name="T21" fmla="*/ 2147483647 h 66"/>
                <a:gd name="T22" fmla="*/ 2147483647 w 85"/>
                <a:gd name="T23" fmla="*/ 2147483647 h 66"/>
                <a:gd name="T24" fmla="*/ 2147483647 w 85"/>
                <a:gd name="T25" fmla="*/ 2147483647 h 66"/>
                <a:gd name="T26" fmla="*/ 2147483647 w 85"/>
                <a:gd name="T27" fmla="*/ 2147483647 h 66"/>
                <a:gd name="T28" fmla="*/ 2147483647 w 85"/>
                <a:gd name="T29" fmla="*/ 2147483647 h 66"/>
                <a:gd name="T30" fmla="*/ 2147483647 w 85"/>
                <a:gd name="T31" fmla="*/ 2147483647 h 66"/>
                <a:gd name="T32" fmla="*/ 2147483647 w 85"/>
                <a:gd name="T33" fmla="*/ 2147483647 h 66"/>
                <a:gd name="T34" fmla="*/ 2147483647 w 85"/>
                <a:gd name="T35" fmla="*/ 2147483647 h 66"/>
                <a:gd name="T36" fmla="*/ 2147483647 w 85"/>
                <a:gd name="T37" fmla="*/ 2147483647 h 66"/>
                <a:gd name="T38" fmla="*/ 2147483647 w 85"/>
                <a:gd name="T39" fmla="*/ 2147483647 h 66"/>
                <a:gd name="T40" fmla="*/ 2147483647 w 85"/>
                <a:gd name="T41" fmla="*/ 2147483647 h 66"/>
                <a:gd name="T42" fmla="*/ 2147483647 w 85"/>
                <a:gd name="T43" fmla="*/ 2147483647 h 66"/>
                <a:gd name="T44" fmla="*/ 2147483647 w 85"/>
                <a:gd name="T45" fmla="*/ 2147483647 h 66"/>
                <a:gd name="T46" fmla="*/ 2147483647 w 85"/>
                <a:gd name="T47" fmla="*/ 2147483647 h 66"/>
                <a:gd name="T48" fmla="*/ 2147483647 w 85"/>
                <a:gd name="T49" fmla="*/ 2147483647 h 66"/>
                <a:gd name="T50" fmla="*/ 2147483647 w 85"/>
                <a:gd name="T51" fmla="*/ 2147483647 h 66"/>
                <a:gd name="T52" fmla="*/ 2147483647 w 85"/>
                <a:gd name="T53" fmla="*/ 2147483647 h 66"/>
                <a:gd name="T54" fmla="*/ 2147483647 w 85"/>
                <a:gd name="T55" fmla="*/ 2147483647 h 66"/>
                <a:gd name="T56" fmla="*/ 2147483647 w 85"/>
                <a:gd name="T57" fmla="*/ 2147483647 h 6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5"/>
                <a:gd name="T88" fmla="*/ 0 h 66"/>
                <a:gd name="T89" fmla="*/ 85 w 85"/>
                <a:gd name="T90" fmla="*/ 66 h 6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5" h="66">
                  <a:moveTo>
                    <a:pt x="19" y="60"/>
                  </a:moveTo>
                  <a:cubicBezTo>
                    <a:pt x="16" y="61"/>
                    <a:pt x="7" y="64"/>
                    <a:pt x="3" y="63"/>
                  </a:cubicBezTo>
                  <a:cubicBezTo>
                    <a:pt x="0" y="62"/>
                    <a:pt x="2" y="60"/>
                    <a:pt x="3" y="59"/>
                  </a:cubicBezTo>
                  <a:cubicBezTo>
                    <a:pt x="7" y="55"/>
                    <a:pt x="11" y="50"/>
                    <a:pt x="14" y="49"/>
                  </a:cubicBezTo>
                  <a:cubicBezTo>
                    <a:pt x="18" y="48"/>
                    <a:pt x="30" y="49"/>
                    <a:pt x="32" y="48"/>
                  </a:cubicBezTo>
                  <a:cubicBezTo>
                    <a:pt x="34" y="48"/>
                    <a:pt x="35" y="51"/>
                    <a:pt x="38" y="49"/>
                  </a:cubicBezTo>
                  <a:cubicBezTo>
                    <a:pt x="40" y="47"/>
                    <a:pt x="43" y="38"/>
                    <a:pt x="44" y="35"/>
                  </a:cubicBezTo>
                  <a:cubicBezTo>
                    <a:pt x="46" y="32"/>
                    <a:pt x="48" y="33"/>
                    <a:pt x="49" y="33"/>
                  </a:cubicBezTo>
                  <a:cubicBezTo>
                    <a:pt x="50" y="33"/>
                    <a:pt x="47" y="38"/>
                    <a:pt x="51" y="38"/>
                  </a:cubicBezTo>
                  <a:cubicBezTo>
                    <a:pt x="55" y="38"/>
                    <a:pt x="59" y="33"/>
                    <a:pt x="59" y="33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7" y="22"/>
                    <a:pt x="69" y="18"/>
                    <a:pt x="69" y="15"/>
                  </a:cubicBezTo>
                  <a:cubicBezTo>
                    <a:pt x="69" y="12"/>
                    <a:pt x="68" y="6"/>
                    <a:pt x="69" y="5"/>
                  </a:cubicBezTo>
                  <a:cubicBezTo>
                    <a:pt x="70" y="5"/>
                    <a:pt x="73" y="1"/>
                    <a:pt x="73" y="1"/>
                  </a:cubicBezTo>
                  <a:cubicBezTo>
                    <a:pt x="73" y="1"/>
                    <a:pt x="79" y="0"/>
                    <a:pt x="79" y="1"/>
                  </a:cubicBezTo>
                  <a:cubicBezTo>
                    <a:pt x="79" y="2"/>
                    <a:pt x="81" y="5"/>
                    <a:pt x="82" y="7"/>
                  </a:cubicBezTo>
                  <a:cubicBezTo>
                    <a:pt x="84" y="10"/>
                    <a:pt x="85" y="18"/>
                    <a:pt x="83" y="21"/>
                  </a:cubicBezTo>
                  <a:cubicBezTo>
                    <a:pt x="80" y="25"/>
                    <a:pt x="76" y="24"/>
                    <a:pt x="76" y="28"/>
                  </a:cubicBezTo>
                  <a:cubicBezTo>
                    <a:pt x="76" y="32"/>
                    <a:pt x="75" y="37"/>
                    <a:pt x="74" y="40"/>
                  </a:cubicBezTo>
                  <a:cubicBezTo>
                    <a:pt x="73" y="43"/>
                    <a:pt x="77" y="48"/>
                    <a:pt x="76" y="49"/>
                  </a:cubicBezTo>
                  <a:cubicBezTo>
                    <a:pt x="75" y="50"/>
                    <a:pt x="71" y="56"/>
                    <a:pt x="69" y="56"/>
                  </a:cubicBezTo>
                  <a:cubicBezTo>
                    <a:pt x="66" y="56"/>
                    <a:pt x="52" y="56"/>
                    <a:pt x="50" y="56"/>
                  </a:cubicBezTo>
                  <a:cubicBezTo>
                    <a:pt x="48" y="56"/>
                    <a:pt x="47" y="54"/>
                    <a:pt x="45" y="56"/>
                  </a:cubicBezTo>
                  <a:cubicBezTo>
                    <a:pt x="43" y="58"/>
                    <a:pt x="42" y="64"/>
                    <a:pt x="39" y="66"/>
                  </a:cubicBezTo>
                  <a:cubicBezTo>
                    <a:pt x="39" y="66"/>
                    <a:pt x="38" y="66"/>
                    <a:pt x="38" y="66"/>
                  </a:cubicBezTo>
                  <a:cubicBezTo>
                    <a:pt x="36" y="66"/>
                    <a:pt x="32" y="66"/>
                    <a:pt x="32" y="63"/>
                  </a:cubicBezTo>
                  <a:cubicBezTo>
                    <a:pt x="32" y="61"/>
                    <a:pt x="36" y="60"/>
                    <a:pt x="34" y="58"/>
                  </a:cubicBezTo>
                  <a:cubicBezTo>
                    <a:pt x="33" y="56"/>
                    <a:pt x="28" y="57"/>
                    <a:pt x="27" y="58"/>
                  </a:cubicBezTo>
                  <a:cubicBezTo>
                    <a:pt x="25" y="58"/>
                    <a:pt x="19" y="60"/>
                    <a:pt x="19" y="6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98" name="Freeform 552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9458348" y="3606954"/>
              <a:ext cx="55569" cy="43138"/>
            </a:xfrm>
            <a:custGeom>
              <a:avLst/>
              <a:gdLst>
                <a:gd name="T0" fmla="*/ 2147483647 w 15"/>
                <a:gd name="T1" fmla="*/ 2147483647 h 12"/>
                <a:gd name="T2" fmla="*/ 2147483647 w 15"/>
                <a:gd name="T3" fmla="*/ 0 h 12"/>
                <a:gd name="T4" fmla="*/ 2147483647 w 15"/>
                <a:gd name="T5" fmla="*/ 2147483647 h 12"/>
                <a:gd name="T6" fmla="*/ 2147483647 w 15"/>
                <a:gd name="T7" fmla="*/ 2147483647 h 12"/>
                <a:gd name="T8" fmla="*/ 2147483647 w 15"/>
                <a:gd name="T9" fmla="*/ 2147483647 h 12"/>
                <a:gd name="T10" fmla="*/ 0 w 15"/>
                <a:gd name="T11" fmla="*/ 2147483647 h 12"/>
                <a:gd name="T12" fmla="*/ 2147483647 w 15"/>
                <a:gd name="T13" fmla="*/ 2147483647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12"/>
                <a:gd name="T23" fmla="*/ 15 w 15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12">
                  <a:moveTo>
                    <a:pt x="1" y="4"/>
                  </a:moveTo>
                  <a:cubicBezTo>
                    <a:pt x="1" y="3"/>
                    <a:pt x="9" y="0"/>
                    <a:pt x="11" y="0"/>
                  </a:cubicBezTo>
                  <a:cubicBezTo>
                    <a:pt x="13" y="1"/>
                    <a:pt x="15" y="7"/>
                    <a:pt x="14" y="7"/>
                  </a:cubicBezTo>
                  <a:cubicBezTo>
                    <a:pt x="13" y="8"/>
                    <a:pt x="11" y="7"/>
                    <a:pt x="9" y="6"/>
                  </a:cubicBezTo>
                  <a:cubicBezTo>
                    <a:pt x="7" y="6"/>
                    <a:pt x="3" y="12"/>
                    <a:pt x="1" y="12"/>
                  </a:cubicBezTo>
                  <a:cubicBezTo>
                    <a:pt x="0" y="12"/>
                    <a:pt x="0" y="9"/>
                    <a:pt x="0" y="7"/>
                  </a:cubicBezTo>
                  <a:cubicBezTo>
                    <a:pt x="0" y="6"/>
                    <a:pt x="1" y="4"/>
                    <a:pt x="1" y="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5364" name="Rectangle 28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Индустрия </a:t>
            </a:r>
            <a:r>
              <a:rPr lang="en-US" smtClean="0"/>
              <a:t>4.0</a:t>
            </a:r>
            <a:br>
              <a:rPr lang="en-US" smtClean="0"/>
            </a:br>
            <a:r>
              <a:rPr lang="ru-RU" b="0" smtClean="0"/>
              <a:t>Инициативы различных стран, нацеленные на будущее промышленного производства</a:t>
            </a:r>
            <a:endParaRPr lang="en-US" b="0" smtClean="0"/>
          </a:p>
        </p:txBody>
      </p:sp>
      <p:pic>
        <p:nvPicPr>
          <p:cNvPr id="294" name="Grafik 293"/>
          <p:cNvPicPr>
            <a:picLocks noChangeAspect="1"/>
          </p:cNvPicPr>
          <p:nvPr/>
        </p:nvPicPr>
        <p:blipFill>
          <a:blip r:embed="rId261"/>
          <a:srcRect b="40303"/>
          <a:stretch>
            <a:fillRect/>
          </a:stretch>
        </p:blipFill>
        <p:spPr bwMode="auto">
          <a:xfrm>
            <a:off x="6256338" y="2825750"/>
            <a:ext cx="36195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8100" dir="2700000" algn="tl" rotWithShape="0">
              <a:srgbClr val="808080">
                <a:alpha val="39999"/>
              </a:srgbClr>
            </a:outerShdw>
          </a:effectLst>
        </p:spPr>
      </p:pic>
      <p:pic>
        <p:nvPicPr>
          <p:cNvPr id="295" name="Picture 6" descr="D:\Marketing\Präsentationen\Präsentation\Powerpoint-Vorlagen usw\Welt- Land-Karte usw\Flagen\flagge_oesterreich_001.gif"/>
          <p:cNvPicPr>
            <a:picLocks noChangeAspect="1" noChangeArrowheads="1"/>
          </p:cNvPicPr>
          <p:nvPr/>
        </p:nvPicPr>
        <p:blipFill>
          <a:blip r:embed="rId262"/>
          <a:srcRect/>
          <a:stretch>
            <a:fillRect/>
          </a:stretch>
        </p:blipFill>
        <p:spPr bwMode="auto">
          <a:xfrm>
            <a:off x="6311900" y="3076575"/>
            <a:ext cx="36512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8100" dir="2700000" algn="tl" rotWithShape="0">
              <a:srgbClr val="808080">
                <a:alpha val="39999"/>
              </a:srgbClr>
            </a:outerShdw>
          </a:effectLst>
        </p:spPr>
      </p:pic>
      <p:pic>
        <p:nvPicPr>
          <p:cNvPr id="302" name="Grafik 301"/>
          <p:cNvPicPr>
            <a:picLocks noChangeAspect="1"/>
          </p:cNvPicPr>
          <p:nvPr/>
        </p:nvPicPr>
        <p:blipFill>
          <a:blip r:embed="rId263"/>
          <a:srcRect b="39397"/>
          <a:stretch>
            <a:fillRect/>
          </a:stretch>
        </p:blipFill>
        <p:spPr bwMode="auto">
          <a:xfrm>
            <a:off x="5911850" y="3306763"/>
            <a:ext cx="369888" cy="22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8100" dir="2700000" algn="tl" rotWithShape="0">
              <a:srgbClr val="808080">
                <a:alpha val="39999"/>
              </a:srgbClr>
            </a:outerShdw>
          </a:effectLst>
        </p:spPr>
      </p:pic>
      <p:pic>
        <p:nvPicPr>
          <p:cNvPr id="306" name="Picture 4" descr="D:\Marketing\Präsentationen\Präsentation\Powerpoint-Vorlagen usw\Welt- Land-Karte usw\Flagen\finnland.gif"/>
          <p:cNvPicPr>
            <a:picLocks noChangeAspect="1" noChangeArrowheads="1"/>
          </p:cNvPicPr>
          <p:nvPr/>
        </p:nvPicPr>
        <p:blipFill>
          <a:blip r:embed="rId264"/>
          <a:srcRect/>
          <a:stretch>
            <a:fillRect/>
          </a:stretch>
        </p:blipFill>
        <p:spPr bwMode="auto">
          <a:xfrm>
            <a:off x="6646863" y="2327275"/>
            <a:ext cx="360362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8100" dir="2700000" algn="tl" rotWithShape="0">
              <a:srgbClr val="808080">
                <a:alpha val="39999"/>
              </a:srgbClr>
            </a:outerShdw>
          </a:effectLst>
        </p:spPr>
      </p:pic>
      <p:pic>
        <p:nvPicPr>
          <p:cNvPr id="307" name="Grafik 306"/>
          <p:cNvPicPr>
            <a:picLocks noChangeAspect="1"/>
          </p:cNvPicPr>
          <p:nvPr/>
        </p:nvPicPr>
        <p:blipFill>
          <a:blip r:embed="rId265"/>
          <a:srcRect b="39819"/>
          <a:stretch>
            <a:fillRect/>
          </a:stretch>
        </p:blipFill>
        <p:spPr bwMode="auto">
          <a:xfrm>
            <a:off x="5997575" y="2189163"/>
            <a:ext cx="368300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8100" dir="2700000" algn="tl" rotWithShape="0">
              <a:srgbClr val="808080">
                <a:alpha val="39999"/>
              </a:srgbClr>
            </a:outerShdw>
          </a:effectLst>
        </p:spPr>
      </p:pic>
      <p:pic>
        <p:nvPicPr>
          <p:cNvPr id="308" name="Grafik 307"/>
          <p:cNvPicPr>
            <a:picLocks noChangeAspect="1"/>
          </p:cNvPicPr>
          <p:nvPr/>
        </p:nvPicPr>
        <p:blipFill>
          <a:blip r:embed="rId266"/>
          <a:srcRect b="39349"/>
          <a:stretch>
            <a:fillRect/>
          </a:stretch>
        </p:blipFill>
        <p:spPr bwMode="auto">
          <a:xfrm>
            <a:off x="5524500" y="2971800"/>
            <a:ext cx="369888" cy="223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8100" dir="2700000" algn="tl" rotWithShape="0">
              <a:srgbClr val="808080">
                <a:alpha val="39999"/>
              </a:srgbClr>
            </a:outerShdw>
          </a:effectLst>
        </p:spPr>
      </p:pic>
      <p:pic>
        <p:nvPicPr>
          <p:cNvPr id="313" name="Picture 2" descr="D:\Marketing\Präsentationen\Präsentation\Powerpoint-Vorlagen usw\Welt- Land-Karte usw\Flagen\flagge-niederlande-hollandmpsams60127.jpg"/>
          <p:cNvPicPr>
            <a:picLocks noChangeAspect="1" noChangeArrowheads="1"/>
          </p:cNvPicPr>
          <p:nvPr/>
        </p:nvPicPr>
        <p:blipFill>
          <a:blip r:embed="rId267"/>
          <a:srcRect/>
          <a:stretch>
            <a:fillRect/>
          </a:stretch>
        </p:blipFill>
        <p:spPr bwMode="auto">
          <a:xfrm>
            <a:off x="5872163" y="2638425"/>
            <a:ext cx="369887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8100" dir="2700000" algn="tl" rotWithShape="0">
              <a:srgbClr val="808080">
                <a:alpha val="39999"/>
              </a:srgbClr>
            </a:outerShdw>
          </a:effectLst>
        </p:spPr>
      </p:pic>
      <p:pic>
        <p:nvPicPr>
          <p:cNvPr id="314" name="Grafik 313"/>
          <p:cNvPicPr>
            <a:picLocks noChangeAspect="1"/>
          </p:cNvPicPr>
          <p:nvPr/>
        </p:nvPicPr>
        <p:blipFill>
          <a:blip r:embed="rId268"/>
          <a:srcRect b="39977"/>
          <a:stretch>
            <a:fillRect/>
          </a:stretch>
        </p:blipFill>
        <p:spPr bwMode="auto">
          <a:xfrm>
            <a:off x="5416550" y="2540000"/>
            <a:ext cx="368300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8100" dir="2700000" algn="tl" rotWithShape="0">
              <a:srgbClr val="808080">
                <a:alpha val="39999"/>
              </a:srgbClr>
            </a:outerShdw>
          </a:effectLst>
        </p:spPr>
      </p:pic>
      <p:sp>
        <p:nvSpPr>
          <p:cNvPr id="15373" name="Rechteck 278"/>
          <p:cNvSpPr>
            <a:spLocks noChangeArrowheads="1"/>
          </p:cNvSpPr>
          <p:nvPr/>
        </p:nvSpPr>
        <p:spPr bwMode="auto">
          <a:xfrm>
            <a:off x="2884488" y="2822575"/>
            <a:ext cx="269240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54000" rIns="108000" bIns="54000" anchor="ctr"/>
          <a:lstStyle/>
          <a:p>
            <a:pPr algn="r">
              <a:lnSpc>
                <a:spcPct val="110000"/>
              </a:lnSpc>
              <a:buFont typeface="Wingdings" pitchFamily="2" charset="2"/>
              <a:buNone/>
            </a:pPr>
            <a:r>
              <a:rPr lang="ru-RU" sz="1200" b="1">
                <a:solidFill>
                  <a:schemeClr val="tx1"/>
                </a:solidFill>
              </a:rPr>
              <a:t>Ассоциация промышленности будущего</a:t>
            </a:r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15374" name="Rechteck 280"/>
          <p:cNvSpPr>
            <a:spLocks noChangeArrowheads="1"/>
          </p:cNvSpPr>
          <p:nvPr/>
        </p:nvSpPr>
        <p:spPr bwMode="auto">
          <a:xfrm>
            <a:off x="3105150" y="3198813"/>
            <a:ext cx="2822575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54000" rIns="108000" bIns="54000" anchor="ctr"/>
          <a:lstStyle/>
          <a:p>
            <a:pPr algn="r">
              <a:lnSpc>
                <a:spcPct val="110000"/>
              </a:lnSpc>
              <a:buFont typeface="Wingdings" pitchFamily="2" charset="2"/>
              <a:buNone/>
            </a:pPr>
            <a:r>
              <a:rPr lang="ru-RU" sz="1200" b="1">
                <a:solidFill>
                  <a:schemeClr val="tx1"/>
                </a:solidFill>
              </a:rPr>
              <a:t>Интеллектуальное предприятие</a:t>
            </a:r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15375" name="Rechteck 281"/>
          <p:cNvSpPr>
            <a:spLocks noChangeArrowheads="1"/>
          </p:cNvSpPr>
          <p:nvPr/>
        </p:nvSpPr>
        <p:spPr bwMode="auto">
          <a:xfrm>
            <a:off x="6569075" y="2727325"/>
            <a:ext cx="1387475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54000" rIns="108000" bIns="54000" anchor="ctr"/>
          <a:lstStyle/>
          <a:p>
            <a:pPr>
              <a:lnSpc>
                <a:spcPct val="110000"/>
              </a:lnSpc>
              <a:buFont typeface="Wingdings" pitchFamily="2" charset="2"/>
              <a:buNone/>
            </a:pPr>
            <a:r>
              <a:rPr lang="ru-RU" sz="1200" b="1">
                <a:solidFill>
                  <a:schemeClr val="tx1"/>
                </a:solidFill>
              </a:rPr>
              <a:t>Индустрия</a:t>
            </a:r>
            <a:r>
              <a:rPr lang="en-US" sz="1200" b="1">
                <a:solidFill>
                  <a:schemeClr val="tx1"/>
                </a:solidFill>
              </a:rPr>
              <a:t> 4.0 </a:t>
            </a:r>
          </a:p>
        </p:txBody>
      </p:sp>
      <p:sp>
        <p:nvSpPr>
          <p:cNvPr id="15376" name="Rechteck 283"/>
          <p:cNvSpPr>
            <a:spLocks noChangeArrowheads="1"/>
          </p:cNvSpPr>
          <p:nvPr/>
        </p:nvSpPr>
        <p:spPr bwMode="auto">
          <a:xfrm>
            <a:off x="6172200" y="2476500"/>
            <a:ext cx="349250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54000" rIns="108000" bIns="54000" anchor="ctr"/>
          <a:lstStyle/>
          <a:p>
            <a:pPr>
              <a:lnSpc>
                <a:spcPct val="110000"/>
              </a:lnSpc>
              <a:buFont typeface="Wingdings" pitchFamily="2" charset="2"/>
              <a:buNone/>
            </a:pPr>
            <a:r>
              <a:rPr lang="ru-RU" sz="1200" b="1">
                <a:solidFill>
                  <a:schemeClr val="tx1"/>
                </a:solidFill>
              </a:rPr>
              <a:t>Интеллектуальная промышленность</a:t>
            </a:r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15377" name="Rechteck 284"/>
          <p:cNvSpPr>
            <a:spLocks noChangeArrowheads="1"/>
          </p:cNvSpPr>
          <p:nvPr/>
        </p:nvSpPr>
        <p:spPr bwMode="auto">
          <a:xfrm>
            <a:off x="2897188" y="2405063"/>
            <a:ext cx="2581275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54000" rIns="108000" bIns="54000" anchor="ctr"/>
          <a:lstStyle/>
          <a:p>
            <a:pPr algn="r">
              <a:lnSpc>
                <a:spcPct val="110000"/>
              </a:lnSpc>
              <a:buFont typeface="Wingdings" pitchFamily="2" charset="2"/>
              <a:buNone/>
            </a:pPr>
            <a:r>
              <a:rPr lang="ru-RU" sz="1200" b="1">
                <a:solidFill>
                  <a:schemeClr val="tx1"/>
                </a:solidFill>
              </a:rPr>
              <a:t>Программа </a:t>
            </a:r>
            <a:r>
              <a:rPr lang="en-US" sz="1200" b="1">
                <a:solidFill>
                  <a:schemeClr val="tx1"/>
                </a:solidFill>
              </a:rPr>
              <a:t>Catapult</a:t>
            </a:r>
          </a:p>
        </p:txBody>
      </p:sp>
      <p:sp>
        <p:nvSpPr>
          <p:cNvPr id="15378" name="Rechteck 285"/>
          <p:cNvSpPr>
            <a:spLocks noChangeArrowheads="1"/>
          </p:cNvSpPr>
          <p:nvPr/>
        </p:nvSpPr>
        <p:spPr bwMode="auto">
          <a:xfrm>
            <a:off x="4271963" y="2063750"/>
            <a:ext cx="20701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54000" rIns="108000" bIns="54000" anchor="ctr"/>
          <a:lstStyle/>
          <a:p>
            <a:pPr>
              <a:lnSpc>
                <a:spcPct val="110000"/>
              </a:lnSpc>
              <a:buFont typeface="Wingdings" pitchFamily="2" charset="2"/>
              <a:buNone/>
            </a:pPr>
            <a:r>
              <a:rPr lang="ru-RU" sz="1200" b="1">
                <a:solidFill>
                  <a:schemeClr val="tx1"/>
                </a:solidFill>
              </a:rPr>
              <a:t>Производство </a:t>
            </a:r>
            <a:r>
              <a:rPr lang="en-US" sz="1200" b="1">
                <a:solidFill>
                  <a:schemeClr val="tx1"/>
                </a:solidFill>
              </a:rPr>
              <a:t>2030</a:t>
            </a:r>
          </a:p>
        </p:txBody>
      </p:sp>
      <p:sp>
        <p:nvSpPr>
          <p:cNvPr id="15379" name="Rechteck 290"/>
          <p:cNvSpPr>
            <a:spLocks noChangeArrowheads="1"/>
          </p:cNvSpPr>
          <p:nvPr/>
        </p:nvSpPr>
        <p:spPr bwMode="auto">
          <a:xfrm>
            <a:off x="6624638" y="2940050"/>
            <a:ext cx="1290637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54000" rIns="108000" bIns="54000" anchor="ctr"/>
          <a:lstStyle/>
          <a:p>
            <a:pPr>
              <a:lnSpc>
                <a:spcPct val="110000"/>
              </a:lnSpc>
              <a:buFont typeface="Wingdings" pitchFamily="2" charset="2"/>
              <a:buNone/>
            </a:pPr>
            <a:r>
              <a:rPr lang="ru-RU" sz="1200" b="1">
                <a:solidFill>
                  <a:schemeClr val="tx1"/>
                </a:solidFill>
              </a:rPr>
              <a:t>Индустрия </a:t>
            </a:r>
            <a:r>
              <a:rPr lang="en-US" sz="1200" b="1">
                <a:solidFill>
                  <a:schemeClr val="tx1"/>
                </a:solidFill>
              </a:rPr>
              <a:t>4.0 </a:t>
            </a:r>
          </a:p>
        </p:txBody>
      </p:sp>
      <p:sp>
        <p:nvSpPr>
          <p:cNvPr id="15380" name="Rechteck 286"/>
          <p:cNvSpPr>
            <a:spLocks noChangeArrowheads="1"/>
          </p:cNvSpPr>
          <p:nvPr/>
        </p:nvSpPr>
        <p:spPr bwMode="auto">
          <a:xfrm>
            <a:off x="6972300" y="2217738"/>
            <a:ext cx="820738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54000" rIns="108000" bIns="54000" anchor="ctr"/>
          <a:lstStyle/>
          <a:p>
            <a:pPr>
              <a:lnSpc>
                <a:spcPct val="110000"/>
              </a:lnSpc>
              <a:buFont typeface="Wingdings" pitchFamily="2" charset="2"/>
              <a:buNone/>
            </a:pPr>
            <a:r>
              <a:rPr lang="en-US" sz="1200" b="1">
                <a:solidFill>
                  <a:schemeClr val="tx1"/>
                </a:solidFill>
              </a:rPr>
              <a:t>FIMECC</a:t>
            </a:r>
          </a:p>
        </p:txBody>
      </p:sp>
      <p:pic>
        <p:nvPicPr>
          <p:cNvPr id="293" name="Grafik 292"/>
          <p:cNvPicPr>
            <a:picLocks noChangeAspect="1"/>
          </p:cNvPicPr>
          <p:nvPr/>
        </p:nvPicPr>
        <p:blipFill>
          <a:blip r:embed="rId269"/>
          <a:srcRect b="39635"/>
          <a:stretch>
            <a:fillRect/>
          </a:stretch>
        </p:blipFill>
        <p:spPr bwMode="auto">
          <a:xfrm>
            <a:off x="2290763" y="3195638"/>
            <a:ext cx="3587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8100" dir="2700000" algn="tl" rotWithShape="0">
              <a:srgbClr val="808080">
                <a:alpha val="39999"/>
              </a:srgbClr>
            </a:outerShdw>
          </a:effectLst>
        </p:spPr>
      </p:pic>
      <p:sp>
        <p:nvSpPr>
          <p:cNvPr id="15382" name="Rechteck 279"/>
          <p:cNvSpPr>
            <a:spLocks noChangeArrowheads="1"/>
          </p:cNvSpPr>
          <p:nvPr/>
        </p:nvSpPr>
        <p:spPr bwMode="auto">
          <a:xfrm>
            <a:off x="698500" y="3076575"/>
            <a:ext cx="1647825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54000" rIns="108000" bIns="54000" anchor="ctr"/>
          <a:lstStyle/>
          <a:p>
            <a:pPr algn="r">
              <a:lnSpc>
                <a:spcPct val="110000"/>
              </a:lnSpc>
              <a:buFont typeface="Wingdings" pitchFamily="2" charset="2"/>
              <a:buNone/>
            </a:pPr>
            <a:r>
              <a:rPr lang="ru-RU" sz="1200" b="1">
                <a:solidFill>
                  <a:schemeClr val="tx1"/>
                </a:solidFill>
              </a:rPr>
              <a:t>Консорциум промышленного Интернета</a:t>
            </a:r>
            <a:endParaRPr lang="en-US" sz="1200" b="1">
              <a:solidFill>
                <a:schemeClr val="tx1"/>
              </a:solidFill>
            </a:endParaRPr>
          </a:p>
        </p:txBody>
      </p:sp>
      <p:pic>
        <p:nvPicPr>
          <p:cNvPr id="278" name="Grafik 277"/>
          <p:cNvPicPr>
            <a:picLocks noChangeAspect="1"/>
          </p:cNvPicPr>
          <p:nvPr/>
        </p:nvPicPr>
        <p:blipFill>
          <a:blip r:embed="rId270"/>
          <a:srcRect b="39832"/>
          <a:stretch>
            <a:fillRect/>
          </a:stretch>
        </p:blipFill>
        <p:spPr bwMode="auto">
          <a:xfrm>
            <a:off x="8270875" y="3827463"/>
            <a:ext cx="495300" cy="296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39700" dir="2700000" algn="tl" rotWithShape="0">
              <a:srgbClr val="333333">
                <a:alpha val="64999"/>
              </a:srgbClr>
            </a:outerShdw>
          </a:effectLst>
        </p:spPr>
      </p:pic>
      <p:sp>
        <p:nvSpPr>
          <p:cNvPr id="15384" name="Rechteck 288"/>
          <p:cNvSpPr>
            <a:spLocks noChangeArrowheads="1"/>
          </p:cNvSpPr>
          <p:nvPr/>
        </p:nvSpPr>
        <p:spPr bwMode="auto">
          <a:xfrm>
            <a:off x="8683625" y="3683000"/>
            <a:ext cx="2084388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54000" rIns="108000" bIns="54000" anchor="ctr"/>
          <a:lstStyle/>
          <a:p>
            <a:pPr algn="r">
              <a:lnSpc>
                <a:spcPct val="110000"/>
              </a:lnSpc>
              <a:buFont typeface="Wingdings" pitchFamily="2" charset="2"/>
              <a:buNone/>
            </a:pPr>
            <a:r>
              <a:rPr lang="ru-RU" sz="1200" b="1">
                <a:solidFill>
                  <a:schemeClr val="tx1"/>
                </a:solidFill>
              </a:rPr>
              <a:t>«Сделано в Китае </a:t>
            </a:r>
            <a:r>
              <a:rPr lang="en-US" sz="1200" b="1">
                <a:solidFill>
                  <a:schemeClr val="tx1"/>
                </a:solidFill>
              </a:rPr>
              <a:t>2025</a:t>
            </a:r>
            <a:r>
              <a:rPr lang="ru-RU" sz="1200" b="1">
                <a:solidFill>
                  <a:schemeClr val="tx1"/>
                </a:solidFill>
              </a:rPr>
              <a:t>»</a:t>
            </a:r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15385" name="Rechteck 282"/>
          <p:cNvSpPr>
            <a:spLocks noChangeArrowheads="1"/>
          </p:cNvSpPr>
          <p:nvPr/>
        </p:nvSpPr>
        <p:spPr bwMode="auto">
          <a:xfrm>
            <a:off x="9677400" y="3332163"/>
            <a:ext cx="2047875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54000" rIns="108000" bIns="54000" anchor="ctr"/>
          <a:lstStyle/>
          <a:p>
            <a:pPr>
              <a:lnSpc>
                <a:spcPct val="110000"/>
              </a:lnSpc>
              <a:buFont typeface="Wingdings" pitchFamily="2" charset="2"/>
              <a:buNone/>
            </a:pPr>
            <a:r>
              <a:rPr lang="ru-RU" sz="1200" b="1">
                <a:solidFill>
                  <a:schemeClr val="tx1"/>
                </a:solidFill>
              </a:rPr>
              <a:t>Стратегия «Инновации в промышленности</a:t>
            </a:r>
            <a:r>
              <a:rPr lang="en-US" sz="1200" b="1">
                <a:solidFill>
                  <a:schemeClr val="tx1"/>
                </a:solidFill>
              </a:rPr>
              <a:t> 3.0</a:t>
            </a:r>
            <a:r>
              <a:rPr lang="ru-RU" sz="1200" b="1">
                <a:solidFill>
                  <a:schemeClr val="tx1"/>
                </a:solidFill>
              </a:rPr>
              <a:t>»</a:t>
            </a:r>
            <a:endParaRPr lang="en-US" sz="1200" b="1">
              <a:solidFill>
                <a:schemeClr val="tx1"/>
              </a:solidFill>
            </a:endParaRPr>
          </a:p>
        </p:txBody>
      </p:sp>
      <p:pic>
        <p:nvPicPr>
          <p:cNvPr id="30745" name="Picture 19"/>
          <p:cNvPicPr>
            <a:picLocks noChangeAspect="1" noChangeArrowheads="1"/>
          </p:cNvPicPr>
          <p:nvPr/>
        </p:nvPicPr>
        <p:blipFill>
          <a:blip r:embed="rId271"/>
          <a:srcRect b="41728"/>
          <a:stretch>
            <a:fillRect/>
          </a:stretch>
        </p:blipFill>
        <p:spPr bwMode="auto">
          <a:xfrm>
            <a:off x="9323388" y="3452813"/>
            <a:ext cx="382587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</p:pic>
      <p:sp>
        <p:nvSpPr>
          <p:cNvPr id="15387" name="cdtRectangle 547 Id155171"/>
          <p:cNvSpPr>
            <a:spLocks noChangeArrowheads="1"/>
          </p:cNvSpPr>
          <p:nvPr/>
        </p:nvSpPr>
        <p:spPr bwMode="hidden">
          <a:xfrm>
            <a:off x="4900613" y="3667125"/>
            <a:ext cx="2346325" cy="2300288"/>
          </a:xfrm>
          <a:prstGeom prst="rect">
            <a:avLst/>
          </a:prstGeom>
          <a:solidFill>
            <a:srgbClr val="DCE1E6">
              <a:alpha val="79999"/>
            </a:srgbClr>
          </a:solidFill>
          <a:ln w="762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n-US"/>
          </a:p>
        </p:txBody>
      </p:sp>
      <p:grpSp>
        <p:nvGrpSpPr>
          <p:cNvPr id="15388" name="Gruppieren 296"/>
          <p:cNvGrpSpPr>
            <a:grpSpLocks noChangeAspect="1"/>
          </p:cNvGrpSpPr>
          <p:nvPr/>
        </p:nvGrpSpPr>
        <p:grpSpPr bwMode="auto">
          <a:xfrm>
            <a:off x="4975225" y="3716338"/>
            <a:ext cx="2182813" cy="2200275"/>
            <a:chOff x="1048502" y="85914"/>
            <a:chExt cx="6443662" cy="6495671"/>
          </a:xfrm>
        </p:grpSpPr>
        <p:sp>
          <p:nvSpPr>
            <p:cNvPr id="15394" name="Freeform 294"/>
            <p:cNvSpPr>
              <a:spLocks/>
            </p:cNvSpPr>
            <p:nvPr/>
          </p:nvSpPr>
          <p:spPr bwMode="auto">
            <a:xfrm>
              <a:off x="4701340" y="85914"/>
              <a:ext cx="2587171" cy="5076447"/>
            </a:xfrm>
            <a:custGeom>
              <a:avLst/>
              <a:gdLst>
                <a:gd name="T0" fmla="*/ 962025 w 2587171"/>
                <a:gd name="T1" fmla="*/ 1395036 h 5076447"/>
                <a:gd name="T2" fmla="*/ 1408774 w 2587171"/>
                <a:gd name="T3" fmla="*/ 1025871 h 5076447"/>
                <a:gd name="T4" fmla="*/ 1771866 w 2587171"/>
                <a:gd name="T5" fmla="*/ 958414 h 5076447"/>
                <a:gd name="T6" fmla="*/ 1819730 w 2587171"/>
                <a:gd name="T7" fmla="*/ 1460123 h 5076447"/>
                <a:gd name="T8" fmla="*/ 1909537 w 2587171"/>
                <a:gd name="T9" fmla="*/ 1925487 h 5076447"/>
                <a:gd name="T10" fmla="*/ 2040165 w 2587171"/>
                <a:gd name="T11" fmla="*/ 2154087 h 5076447"/>
                <a:gd name="T12" fmla="*/ 2276929 w 2587171"/>
                <a:gd name="T13" fmla="*/ 2529643 h 5076447"/>
                <a:gd name="T14" fmla="*/ 2448379 w 2587171"/>
                <a:gd name="T15" fmla="*/ 2750080 h 5076447"/>
                <a:gd name="T16" fmla="*/ 2554515 w 2587171"/>
                <a:gd name="T17" fmla="*/ 3215444 h 5076447"/>
                <a:gd name="T18" fmla="*/ 2339975 w 2587171"/>
                <a:gd name="T19" fmla="*/ 3534986 h 5076447"/>
                <a:gd name="T20" fmla="*/ 2146301 w 2587171"/>
                <a:gd name="T21" fmla="*/ 3661986 h 5076447"/>
                <a:gd name="T22" fmla="*/ 2006601 w 2587171"/>
                <a:gd name="T23" fmla="*/ 3855662 h 5076447"/>
                <a:gd name="T24" fmla="*/ 2032001 w 2587171"/>
                <a:gd name="T25" fmla="*/ 4160462 h 5076447"/>
                <a:gd name="T26" fmla="*/ 2311401 w 2587171"/>
                <a:gd name="T27" fmla="*/ 4285875 h 5076447"/>
                <a:gd name="T28" fmla="*/ 2317751 w 2587171"/>
                <a:gd name="T29" fmla="*/ 4390647 h 5076447"/>
                <a:gd name="T30" fmla="*/ 2222501 w 2587171"/>
                <a:gd name="T31" fmla="*/ 4682747 h 5076447"/>
                <a:gd name="T32" fmla="*/ 2495551 w 2587171"/>
                <a:gd name="T33" fmla="*/ 4936747 h 5076447"/>
                <a:gd name="T34" fmla="*/ 2225675 w 2587171"/>
                <a:gd name="T35" fmla="*/ 5009775 h 5076447"/>
                <a:gd name="T36" fmla="*/ 1797051 w 2587171"/>
                <a:gd name="T37" fmla="*/ 5016123 h 5076447"/>
                <a:gd name="T38" fmla="*/ 1276351 w 2587171"/>
                <a:gd name="T39" fmla="*/ 4901823 h 5076447"/>
                <a:gd name="T40" fmla="*/ 1339851 w 2587171"/>
                <a:gd name="T41" fmla="*/ 4609723 h 5076447"/>
                <a:gd name="T42" fmla="*/ 1304926 w 2587171"/>
                <a:gd name="T43" fmla="*/ 4539875 h 5076447"/>
                <a:gd name="T44" fmla="*/ 1387476 w 2587171"/>
                <a:gd name="T45" fmla="*/ 4317623 h 5076447"/>
                <a:gd name="T46" fmla="*/ 1184276 w 2587171"/>
                <a:gd name="T47" fmla="*/ 4189036 h 5076447"/>
                <a:gd name="T48" fmla="*/ 892175 w 2587171"/>
                <a:gd name="T49" fmla="*/ 4081086 h 5076447"/>
                <a:gd name="T50" fmla="*/ 587375 w 2587171"/>
                <a:gd name="T51" fmla="*/ 4011236 h 5076447"/>
                <a:gd name="T52" fmla="*/ 552450 w 2587171"/>
                <a:gd name="T53" fmla="*/ 3858836 h 5076447"/>
                <a:gd name="T54" fmla="*/ 463550 w 2587171"/>
                <a:gd name="T55" fmla="*/ 3665162 h 5076447"/>
                <a:gd name="T56" fmla="*/ 231775 w 2587171"/>
                <a:gd name="T57" fmla="*/ 3493712 h 5076447"/>
                <a:gd name="T58" fmla="*/ 133350 w 2587171"/>
                <a:gd name="T59" fmla="*/ 3261936 h 5076447"/>
                <a:gd name="T60" fmla="*/ 209550 w 2587171"/>
                <a:gd name="T61" fmla="*/ 2953962 h 5076447"/>
                <a:gd name="T62" fmla="*/ 241300 w 2587171"/>
                <a:gd name="T63" fmla="*/ 2442785 h 5076447"/>
                <a:gd name="T64" fmla="*/ 142875 w 2587171"/>
                <a:gd name="T65" fmla="*/ 2141161 h 5076447"/>
                <a:gd name="T66" fmla="*/ 50800 w 2587171"/>
                <a:gd name="T67" fmla="*/ 1801436 h 5076447"/>
                <a:gd name="T68" fmla="*/ 38100 w 2587171"/>
                <a:gd name="T69" fmla="*/ 1633161 h 5076447"/>
                <a:gd name="T70" fmla="*/ 190500 w 2587171"/>
                <a:gd name="T71" fmla="*/ 1534736 h 5076447"/>
                <a:gd name="T72" fmla="*/ 517525 w 2587171"/>
                <a:gd name="T73" fmla="*/ 1658561 h 5076447"/>
                <a:gd name="T74" fmla="*/ 581025 w 2587171"/>
                <a:gd name="T75" fmla="*/ 1985586 h 5076447"/>
                <a:gd name="T76" fmla="*/ 254000 w 2587171"/>
                <a:gd name="T77" fmla="*/ 1934786 h 5076447"/>
                <a:gd name="T78" fmla="*/ 415925 w 2587171"/>
                <a:gd name="T79" fmla="*/ 2131635 h 5076447"/>
                <a:gd name="T80" fmla="*/ 596900 w 2587171"/>
                <a:gd name="T81" fmla="*/ 2299911 h 5076447"/>
                <a:gd name="T82" fmla="*/ 612775 w 2587171"/>
                <a:gd name="T83" fmla="*/ 2125285 h 5076447"/>
                <a:gd name="T84" fmla="*/ 714375 w 2587171"/>
                <a:gd name="T85" fmla="*/ 2039561 h 5076447"/>
                <a:gd name="T86" fmla="*/ 920750 w 2587171"/>
                <a:gd name="T87" fmla="*/ 1849061 h 5076447"/>
                <a:gd name="T88" fmla="*/ 765175 w 2587171"/>
                <a:gd name="T89" fmla="*/ 1556961 h 5076447"/>
                <a:gd name="T90" fmla="*/ 946150 w 2587171"/>
                <a:gd name="T91" fmla="*/ 1601411 h 5076447"/>
                <a:gd name="T92" fmla="*/ 1063626 w 2587171"/>
                <a:gd name="T93" fmla="*/ 1677611 h 5076447"/>
                <a:gd name="T94" fmla="*/ 1193801 w 2587171"/>
                <a:gd name="T95" fmla="*/ 1331536 h 5076447"/>
                <a:gd name="T96" fmla="*/ 1250951 w 2587171"/>
                <a:gd name="T97" fmla="*/ 1382336 h 5076447"/>
                <a:gd name="T98" fmla="*/ 1339851 w 2587171"/>
                <a:gd name="T99" fmla="*/ 1274386 h 5076447"/>
                <a:gd name="T100" fmla="*/ 1483318 w 2587171"/>
                <a:gd name="T101" fmla="*/ 1168200 h 5076447"/>
                <a:gd name="T102" fmla="*/ 1449477 w 2587171"/>
                <a:gd name="T103" fmla="*/ 1041186 h 5076447"/>
                <a:gd name="T104" fmla="*/ 1700257 w 2587171"/>
                <a:gd name="T105" fmla="*/ 922050 h 5076447"/>
                <a:gd name="T106" fmla="*/ 1081860 w 2587171"/>
                <a:gd name="T107" fmla="*/ 819987 h 5076447"/>
                <a:gd name="T108" fmla="*/ 1229665 w 2587171"/>
                <a:gd name="T109" fmla="*/ 1021274 h 5076447"/>
                <a:gd name="T110" fmla="*/ 1106235 w 2587171"/>
                <a:gd name="T111" fmla="*/ 1048929 h 5076447"/>
                <a:gd name="T112" fmla="*/ 965901 w 2587171"/>
                <a:gd name="T113" fmla="*/ 934593 h 5076447"/>
                <a:gd name="T114" fmla="*/ 956165 w 2587171"/>
                <a:gd name="T115" fmla="*/ 780231 h 5076447"/>
                <a:gd name="T116" fmla="*/ 1171888 w 2587171"/>
                <a:gd name="T117" fmla="*/ 136783 h 5076447"/>
                <a:gd name="T118" fmla="*/ 1067560 w 2587171"/>
                <a:gd name="T119" fmla="*/ 687768 h 5076447"/>
                <a:gd name="T120" fmla="*/ 977700 w 2587171"/>
                <a:gd name="T121" fmla="*/ 586145 h 5076447"/>
                <a:gd name="T122" fmla="*/ 958531 w 2587171"/>
                <a:gd name="T123" fmla="*/ 376744 h 5076447"/>
                <a:gd name="T124" fmla="*/ 1092442 w 2587171"/>
                <a:gd name="T125" fmla="*/ 74240 h 507644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587171"/>
                <a:gd name="T190" fmla="*/ 0 h 5076447"/>
                <a:gd name="T191" fmla="*/ 2587171 w 2587171"/>
                <a:gd name="T192" fmla="*/ 5076447 h 5076447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587171" h="5076447">
                  <a:moveTo>
                    <a:pt x="996950" y="1318835"/>
                  </a:moveTo>
                  <a:lnTo>
                    <a:pt x="1041400" y="1328360"/>
                  </a:lnTo>
                  <a:lnTo>
                    <a:pt x="1057275" y="1341060"/>
                  </a:lnTo>
                  <a:lnTo>
                    <a:pt x="1057275" y="1363285"/>
                  </a:lnTo>
                  <a:lnTo>
                    <a:pt x="1038225" y="1401385"/>
                  </a:lnTo>
                  <a:lnTo>
                    <a:pt x="1019175" y="1420435"/>
                  </a:lnTo>
                  <a:lnTo>
                    <a:pt x="1000125" y="1429960"/>
                  </a:lnTo>
                  <a:lnTo>
                    <a:pt x="974725" y="1420435"/>
                  </a:lnTo>
                  <a:lnTo>
                    <a:pt x="962025" y="1395035"/>
                  </a:lnTo>
                  <a:lnTo>
                    <a:pt x="955675" y="1350585"/>
                  </a:lnTo>
                  <a:lnTo>
                    <a:pt x="996950" y="1318835"/>
                  </a:lnTo>
                  <a:close/>
                  <a:moveTo>
                    <a:pt x="1339097" y="960725"/>
                  </a:moveTo>
                  <a:lnTo>
                    <a:pt x="1424087" y="985168"/>
                  </a:lnTo>
                  <a:lnTo>
                    <a:pt x="1448834" y="999502"/>
                  </a:lnTo>
                  <a:lnTo>
                    <a:pt x="1438083" y="1018061"/>
                  </a:lnTo>
                  <a:lnTo>
                    <a:pt x="1421146" y="1033038"/>
                  </a:lnTo>
                  <a:lnTo>
                    <a:pt x="1411375" y="1035642"/>
                  </a:lnTo>
                  <a:lnTo>
                    <a:pt x="1408773" y="1025871"/>
                  </a:lnTo>
                  <a:lnTo>
                    <a:pt x="1402586" y="1022288"/>
                  </a:lnTo>
                  <a:lnTo>
                    <a:pt x="1373276" y="1030098"/>
                  </a:lnTo>
                  <a:lnTo>
                    <a:pt x="1351132" y="1025533"/>
                  </a:lnTo>
                  <a:lnTo>
                    <a:pt x="1329969" y="1005013"/>
                  </a:lnTo>
                  <a:lnTo>
                    <a:pt x="1334533" y="982869"/>
                  </a:lnTo>
                  <a:lnTo>
                    <a:pt x="1339097" y="960725"/>
                  </a:lnTo>
                  <a:close/>
                  <a:moveTo>
                    <a:pt x="1750058" y="916923"/>
                  </a:moveTo>
                  <a:lnTo>
                    <a:pt x="1762579" y="929443"/>
                  </a:lnTo>
                  <a:cubicBezTo>
                    <a:pt x="1767840" y="945226"/>
                    <a:pt x="1770614" y="954070"/>
                    <a:pt x="1771865" y="958414"/>
                  </a:cubicBezTo>
                  <a:cubicBezTo>
                    <a:pt x="1770248" y="952437"/>
                    <a:pt x="1767727" y="940744"/>
                    <a:pt x="1771522" y="940763"/>
                  </a:cubicBezTo>
                  <a:lnTo>
                    <a:pt x="1777689" y="945332"/>
                  </a:lnTo>
                  <a:lnTo>
                    <a:pt x="1795236" y="970265"/>
                  </a:lnTo>
                  <a:cubicBezTo>
                    <a:pt x="1820175" y="1010168"/>
                    <a:pt x="1804089" y="1015414"/>
                    <a:pt x="1819729" y="1051908"/>
                  </a:cubicBezTo>
                  <a:cubicBezTo>
                    <a:pt x="1823594" y="1060927"/>
                    <a:pt x="1832072" y="1067435"/>
                    <a:pt x="1836057" y="1076401"/>
                  </a:cubicBezTo>
                  <a:cubicBezTo>
                    <a:pt x="1874920" y="1163842"/>
                    <a:pt x="1831762" y="1094448"/>
                    <a:pt x="1868714" y="1149879"/>
                  </a:cubicBezTo>
                  <a:cubicBezTo>
                    <a:pt x="1875518" y="1224721"/>
                    <a:pt x="1883683" y="1254651"/>
                    <a:pt x="1868714" y="1329493"/>
                  </a:cubicBezTo>
                  <a:cubicBezTo>
                    <a:pt x="1863651" y="1354809"/>
                    <a:pt x="1850483" y="1377925"/>
                    <a:pt x="1844221" y="1402972"/>
                  </a:cubicBezTo>
                  <a:cubicBezTo>
                    <a:pt x="1833677" y="1445148"/>
                    <a:pt x="1842281" y="1426293"/>
                    <a:pt x="1819729" y="1460122"/>
                  </a:cubicBezTo>
                  <a:cubicBezTo>
                    <a:pt x="1817007" y="1471008"/>
                    <a:pt x="1815984" y="1482466"/>
                    <a:pt x="1811564" y="1492779"/>
                  </a:cubicBezTo>
                  <a:cubicBezTo>
                    <a:pt x="1807699" y="1501798"/>
                    <a:pt x="1798589" y="1508051"/>
                    <a:pt x="1795236" y="1517272"/>
                  </a:cubicBezTo>
                  <a:cubicBezTo>
                    <a:pt x="1787573" y="1538349"/>
                    <a:pt x="1778918" y="1582532"/>
                    <a:pt x="1778907" y="1582586"/>
                  </a:cubicBezTo>
                  <a:cubicBezTo>
                    <a:pt x="1780003" y="1597925"/>
                    <a:pt x="1778729" y="1712978"/>
                    <a:pt x="1803400" y="1745872"/>
                  </a:cubicBezTo>
                  <a:lnTo>
                    <a:pt x="1827893" y="1778529"/>
                  </a:lnTo>
                  <a:cubicBezTo>
                    <a:pt x="1830614" y="1786693"/>
                    <a:pt x="1831878" y="1795499"/>
                    <a:pt x="1836057" y="1803022"/>
                  </a:cubicBezTo>
                  <a:cubicBezTo>
                    <a:pt x="1845587" y="1820177"/>
                    <a:pt x="1862508" y="1833391"/>
                    <a:pt x="1868714" y="1852008"/>
                  </a:cubicBezTo>
                  <a:cubicBezTo>
                    <a:pt x="1871436" y="1860172"/>
                    <a:pt x="1872699" y="1868978"/>
                    <a:pt x="1876879" y="1876501"/>
                  </a:cubicBezTo>
                  <a:cubicBezTo>
                    <a:pt x="1886404" y="1893645"/>
                    <a:pt x="1909508" y="1925446"/>
                    <a:pt x="1909536" y="1925486"/>
                  </a:cubicBezTo>
                  <a:cubicBezTo>
                    <a:pt x="1927945" y="1980716"/>
                    <a:pt x="1903634" y="1913682"/>
                    <a:pt x="1942193" y="1990801"/>
                  </a:cubicBezTo>
                  <a:cubicBezTo>
                    <a:pt x="1961452" y="2029320"/>
                    <a:pt x="1951522" y="2017056"/>
                    <a:pt x="1948092" y="2012348"/>
                  </a:cubicBezTo>
                  <a:lnTo>
                    <a:pt x="1952217" y="2018003"/>
                  </a:lnTo>
                  <a:lnTo>
                    <a:pt x="1948449" y="2012866"/>
                  </a:lnTo>
                  <a:cubicBezTo>
                    <a:pt x="1950725" y="2016086"/>
                    <a:pt x="1956046" y="2023826"/>
                    <a:pt x="1966686" y="2039786"/>
                  </a:cubicBezTo>
                  <a:cubicBezTo>
                    <a:pt x="1969407" y="2047950"/>
                    <a:pt x="1970671" y="2056756"/>
                    <a:pt x="1974850" y="2064279"/>
                  </a:cubicBezTo>
                  <a:cubicBezTo>
                    <a:pt x="1984380" y="2081434"/>
                    <a:pt x="2001301" y="2094647"/>
                    <a:pt x="2007507" y="2113265"/>
                  </a:cubicBezTo>
                  <a:cubicBezTo>
                    <a:pt x="2010228" y="2121429"/>
                    <a:pt x="2010295" y="2131038"/>
                    <a:pt x="2015671" y="2137758"/>
                  </a:cubicBezTo>
                  <a:cubicBezTo>
                    <a:pt x="2021801" y="2145420"/>
                    <a:pt x="2032000" y="2148643"/>
                    <a:pt x="2040164" y="2154086"/>
                  </a:cubicBezTo>
                  <a:cubicBezTo>
                    <a:pt x="2042886" y="2162250"/>
                    <a:pt x="2044480" y="2170882"/>
                    <a:pt x="2048329" y="2178579"/>
                  </a:cubicBezTo>
                  <a:cubicBezTo>
                    <a:pt x="2059697" y="2201314"/>
                    <a:pt x="2071092" y="2209507"/>
                    <a:pt x="2089150" y="2227565"/>
                  </a:cubicBezTo>
                  <a:cubicBezTo>
                    <a:pt x="2094593" y="2243894"/>
                    <a:pt x="2097782" y="2261156"/>
                    <a:pt x="2105479" y="2276551"/>
                  </a:cubicBezTo>
                  <a:cubicBezTo>
                    <a:pt x="2110922" y="2287437"/>
                    <a:pt x="2117287" y="2297908"/>
                    <a:pt x="2121807" y="2309208"/>
                  </a:cubicBezTo>
                  <a:cubicBezTo>
                    <a:pt x="2128199" y="2325189"/>
                    <a:pt x="2130439" y="2342798"/>
                    <a:pt x="2138136" y="2358193"/>
                  </a:cubicBezTo>
                  <a:cubicBezTo>
                    <a:pt x="2158852" y="2399627"/>
                    <a:pt x="2147713" y="2380724"/>
                    <a:pt x="2170793" y="2415343"/>
                  </a:cubicBezTo>
                  <a:cubicBezTo>
                    <a:pt x="2177433" y="2435265"/>
                    <a:pt x="2179458" y="2448501"/>
                    <a:pt x="2195286" y="2464329"/>
                  </a:cubicBezTo>
                  <a:cubicBezTo>
                    <a:pt x="2224693" y="2493736"/>
                    <a:pt x="2224626" y="2481976"/>
                    <a:pt x="2252436" y="2505151"/>
                  </a:cubicBezTo>
                  <a:cubicBezTo>
                    <a:pt x="2261306" y="2512542"/>
                    <a:pt x="2268059" y="2522251"/>
                    <a:pt x="2276929" y="2529643"/>
                  </a:cubicBezTo>
                  <a:cubicBezTo>
                    <a:pt x="2284467" y="2535925"/>
                    <a:pt x="2294483" y="2539034"/>
                    <a:pt x="2301421" y="2545972"/>
                  </a:cubicBezTo>
                  <a:cubicBezTo>
                    <a:pt x="2311043" y="2555594"/>
                    <a:pt x="2317059" y="2568298"/>
                    <a:pt x="2325914" y="2578629"/>
                  </a:cubicBezTo>
                  <a:cubicBezTo>
                    <a:pt x="2333428" y="2587395"/>
                    <a:pt x="2343015" y="2594252"/>
                    <a:pt x="2350407" y="2603122"/>
                  </a:cubicBezTo>
                  <a:cubicBezTo>
                    <a:pt x="2356689" y="2610660"/>
                    <a:pt x="2359798" y="2620677"/>
                    <a:pt x="2366736" y="2627615"/>
                  </a:cubicBezTo>
                  <a:cubicBezTo>
                    <a:pt x="2373674" y="2634553"/>
                    <a:pt x="2383065" y="2638500"/>
                    <a:pt x="2391229" y="2643943"/>
                  </a:cubicBezTo>
                  <a:cubicBezTo>
                    <a:pt x="2396672" y="2652107"/>
                    <a:pt x="2401275" y="2660898"/>
                    <a:pt x="2407557" y="2668436"/>
                  </a:cubicBezTo>
                  <a:cubicBezTo>
                    <a:pt x="2414949" y="2677306"/>
                    <a:pt x="2426322" y="2682904"/>
                    <a:pt x="2432050" y="2692929"/>
                  </a:cubicBezTo>
                  <a:cubicBezTo>
                    <a:pt x="2437617" y="2702671"/>
                    <a:pt x="2437131" y="2714797"/>
                    <a:pt x="2440214" y="2725586"/>
                  </a:cubicBezTo>
                  <a:cubicBezTo>
                    <a:pt x="2442578" y="2733861"/>
                    <a:pt x="2446292" y="2741730"/>
                    <a:pt x="2448379" y="2750079"/>
                  </a:cubicBezTo>
                  <a:cubicBezTo>
                    <a:pt x="2451745" y="2763541"/>
                    <a:pt x="2453177" y="2777439"/>
                    <a:pt x="2456543" y="2790901"/>
                  </a:cubicBezTo>
                  <a:cubicBezTo>
                    <a:pt x="2458630" y="2799250"/>
                    <a:pt x="2462620" y="2807044"/>
                    <a:pt x="2464707" y="2815393"/>
                  </a:cubicBezTo>
                  <a:cubicBezTo>
                    <a:pt x="2468073" y="2828855"/>
                    <a:pt x="2470150" y="2842608"/>
                    <a:pt x="2472871" y="2856215"/>
                  </a:cubicBezTo>
                  <a:cubicBezTo>
                    <a:pt x="2464928" y="2927708"/>
                    <a:pt x="2457555" y="2951085"/>
                    <a:pt x="2472871" y="3027665"/>
                  </a:cubicBezTo>
                  <a:cubicBezTo>
                    <a:pt x="2474795" y="3037287"/>
                    <a:pt x="2483757" y="3043994"/>
                    <a:pt x="2489200" y="3052158"/>
                  </a:cubicBezTo>
                  <a:cubicBezTo>
                    <a:pt x="2491921" y="3060322"/>
                    <a:pt x="2493185" y="3069128"/>
                    <a:pt x="2497364" y="3076651"/>
                  </a:cubicBezTo>
                  <a:cubicBezTo>
                    <a:pt x="2506894" y="3093806"/>
                    <a:pt x="2523815" y="3107019"/>
                    <a:pt x="2530021" y="3125636"/>
                  </a:cubicBezTo>
                  <a:cubicBezTo>
                    <a:pt x="2535464" y="3141965"/>
                    <a:pt x="2542975" y="3157744"/>
                    <a:pt x="2546350" y="3174622"/>
                  </a:cubicBezTo>
                  <a:cubicBezTo>
                    <a:pt x="2549071" y="3188229"/>
                    <a:pt x="2550863" y="3202056"/>
                    <a:pt x="2554514" y="3215443"/>
                  </a:cubicBezTo>
                  <a:cubicBezTo>
                    <a:pt x="2559043" y="3232048"/>
                    <a:pt x="2566669" y="3247731"/>
                    <a:pt x="2570843" y="3264429"/>
                  </a:cubicBezTo>
                  <a:lnTo>
                    <a:pt x="2587171" y="3329743"/>
                  </a:lnTo>
                  <a:cubicBezTo>
                    <a:pt x="2584450" y="3365122"/>
                    <a:pt x="2588755" y="3401761"/>
                    <a:pt x="2579007" y="3435879"/>
                  </a:cubicBezTo>
                  <a:cubicBezTo>
                    <a:pt x="2576643" y="3444154"/>
                    <a:pt x="2562863" y="3441956"/>
                    <a:pt x="2554514" y="3444043"/>
                  </a:cubicBezTo>
                  <a:cubicBezTo>
                    <a:pt x="2462210" y="3467120"/>
                    <a:pt x="2569781" y="3433511"/>
                    <a:pt x="2464707" y="3468536"/>
                  </a:cubicBezTo>
                  <a:cubicBezTo>
                    <a:pt x="2456543" y="3471257"/>
                    <a:pt x="2447375" y="3471927"/>
                    <a:pt x="2440214" y="3476701"/>
                  </a:cubicBezTo>
                  <a:lnTo>
                    <a:pt x="2405808" y="3499639"/>
                  </a:lnTo>
                  <a:lnTo>
                    <a:pt x="2400300" y="3496885"/>
                  </a:lnTo>
                  <a:lnTo>
                    <a:pt x="2339975" y="3534985"/>
                  </a:lnTo>
                  <a:lnTo>
                    <a:pt x="2320925" y="3522285"/>
                  </a:lnTo>
                  <a:lnTo>
                    <a:pt x="2282825" y="3531810"/>
                  </a:lnTo>
                  <a:lnTo>
                    <a:pt x="2266950" y="3541335"/>
                  </a:lnTo>
                  <a:lnTo>
                    <a:pt x="2222500" y="3557210"/>
                  </a:lnTo>
                  <a:lnTo>
                    <a:pt x="2212975" y="3563560"/>
                  </a:lnTo>
                  <a:lnTo>
                    <a:pt x="2197100" y="3569910"/>
                  </a:lnTo>
                  <a:lnTo>
                    <a:pt x="2178050" y="3563560"/>
                  </a:lnTo>
                  <a:lnTo>
                    <a:pt x="2165350" y="3627060"/>
                  </a:lnTo>
                  <a:lnTo>
                    <a:pt x="2146300" y="3661985"/>
                  </a:lnTo>
                  <a:lnTo>
                    <a:pt x="2143125" y="3665160"/>
                  </a:lnTo>
                  <a:lnTo>
                    <a:pt x="2095500" y="3766760"/>
                  </a:lnTo>
                  <a:lnTo>
                    <a:pt x="2092325" y="3776285"/>
                  </a:lnTo>
                  <a:lnTo>
                    <a:pt x="2063750" y="3795335"/>
                  </a:lnTo>
                  <a:lnTo>
                    <a:pt x="2076450" y="3804860"/>
                  </a:lnTo>
                  <a:lnTo>
                    <a:pt x="2120900" y="3865185"/>
                  </a:lnTo>
                  <a:lnTo>
                    <a:pt x="2095500" y="3909635"/>
                  </a:lnTo>
                  <a:lnTo>
                    <a:pt x="2063750" y="3893760"/>
                  </a:lnTo>
                  <a:lnTo>
                    <a:pt x="2006600" y="3855660"/>
                  </a:lnTo>
                  <a:lnTo>
                    <a:pt x="1984375" y="3855660"/>
                  </a:lnTo>
                  <a:lnTo>
                    <a:pt x="1978025" y="3884235"/>
                  </a:lnTo>
                  <a:lnTo>
                    <a:pt x="1990725" y="3922335"/>
                  </a:lnTo>
                  <a:lnTo>
                    <a:pt x="1981200" y="3941385"/>
                  </a:lnTo>
                  <a:lnTo>
                    <a:pt x="1978025" y="4014410"/>
                  </a:lnTo>
                  <a:lnTo>
                    <a:pt x="2016125" y="4049335"/>
                  </a:lnTo>
                  <a:lnTo>
                    <a:pt x="2003425" y="4093785"/>
                  </a:lnTo>
                  <a:lnTo>
                    <a:pt x="2006600" y="4157285"/>
                  </a:lnTo>
                  <a:lnTo>
                    <a:pt x="2032000" y="4160460"/>
                  </a:lnTo>
                  <a:lnTo>
                    <a:pt x="2057400" y="4163635"/>
                  </a:lnTo>
                  <a:lnTo>
                    <a:pt x="2070100" y="4198560"/>
                  </a:lnTo>
                  <a:lnTo>
                    <a:pt x="2092325" y="4214435"/>
                  </a:lnTo>
                  <a:lnTo>
                    <a:pt x="2089150" y="4217610"/>
                  </a:lnTo>
                  <a:lnTo>
                    <a:pt x="2117725" y="4217610"/>
                  </a:lnTo>
                  <a:lnTo>
                    <a:pt x="2165350" y="4195385"/>
                  </a:lnTo>
                  <a:lnTo>
                    <a:pt x="2197100" y="4204910"/>
                  </a:lnTo>
                  <a:lnTo>
                    <a:pt x="2241550" y="4217610"/>
                  </a:lnTo>
                  <a:lnTo>
                    <a:pt x="2311400" y="4285872"/>
                  </a:lnTo>
                  <a:lnTo>
                    <a:pt x="2286000" y="4304922"/>
                  </a:lnTo>
                  <a:lnTo>
                    <a:pt x="2276475" y="4301747"/>
                  </a:lnTo>
                  <a:lnTo>
                    <a:pt x="2270125" y="4314447"/>
                  </a:lnTo>
                  <a:lnTo>
                    <a:pt x="2349500" y="4336672"/>
                  </a:lnTo>
                  <a:lnTo>
                    <a:pt x="2351512" y="4337205"/>
                  </a:lnTo>
                  <a:lnTo>
                    <a:pt x="2352675" y="4343023"/>
                  </a:lnTo>
                  <a:lnTo>
                    <a:pt x="2346325" y="4358897"/>
                  </a:lnTo>
                  <a:lnTo>
                    <a:pt x="2330450" y="4384297"/>
                  </a:lnTo>
                  <a:lnTo>
                    <a:pt x="2317750" y="4390647"/>
                  </a:lnTo>
                  <a:lnTo>
                    <a:pt x="2339975" y="4422397"/>
                  </a:lnTo>
                  <a:lnTo>
                    <a:pt x="2301875" y="4441447"/>
                  </a:lnTo>
                  <a:lnTo>
                    <a:pt x="2286000" y="4457323"/>
                  </a:lnTo>
                  <a:lnTo>
                    <a:pt x="2257425" y="4473197"/>
                  </a:lnTo>
                  <a:lnTo>
                    <a:pt x="2241550" y="4485897"/>
                  </a:lnTo>
                  <a:lnTo>
                    <a:pt x="2244725" y="4498597"/>
                  </a:lnTo>
                  <a:lnTo>
                    <a:pt x="2247900" y="4523997"/>
                  </a:lnTo>
                  <a:lnTo>
                    <a:pt x="2232025" y="4616072"/>
                  </a:lnTo>
                  <a:lnTo>
                    <a:pt x="2222500" y="4682747"/>
                  </a:lnTo>
                  <a:lnTo>
                    <a:pt x="2238375" y="4682747"/>
                  </a:lnTo>
                  <a:lnTo>
                    <a:pt x="2276475" y="4692272"/>
                  </a:lnTo>
                  <a:lnTo>
                    <a:pt x="2339975" y="4752597"/>
                  </a:lnTo>
                  <a:lnTo>
                    <a:pt x="2346325" y="4784347"/>
                  </a:lnTo>
                  <a:lnTo>
                    <a:pt x="2359025" y="4816097"/>
                  </a:lnTo>
                  <a:lnTo>
                    <a:pt x="2368550" y="4847847"/>
                  </a:lnTo>
                  <a:lnTo>
                    <a:pt x="2406650" y="4873247"/>
                  </a:lnTo>
                  <a:lnTo>
                    <a:pt x="2463800" y="4911347"/>
                  </a:lnTo>
                  <a:lnTo>
                    <a:pt x="2495550" y="4936747"/>
                  </a:lnTo>
                  <a:lnTo>
                    <a:pt x="2514600" y="4955797"/>
                  </a:lnTo>
                  <a:lnTo>
                    <a:pt x="2522677" y="4956605"/>
                  </a:lnTo>
                  <a:lnTo>
                    <a:pt x="2498725" y="5022472"/>
                  </a:lnTo>
                  <a:lnTo>
                    <a:pt x="2466975" y="5076447"/>
                  </a:lnTo>
                  <a:lnTo>
                    <a:pt x="2419350" y="5070097"/>
                  </a:lnTo>
                  <a:lnTo>
                    <a:pt x="2374900" y="5041522"/>
                  </a:lnTo>
                  <a:lnTo>
                    <a:pt x="2314575" y="5031997"/>
                  </a:lnTo>
                  <a:lnTo>
                    <a:pt x="2270125" y="5031997"/>
                  </a:lnTo>
                  <a:lnTo>
                    <a:pt x="2225675" y="5009772"/>
                  </a:lnTo>
                  <a:lnTo>
                    <a:pt x="2181225" y="4987547"/>
                  </a:lnTo>
                  <a:lnTo>
                    <a:pt x="2136775" y="4974847"/>
                  </a:lnTo>
                  <a:lnTo>
                    <a:pt x="2120900" y="4993897"/>
                  </a:lnTo>
                  <a:lnTo>
                    <a:pt x="2060575" y="5016122"/>
                  </a:lnTo>
                  <a:lnTo>
                    <a:pt x="2012950" y="5028822"/>
                  </a:lnTo>
                  <a:lnTo>
                    <a:pt x="1952625" y="5006597"/>
                  </a:lnTo>
                  <a:lnTo>
                    <a:pt x="1895475" y="4987547"/>
                  </a:lnTo>
                  <a:lnTo>
                    <a:pt x="1844675" y="5000247"/>
                  </a:lnTo>
                  <a:lnTo>
                    <a:pt x="1797050" y="5016122"/>
                  </a:lnTo>
                  <a:lnTo>
                    <a:pt x="1743075" y="5009772"/>
                  </a:lnTo>
                  <a:lnTo>
                    <a:pt x="1698625" y="5006597"/>
                  </a:lnTo>
                  <a:lnTo>
                    <a:pt x="1660525" y="5009772"/>
                  </a:lnTo>
                  <a:lnTo>
                    <a:pt x="1612900" y="5044697"/>
                  </a:lnTo>
                  <a:lnTo>
                    <a:pt x="1511300" y="4981197"/>
                  </a:lnTo>
                  <a:lnTo>
                    <a:pt x="1406525" y="4943097"/>
                  </a:lnTo>
                  <a:lnTo>
                    <a:pt x="1352550" y="4927222"/>
                  </a:lnTo>
                  <a:lnTo>
                    <a:pt x="1317625" y="4930397"/>
                  </a:lnTo>
                  <a:lnTo>
                    <a:pt x="1276350" y="4901822"/>
                  </a:lnTo>
                  <a:lnTo>
                    <a:pt x="1238250" y="4860547"/>
                  </a:lnTo>
                  <a:lnTo>
                    <a:pt x="1289050" y="4847847"/>
                  </a:lnTo>
                  <a:lnTo>
                    <a:pt x="1317625" y="4768472"/>
                  </a:lnTo>
                  <a:lnTo>
                    <a:pt x="1317625" y="4736722"/>
                  </a:lnTo>
                  <a:lnTo>
                    <a:pt x="1352550" y="4714497"/>
                  </a:lnTo>
                  <a:lnTo>
                    <a:pt x="1377950" y="4717672"/>
                  </a:lnTo>
                  <a:lnTo>
                    <a:pt x="1314450" y="4685922"/>
                  </a:lnTo>
                  <a:lnTo>
                    <a:pt x="1279525" y="4650997"/>
                  </a:lnTo>
                  <a:lnTo>
                    <a:pt x="1339850" y="4609722"/>
                  </a:lnTo>
                  <a:lnTo>
                    <a:pt x="1358900" y="4593847"/>
                  </a:lnTo>
                  <a:lnTo>
                    <a:pt x="1406525" y="4549397"/>
                  </a:lnTo>
                  <a:lnTo>
                    <a:pt x="1406525" y="4539872"/>
                  </a:lnTo>
                  <a:lnTo>
                    <a:pt x="1403350" y="4533522"/>
                  </a:lnTo>
                  <a:lnTo>
                    <a:pt x="1381125" y="4533522"/>
                  </a:lnTo>
                  <a:lnTo>
                    <a:pt x="1371600" y="4543047"/>
                  </a:lnTo>
                  <a:lnTo>
                    <a:pt x="1368425" y="4549397"/>
                  </a:lnTo>
                  <a:lnTo>
                    <a:pt x="1308100" y="4581147"/>
                  </a:lnTo>
                  <a:lnTo>
                    <a:pt x="1304925" y="4539872"/>
                  </a:lnTo>
                  <a:lnTo>
                    <a:pt x="1314450" y="4498597"/>
                  </a:lnTo>
                  <a:lnTo>
                    <a:pt x="1339850" y="4466847"/>
                  </a:lnTo>
                  <a:lnTo>
                    <a:pt x="1377950" y="4447797"/>
                  </a:lnTo>
                  <a:lnTo>
                    <a:pt x="1422400" y="4441447"/>
                  </a:lnTo>
                  <a:lnTo>
                    <a:pt x="1422400" y="4416047"/>
                  </a:lnTo>
                  <a:lnTo>
                    <a:pt x="1428750" y="4384297"/>
                  </a:lnTo>
                  <a:lnTo>
                    <a:pt x="1419225" y="4362072"/>
                  </a:lnTo>
                  <a:lnTo>
                    <a:pt x="1390650" y="4339847"/>
                  </a:lnTo>
                  <a:lnTo>
                    <a:pt x="1387475" y="4317622"/>
                  </a:lnTo>
                  <a:lnTo>
                    <a:pt x="1390650" y="4314447"/>
                  </a:lnTo>
                  <a:lnTo>
                    <a:pt x="1374775" y="4279522"/>
                  </a:lnTo>
                  <a:lnTo>
                    <a:pt x="1371600" y="4276347"/>
                  </a:lnTo>
                  <a:lnTo>
                    <a:pt x="1397000" y="4254122"/>
                  </a:lnTo>
                  <a:lnTo>
                    <a:pt x="1406525" y="4227135"/>
                  </a:lnTo>
                  <a:lnTo>
                    <a:pt x="1377950" y="4195385"/>
                  </a:lnTo>
                  <a:lnTo>
                    <a:pt x="1257300" y="4182685"/>
                  </a:lnTo>
                  <a:lnTo>
                    <a:pt x="1190625" y="4192210"/>
                  </a:lnTo>
                  <a:lnTo>
                    <a:pt x="1184275" y="4189035"/>
                  </a:lnTo>
                  <a:lnTo>
                    <a:pt x="1152525" y="4173160"/>
                  </a:lnTo>
                  <a:lnTo>
                    <a:pt x="1123950" y="4141410"/>
                  </a:lnTo>
                  <a:lnTo>
                    <a:pt x="1108075" y="4154110"/>
                  </a:lnTo>
                  <a:lnTo>
                    <a:pt x="1085850" y="4160460"/>
                  </a:lnTo>
                  <a:lnTo>
                    <a:pt x="1035050" y="4182685"/>
                  </a:lnTo>
                  <a:lnTo>
                    <a:pt x="962025" y="4176335"/>
                  </a:lnTo>
                  <a:lnTo>
                    <a:pt x="942975" y="4150935"/>
                  </a:lnTo>
                  <a:lnTo>
                    <a:pt x="930275" y="4112835"/>
                  </a:lnTo>
                  <a:lnTo>
                    <a:pt x="892175" y="4081085"/>
                  </a:lnTo>
                  <a:lnTo>
                    <a:pt x="822325" y="4074735"/>
                  </a:lnTo>
                  <a:lnTo>
                    <a:pt x="796925" y="4036635"/>
                  </a:lnTo>
                  <a:lnTo>
                    <a:pt x="774700" y="3960435"/>
                  </a:lnTo>
                  <a:lnTo>
                    <a:pt x="752475" y="3944560"/>
                  </a:lnTo>
                  <a:lnTo>
                    <a:pt x="720725" y="3950910"/>
                  </a:lnTo>
                  <a:lnTo>
                    <a:pt x="669925" y="3973135"/>
                  </a:lnTo>
                  <a:lnTo>
                    <a:pt x="631825" y="4004885"/>
                  </a:lnTo>
                  <a:lnTo>
                    <a:pt x="609600" y="4020760"/>
                  </a:lnTo>
                  <a:lnTo>
                    <a:pt x="587375" y="4011235"/>
                  </a:lnTo>
                  <a:lnTo>
                    <a:pt x="568325" y="3989010"/>
                  </a:lnTo>
                  <a:lnTo>
                    <a:pt x="568325" y="3973135"/>
                  </a:lnTo>
                  <a:lnTo>
                    <a:pt x="565150" y="3966785"/>
                  </a:lnTo>
                  <a:lnTo>
                    <a:pt x="561975" y="3950910"/>
                  </a:lnTo>
                  <a:lnTo>
                    <a:pt x="549275" y="3935035"/>
                  </a:lnTo>
                  <a:lnTo>
                    <a:pt x="552450" y="3912810"/>
                  </a:lnTo>
                  <a:lnTo>
                    <a:pt x="533400" y="3903285"/>
                  </a:lnTo>
                  <a:lnTo>
                    <a:pt x="530225" y="3865185"/>
                  </a:lnTo>
                  <a:lnTo>
                    <a:pt x="552450" y="3858835"/>
                  </a:lnTo>
                  <a:lnTo>
                    <a:pt x="568325" y="3871535"/>
                  </a:lnTo>
                  <a:lnTo>
                    <a:pt x="590550" y="3871535"/>
                  </a:lnTo>
                  <a:lnTo>
                    <a:pt x="619125" y="3836610"/>
                  </a:lnTo>
                  <a:lnTo>
                    <a:pt x="638175" y="3808035"/>
                  </a:lnTo>
                  <a:lnTo>
                    <a:pt x="606425" y="3776285"/>
                  </a:lnTo>
                  <a:lnTo>
                    <a:pt x="546100" y="3776285"/>
                  </a:lnTo>
                  <a:lnTo>
                    <a:pt x="552450" y="3741360"/>
                  </a:lnTo>
                  <a:lnTo>
                    <a:pt x="479425" y="3661985"/>
                  </a:lnTo>
                  <a:lnTo>
                    <a:pt x="463550" y="3665160"/>
                  </a:lnTo>
                  <a:lnTo>
                    <a:pt x="454025" y="3620710"/>
                  </a:lnTo>
                  <a:lnTo>
                    <a:pt x="447675" y="3566735"/>
                  </a:lnTo>
                  <a:lnTo>
                    <a:pt x="431800" y="3531810"/>
                  </a:lnTo>
                  <a:lnTo>
                    <a:pt x="358775" y="3509585"/>
                  </a:lnTo>
                  <a:lnTo>
                    <a:pt x="311150" y="3531810"/>
                  </a:lnTo>
                  <a:lnTo>
                    <a:pt x="292100" y="3500060"/>
                  </a:lnTo>
                  <a:lnTo>
                    <a:pt x="269875" y="3503235"/>
                  </a:lnTo>
                  <a:lnTo>
                    <a:pt x="254000" y="3503235"/>
                  </a:lnTo>
                  <a:lnTo>
                    <a:pt x="231775" y="3493710"/>
                  </a:lnTo>
                  <a:lnTo>
                    <a:pt x="219075" y="3496885"/>
                  </a:lnTo>
                  <a:lnTo>
                    <a:pt x="206375" y="3487360"/>
                  </a:lnTo>
                  <a:lnTo>
                    <a:pt x="209550" y="3458785"/>
                  </a:lnTo>
                  <a:lnTo>
                    <a:pt x="196850" y="3430210"/>
                  </a:lnTo>
                  <a:lnTo>
                    <a:pt x="171450" y="3360360"/>
                  </a:lnTo>
                  <a:lnTo>
                    <a:pt x="168275" y="3334960"/>
                  </a:lnTo>
                  <a:lnTo>
                    <a:pt x="161925" y="3325435"/>
                  </a:lnTo>
                  <a:lnTo>
                    <a:pt x="123825" y="3300035"/>
                  </a:lnTo>
                  <a:lnTo>
                    <a:pt x="133350" y="3261935"/>
                  </a:lnTo>
                  <a:lnTo>
                    <a:pt x="142875" y="3255585"/>
                  </a:lnTo>
                  <a:lnTo>
                    <a:pt x="152400" y="3242885"/>
                  </a:lnTo>
                  <a:lnTo>
                    <a:pt x="136525" y="3230185"/>
                  </a:lnTo>
                  <a:lnTo>
                    <a:pt x="117475" y="3141285"/>
                  </a:lnTo>
                  <a:lnTo>
                    <a:pt x="139700" y="3065085"/>
                  </a:lnTo>
                  <a:lnTo>
                    <a:pt x="142875" y="3026985"/>
                  </a:lnTo>
                  <a:lnTo>
                    <a:pt x="142875" y="2998410"/>
                  </a:lnTo>
                  <a:lnTo>
                    <a:pt x="184150" y="2976185"/>
                  </a:lnTo>
                  <a:lnTo>
                    <a:pt x="209550" y="2953960"/>
                  </a:lnTo>
                  <a:lnTo>
                    <a:pt x="219075" y="2938085"/>
                  </a:lnTo>
                  <a:lnTo>
                    <a:pt x="196850" y="2909510"/>
                  </a:lnTo>
                  <a:lnTo>
                    <a:pt x="155575" y="2868235"/>
                  </a:lnTo>
                  <a:lnTo>
                    <a:pt x="111125" y="2874585"/>
                  </a:lnTo>
                  <a:lnTo>
                    <a:pt x="228600" y="2706310"/>
                  </a:lnTo>
                  <a:lnTo>
                    <a:pt x="288925" y="2595185"/>
                  </a:lnTo>
                  <a:lnTo>
                    <a:pt x="304800" y="2563435"/>
                  </a:lnTo>
                  <a:lnTo>
                    <a:pt x="314325" y="2506285"/>
                  </a:lnTo>
                  <a:lnTo>
                    <a:pt x="241300" y="2442785"/>
                  </a:lnTo>
                  <a:lnTo>
                    <a:pt x="209550" y="2423735"/>
                  </a:lnTo>
                  <a:lnTo>
                    <a:pt x="193675" y="2407860"/>
                  </a:lnTo>
                  <a:lnTo>
                    <a:pt x="206375" y="2395160"/>
                  </a:lnTo>
                  <a:lnTo>
                    <a:pt x="225425" y="2353885"/>
                  </a:lnTo>
                  <a:lnTo>
                    <a:pt x="193675" y="2284035"/>
                  </a:lnTo>
                  <a:lnTo>
                    <a:pt x="165100" y="2261810"/>
                  </a:lnTo>
                  <a:lnTo>
                    <a:pt x="142875" y="2230060"/>
                  </a:lnTo>
                  <a:lnTo>
                    <a:pt x="142875" y="2179260"/>
                  </a:lnTo>
                  <a:lnTo>
                    <a:pt x="142875" y="2141160"/>
                  </a:lnTo>
                  <a:lnTo>
                    <a:pt x="155575" y="2122110"/>
                  </a:lnTo>
                  <a:lnTo>
                    <a:pt x="98425" y="2007810"/>
                  </a:lnTo>
                  <a:lnTo>
                    <a:pt x="73025" y="1963360"/>
                  </a:lnTo>
                  <a:lnTo>
                    <a:pt x="82550" y="1941135"/>
                  </a:lnTo>
                  <a:lnTo>
                    <a:pt x="92075" y="1912560"/>
                  </a:lnTo>
                  <a:lnTo>
                    <a:pt x="111125" y="1874460"/>
                  </a:lnTo>
                  <a:lnTo>
                    <a:pt x="107950" y="1852235"/>
                  </a:lnTo>
                  <a:lnTo>
                    <a:pt x="85725" y="1826835"/>
                  </a:lnTo>
                  <a:lnTo>
                    <a:pt x="50800" y="1801435"/>
                  </a:lnTo>
                  <a:lnTo>
                    <a:pt x="31750" y="1795085"/>
                  </a:lnTo>
                  <a:lnTo>
                    <a:pt x="19050" y="1769685"/>
                  </a:lnTo>
                  <a:lnTo>
                    <a:pt x="9525" y="1741110"/>
                  </a:lnTo>
                  <a:lnTo>
                    <a:pt x="0" y="1696660"/>
                  </a:lnTo>
                  <a:lnTo>
                    <a:pt x="12700" y="1683960"/>
                  </a:lnTo>
                  <a:lnTo>
                    <a:pt x="25400" y="1671260"/>
                  </a:lnTo>
                  <a:lnTo>
                    <a:pt x="28575" y="1674435"/>
                  </a:lnTo>
                  <a:lnTo>
                    <a:pt x="38100" y="1645860"/>
                  </a:lnTo>
                  <a:lnTo>
                    <a:pt x="38100" y="1633160"/>
                  </a:lnTo>
                  <a:lnTo>
                    <a:pt x="69850" y="1604585"/>
                  </a:lnTo>
                  <a:lnTo>
                    <a:pt x="82550" y="1591885"/>
                  </a:lnTo>
                  <a:lnTo>
                    <a:pt x="104775" y="1591885"/>
                  </a:lnTo>
                  <a:lnTo>
                    <a:pt x="101600" y="1553785"/>
                  </a:lnTo>
                  <a:lnTo>
                    <a:pt x="130175" y="1560135"/>
                  </a:lnTo>
                  <a:lnTo>
                    <a:pt x="142875" y="1563310"/>
                  </a:lnTo>
                  <a:lnTo>
                    <a:pt x="146050" y="1541085"/>
                  </a:lnTo>
                  <a:lnTo>
                    <a:pt x="158750" y="1522035"/>
                  </a:lnTo>
                  <a:lnTo>
                    <a:pt x="190500" y="1534735"/>
                  </a:lnTo>
                  <a:lnTo>
                    <a:pt x="215900" y="1541085"/>
                  </a:lnTo>
                  <a:lnTo>
                    <a:pt x="206375" y="1566485"/>
                  </a:lnTo>
                  <a:lnTo>
                    <a:pt x="238125" y="1579185"/>
                  </a:lnTo>
                  <a:lnTo>
                    <a:pt x="269875" y="1588710"/>
                  </a:lnTo>
                  <a:lnTo>
                    <a:pt x="311150" y="1585535"/>
                  </a:lnTo>
                  <a:lnTo>
                    <a:pt x="371475" y="1588710"/>
                  </a:lnTo>
                  <a:lnTo>
                    <a:pt x="450850" y="1620460"/>
                  </a:lnTo>
                  <a:lnTo>
                    <a:pt x="482600" y="1633160"/>
                  </a:lnTo>
                  <a:lnTo>
                    <a:pt x="517525" y="1658560"/>
                  </a:lnTo>
                  <a:lnTo>
                    <a:pt x="568325" y="1677610"/>
                  </a:lnTo>
                  <a:lnTo>
                    <a:pt x="600075" y="1690310"/>
                  </a:lnTo>
                  <a:lnTo>
                    <a:pt x="679450" y="1712535"/>
                  </a:lnTo>
                  <a:lnTo>
                    <a:pt x="723900" y="1769685"/>
                  </a:lnTo>
                  <a:lnTo>
                    <a:pt x="736600" y="1826835"/>
                  </a:lnTo>
                  <a:lnTo>
                    <a:pt x="723900" y="1877635"/>
                  </a:lnTo>
                  <a:lnTo>
                    <a:pt x="701675" y="1918910"/>
                  </a:lnTo>
                  <a:lnTo>
                    <a:pt x="647700" y="1966535"/>
                  </a:lnTo>
                  <a:lnTo>
                    <a:pt x="581025" y="1985585"/>
                  </a:lnTo>
                  <a:lnTo>
                    <a:pt x="508000" y="1976060"/>
                  </a:lnTo>
                  <a:lnTo>
                    <a:pt x="425450" y="1969710"/>
                  </a:lnTo>
                  <a:lnTo>
                    <a:pt x="349250" y="1957010"/>
                  </a:lnTo>
                  <a:lnTo>
                    <a:pt x="314325" y="1950660"/>
                  </a:lnTo>
                  <a:lnTo>
                    <a:pt x="279400" y="1925260"/>
                  </a:lnTo>
                  <a:lnTo>
                    <a:pt x="273050" y="1912560"/>
                  </a:lnTo>
                  <a:lnTo>
                    <a:pt x="257175" y="1906210"/>
                  </a:lnTo>
                  <a:lnTo>
                    <a:pt x="222250" y="1912560"/>
                  </a:lnTo>
                  <a:lnTo>
                    <a:pt x="254000" y="1934785"/>
                  </a:lnTo>
                  <a:lnTo>
                    <a:pt x="273050" y="1947485"/>
                  </a:lnTo>
                  <a:lnTo>
                    <a:pt x="288925" y="1972885"/>
                  </a:lnTo>
                  <a:lnTo>
                    <a:pt x="323850" y="1988760"/>
                  </a:lnTo>
                  <a:lnTo>
                    <a:pt x="349250" y="2001460"/>
                  </a:lnTo>
                  <a:lnTo>
                    <a:pt x="425450" y="2058610"/>
                  </a:lnTo>
                  <a:lnTo>
                    <a:pt x="438150" y="2077660"/>
                  </a:lnTo>
                  <a:lnTo>
                    <a:pt x="428625" y="2112585"/>
                  </a:lnTo>
                  <a:lnTo>
                    <a:pt x="422275" y="2118935"/>
                  </a:lnTo>
                  <a:lnTo>
                    <a:pt x="415925" y="2131635"/>
                  </a:lnTo>
                  <a:lnTo>
                    <a:pt x="450850" y="2182435"/>
                  </a:lnTo>
                  <a:lnTo>
                    <a:pt x="463550" y="2214185"/>
                  </a:lnTo>
                  <a:lnTo>
                    <a:pt x="463550" y="2239585"/>
                  </a:lnTo>
                  <a:lnTo>
                    <a:pt x="501650" y="2261810"/>
                  </a:lnTo>
                  <a:lnTo>
                    <a:pt x="511175" y="2261810"/>
                  </a:lnTo>
                  <a:lnTo>
                    <a:pt x="517525" y="2249110"/>
                  </a:lnTo>
                  <a:lnTo>
                    <a:pt x="552450" y="2268160"/>
                  </a:lnTo>
                  <a:lnTo>
                    <a:pt x="571500" y="2293560"/>
                  </a:lnTo>
                  <a:lnTo>
                    <a:pt x="596900" y="2299910"/>
                  </a:lnTo>
                  <a:lnTo>
                    <a:pt x="622300" y="2303085"/>
                  </a:lnTo>
                  <a:lnTo>
                    <a:pt x="657225" y="2284035"/>
                  </a:lnTo>
                  <a:lnTo>
                    <a:pt x="679450" y="2268160"/>
                  </a:lnTo>
                  <a:lnTo>
                    <a:pt x="663575" y="2230060"/>
                  </a:lnTo>
                  <a:lnTo>
                    <a:pt x="606425" y="2223710"/>
                  </a:lnTo>
                  <a:lnTo>
                    <a:pt x="568325" y="2179260"/>
                  </a:lnTo>
                  <a:lnTo>
                    <a:pt x="565150" y="2134810"/>
                  </a:lnTo>
                  <a:lnTo>
                    <a:pt x="571500" y="2118935"/>
                  </a:lnTo>
                  <a:lnTo>
                    <a:pt x="612775" y="2125285"/>
                  </a:lnTo>
                  <a:lnTo>
                    <a:pt x="654050" y="2163385"/>
                  </a:lnTo>
                  <a:lnTo>
                    <a:pt x="666750" y="2153860"/>
                  </a:lnTo>
                  <a:lnTo>
                    <a:pt x="682625" y="2150685"/>
                  </a:lnTo>
                  <a:lnTo>
                    <a:pt x="723900" y="2157035"/>
                  </a:lnTo>
                  <a:lnTo>
                    <a:pt x="762000" y="2163385"/>
                  </a:lnTo>
                  <a:lnTo>
                    <a:pt x="803275" y="2150685"/>
                  </a:lnTo>
                  <a:lnTo>
                    <a:pt x="800100" y="2144335"/>
                  </a:lnTo>
                  <a:lnTo>
                    <a:pt x="736600" y="2068135"/>
                  </a:lnTo>
                  <a:lnTo>
                    <a:pt x="714375" y="2039560"/>
                  </a:lnTo>
                  <a:lnTo>
                    <a:pt x="720725" y="2014160"/>
                  </a:lnTo>
                  <a:lnTo>
                    <a:pt x="755650" y="1957010"/>
                  </a:lnTo>
                  <a:lnTo>
                    <a:pt x="790575" y="1912560"/>
                  </a:lnTo>
                  <a:lnTo>
                    <a:pt x="800100" y="1871285"/>
                  </a:lnTo>
                  <a:lnTo>
                    <a:pt x="809625" y="1852235"/>
                  </a:lnTo>
                  <a:lnTo>
                    <a:pt x="860425" y="1845885"/>
                  </a:lnTo>
                  <a:lnTo>
                    <a:pt x="892175" y="1855410"/>
                  </a:lnTo>
                  <a:lnTo>
                    <a:pt x="917575" y="1861760"/>
                  </a:lnTo>
                  <a:lnTo>
                    <a:pt x="920750" y="1849060"/>
                  </a:lnTo>
                  <a:lnTo>
                    <a:pt x="917575" y="1795085"/>
                  </a:lnTo>
                  <a:lnTo>
                    <a:pt x="908050" y="1760160"/>
                  </a:lnTo>
                  <a:lnTo>
                    <a:pt x="869950" y="1728410"/>
                  </a:lnTo>
                  <a:lnTo>
                    <a:pt x="850900" y="1731585"/>
                  </a:lnTo>
                  <a:lnTo>
                    <a:pt x="844550" y="1683960"/>
                  </a:lnTo>
                  <a:lnTo>
                    <a:pt x="825500" y="1601410"/>
                  </a:lnTo>
                  <a:lnTo>
                    <a:pt x="815975" y="1579185"/>
                  </a:lnTo>
                  <a:lnTo>
                    <a:pt x="800100" y="1569660"/>
                  </a:lnTo>
                  <a:lnTo>
                    <a:pt x="765175" y="1556960"/>
                  </a:lnTo>
                  <a:lnTo>
                    <a:pt x="752475" y="1547435"/>
                  </a:lnTo>
                  <a:lnTo>
                    <a:pt x="758825" y="1541085"/>
                  </a:lnTo>
                  <a:lnTo>
                    <a:pt x="790575" y="1550610"/>
                  </a:lnTo>
                  <a:lnTo>
                    <a:pt x="819150" y="1537910"/>
                  </a:lnTo>
                  <a:lnTo>
                    <a:pt x="876300" y="1518860"/>
                  </a:lnTo>
                  <a:lnTo>
                    <a:pt x="917575" y="1534735"/>
                  </a:lnTo>
                  <a:lnTo>
                    <a:pt x="939800" y="1553785"/>
                  </a:lnTo>
                  <a:lnTo>
                    <a:pt x="962025" y="1579185"/>
                  </a:lnTo>
                  <a:lnTo>
                    <a:pt x="946150" y="1601410"/>
                  </a:lnTo>
                  <a:lnTo>
                    <a:pt x="917575" y="1620460"/>
                  </a:lnTo>
                  <a:lnTo>
                    <a:pt x="901700" y="1652210"/>
                  </a:lnTo>
                  <a:lnTo>
                    <a:pt x="911225" y="1690310"/>
                  </a:lnTo>
                  <a:lnTo>
                    <a:pt x="955675" y="1709360"/>
                  </a:lnTo>
                  <a:lnTo>
                    <a:pt x="974725" y="1728410"/>
                  </a:lnTo>
                  <a:lnTo>
                    <a:pt x="990600" y="1734760"/>
                  </a:lnTo>
                  <a:lnTo>
                    <a:pt x="1019175" y="1725235"/>
                  </a:lnTo>
                  <a:lnTo>
                    <a:pt x="1047750" y="1703010"/>
                  </a:lnTo>
                  <a:lnTo>
                    <a:pt x="1063625" y="1677610"/>
                  </a:lnTo>
                  <a:lnTo>
                    <a:pt x="1050925" y="1620460"/>
                  </a:lnTo>
                  <a:lnTo>
                    <a:pt x="1035050" y="1595060"/>
                  </a:lnTo>
                  <a:lnTo>
                    <a:pt x="1041400" y="1582360"/>
                  </a:lnTo>
                  <a:lnTo>
                    <a:pt x="1069975" y="1563310"/>
                  </a:lnTo>
                  <a:lnTo>
                    <a:pt x="1111250" y="1480760"/>
                  </a:lnTo>
                  <a:lnTo>
                    <a:pt x="1123950" y="1445835"/>
                  </a:lnTo>
                  <a:lnTo>
                    <a:pt x="1146175" y="1414085"/>
                  </a:lnTo>
                  <a:lnTo>
                    <a:pt x="1165225" y="1388685"/>
                  </a:lnTo>
                  <a:lnTo>
                    <a:pt x="1193800" y="1331535"/>
                  </a:lnTo>
                  <a:lnTo>
                    <a:pt x="1209675" y="1296610"/>
                  </a:lnTo>
                  <a:lnTo>
                    <a:pt x="1228725" y="1274385"/>
                  </a:lnTo>
                  <a:lnTo>
                    <a:pt x="1241425" y="1274385"/>
                  </a:lnTo>
                  <a:lnTo>
                    <a:pt x="1241425" y="1279735"/>
                  </a:lnTo>
                  <a:lnTo>
                    <a:pt x="1245890" y="1278545"/>
                  </a:lnTo>
                  <a:lnTo>
                    <a:pt x="1243930" y="1310459"/>
                  </a:lnTo>
                  <a:lnTo>
                    <a:pt x="1243735" y="1343665"/>
                  </a:lnTo>
                  <a:lnTo>
                    <a:pt x="1244600" y="1360110"/>
                  </a:lnTo>
                  <a:lnTo>
                    <a:pt x="1250950" y="1382335"/>
                  </a:lnTo>
                  <a:lnTo>
                    <a:pt x="1282700" y="1369635"/>
                  </a:lnTo>
                  <a:lnTo>
                    <a:pt x="1295164" y="1364650"/>
                  </a:lnTo>
                  <a:lnTo>
                    <a:pt x="1303754" y="1349820"/>
                  </a:lnTo>
                  <a:lnTo>
                    <a:pt x="1314450" y="1322010"/>
                  </a:lnTo>
                  <a:lnTo>
                    <a:pt x="1314929" y="1320414"/>
                  </a:lnTo>
                  <a:lnTo>
                    <a:pt x="1318507" y="1295820"/>
                  </a:lnTo>
                  <a:lnTo>
                    <a:pt x="1339028" y="1274658"/>
                  </a:lnTo>
                  <a:lnTo>
                    <a:pt x="1339777" y="1274458"/>
                  </a:lnTo>
                  <a:lnTo>
                    <a:pt x="1339850" y="1274385"/>
                  </a:lnTo>
                  <a:lnTo>
                    <a:pt x="1340052" y="1274385"/>
                  </a:lnTo>
                  <a:lnTo>
                    <a:pt x="1368339" y="1266848"/>
                  </a:lnTo>
                  <a:lnTo>
                    <a:pt x="1396027" y="1233311"/>
                  </a:lnTo>
                  <a:lnTo>
                    <a:pt x="1400591" y="1211168"/>
                  </a:lnTo>
                  <a:lnTo>
                    <a:pt x="1411342" y="1192608"/>
                  </a:lnTo>
                  <a:lnTo>
                    <a:pt x="1432843" y="1155488"/>
                  </a:lnTo>
                  <a:lnTo>
                    <a:pt x="1442613" y="1152884"/>
                  </a:lnTo>
                  <a:lnTo>
                    <a:pt x="1452383" y="1150282"/>
                  </a:lnTo>
                  <a:lnTo>
                    <a:pt x="1483317" y="1168199"/>
                  </a:lnTo>
                  <a:lnTo>
                    <a:pt x="1478752" y="1190343"/>
                  </a:lnTo>
                  <a:lnTo>
                    <a:pt x="1490145" y="1213467"/>
                  </a:lnTo>
                  <a:lnTo>
                    <a:pt x="1509685" y="1208261"/>
                  </a:lnTo>
                  <a:lnTo>
                    <a:pt x="1526623" y="1193284"/>
                  </a:lnTo>
                  <a:lnTo>
                    <a:pt x="1524358" y="1125873"/>
                  </a:lnTo>
                  <a:lnTo>
                    <a:pt x="1517529" y="1080605"/>
                  </a:lnTo>
                  <a:lnTo>
                    <a:pt x="1498969" y="1069855"/>
                  </a:lnTo>
                  <a:lnTo>
                    <a:pt x="1474223" y="1055521"/>
                  </a:lnTo>
                  <a:lnTo>
                    <a:pt x="1449476" y="1041186"/>
                  </a:lnTo>
                  <a:lnTo>
                    <a:pt x="1450456" y="1025229"/>
                  </a:lnTo>
                  <a:lnTo>
                    <a:pt x="1456000" y="987129"/>
                  </a:lnTo>
                  <a:lnTo>
                    <a:pt x="1485311" y="979319"/>
                  </a:lnTo>
                  <a:lnTo>
                    <a:pt x="1535143" y="950347"/>
                  </a:lnTo>
                  <a:lnTo>
                    <a:pt x="1597347" y="928542"/>
                  </a:lnTo>
                  <a:lnTo>
                    <a:pt x="1626658" y="920732"/>
                  </a:lnTo>
                  <a:lnTo>
                    <a:pt x="1664759" y="926277"/>
                  </a:lnTo>
                  <a:lnTo>
                    <a:pt x="1690485" y="924654"/>
                  </a:lnTo>
                  <a:lnTo>
                    <a:pt x="1700256" y="922050"/>
                  </a:lnTo>
                  <a:lnTo>
                    <a:pt x="1716212" y="923031"/>
                  </a:lnTo>
                  <a:lnTo>
                    <a:pt x="1735753" y="917825"/>
                  </a:lnTo>
                  <a:lnTo>
                    <a:pt x="1750058" y="916923"/>
                  </a:lnTo>
                  <a:close/>
                  <a:moveTo>
                    <a:pt x="1024895" y="704367"/>
                  </a:moveTo>
                  <a:lnTo>
                    <a:pt x="1056808" y="706328"/>
                  </a:lnTo>
                  <a:lnTo>
                    <a:pt x="1075368" y="717079"/>
                  </a:lnTo>
                  <a:lnTo>
                    <a:pt x="1067221" y="745409"/>
                  </a:lnTo>
                  <a:lnTo>
                    <a:pt x="1072427" y="764949"/>
                  </a:lnTo>
                  <a:lnTo>
                    <a:pt x="1081859" y="819987"/>
                  </a:lnTo>
                  <a:lnTo>
                    <a:pt x="1093253" y="843111"/>
                  </a:lnTo>
                  <a:lnTo>
                    <a:pt x="1107248" y="876005"/>
                  </a:lnTo>
                  <a:lnTo>
                    <a:pt x="1152178" y="926818"/>
                  </a:lnTo>
                  <a:lnTo>
                    <a:pt x="1191902" y="958088"/>
                  </a:lnTo>
                  <a:lnTo>
                    <a:pt x="1238791" y="976987"/>
                  </a:lnTo>
                  <a:lnTo>
                    <a:pt x="1270706" y="978948"/>
                  </a:lnTo>
                  <a:lnTo>
                    <a:pt x="1272328" y="1004676"/>
                  </a:lnTo>
                  <a:lnTo>
                    <a:pt x="1249205" y="1016068"/>
                  </a:lnTo>
                  <a:lnTo>
                    <a:pt x="1229664" y="1021274"/>
                  </a:lnTo>
                  <a:lnTo>
                    <a:pt x="1218913" y="1039834"/>
                  </a:lnTo>
                  <a:lnTo>
                    <a:pt x="1202956" y="1038854"/>
                  </a:lnTo>
                  <a:lnTo>
                    <a:pt x="1186018" y="1053830"/>
                  </a:lnTo>
                  <a:lnTo>
                    <a:pt x="1188622" y="1063600"/>
                  </a:lnTo>
                  <a:lnTo>
                    <a:pt x="1182436" y="1060017"/>
                  </a:lnTo>
                  <a:lnTo>
                    <a:pt x="1147918" y="1048286"/>
                  </a:lnTo>
                  <a:lnTo>
                    <a:pt x="1124794" y="1059679"/>
                  </a:lnTo>
                  <a:lnTo>
                    <a:pt x="1095484" y="1067488"/>
                  </a:lnTo>
                  <a:lnTo>
                    <a:pt x="1106234" y="1048928"/>
                  </a:lnTo>
                  <a:lnTo>
                    <a:pt x="1091258" y="1031991"/>
                  </a:lnTo>
                  <a:lnTo>
                    <a:pt x="1054138" y="1010490"/>
                  </a:lnTo>
                  <a:lnTo>
                    <a:pt x="1038181" y="1009510"/>
                  </a:lnTo>
                  <a:lnTo>
                    <a:pt x="1031994" y="1005926"/>
                  </a:lnTo>
                  <a:lnTo>
                    <a:pt x="1023204" y="992572"/>
                  </a:lnTo>
                  <a:lnTo>
                    <a:pt x="1008870" y="1017318"/>
                  </a:lnTo>
                  <a:lnTo>
                    <a:pt x="992913" y="1016338"/>
                  </a:lnTo>
                  <a:lnTo>
                    <a:pt x="965564" y="992234"/>
                  </a:lnTo>
                  <a:lnTo>
                    <a:pt x="965901" y="934593"/>
                  </a:lnTo>
                  <a:lnTo>
                    <a:pt x="975671" y="931990"/>
                  </a:lnTo>
                  <a:lnTo>
                    <a:pt x="985442" y="929387"/>
                  </a:lnTo>
                  <a:lnTo>
                    <a:pt x="977633" y="900076"/>
                  </a:lnTo>
                  <a:lnTo>
                    <a:pt x="976010" y="874349"/>
                  </a:lnTo>
                  <a:lnTo>
                    <a:pt x="954846" y="853828"/>
                  </a:lnTo>
                  <a:lnTo>
                    <a:pt x="952244" y="844058"/>
                  </a:lnTo>
                  <a:lnTo>
                    <a:pt x="956807" y="821915"/>
                  </a:lnTo>
                  <a:lnTo>
                    <a:pt x="963975" y="809541"/>
                  </a:lnTo>
                  <a:lnTo>
                    <a:pt x="956165" y="780231"/>
                  </a:lnTo>
                  <a:lnTo>
                    <a:pt x="960729" y="758087"/>
                  </a:lnTo>
                  <a:lnTo>
                    <a:pt x="995584" y="712177"/>
                  </a:lnTo>
                  <a:lnTo>
                    <a:pt x="1024895" y="704367"/>
                  </a:lnTo>
                  <a:close/>
                  <a:moveTo>
                    <a:pt x="1135443" y="0"/>
                  </a:moveTo>
                  <a:lnTo>
                    <a:pt x="1163773" y="8147"/>
                  </a:lnTo>
                  <a:lnTo>
                    <a:pt x="1181353" y="34854"/>
                  </a:lnTo>
                  <a:lnTo>
                    <a:pt x="1186559" y="54394"/>
                  </a:lnTo>
                  <a:lnTo>
                    <a:pt x="1184597" y="86309"/>
                  </a:lnTo>
                  <a:lnTo>
                    <a:pt x="1171887" y="136783"/>
                  </a:lnTo>
                  <a:lnTo>
                    <a:pt x="1160156" y="171300"/>
                  </a:lnTo>
                  <a:lnTo>
                    <a:pt x="1106403" y="264100"/>
                  </a:lnTo>
                  <a:lnTo>
                    <a:pt x="1082603" y="390775"/>
                  </a:lnTo>
                  <a:lnTo>
                    <a:pt x="1085206" y="400544"/>
                  </a:lnTo>
                  <a:lnTo>
                    <a:pt x="1070534" y="482932"/>
                  </a:lnTo>
                  <a:lnTo>
                    <a:pt x="1068573" y="514846"/>
                  </a:lnTo>
                  <a:lnTo>
                    <a:pt x="1069215" y="556530"/>
                  </a:lnTo>
                  <a:lnTo>
                    <a:pt x="1075706" y="659438"/>
                  </a:lnTo>
                  <a:lnTo>
                    <a:pt x="1067559" y="687768"/>
                  </a:lnTo>
                  <a:lnTo>
                    <a:pt x="1000147" y="690034"/>
                  </a:lnTo>
                  <a:lnTo>
                    <a:pt x="976043" y="717383"/>
                  </a:lnTo>
                  <a:lnTo>
                    <a:pt x="953900" y="712819"/>
                  </a:lnTo>
                  <a:lnTo>
                    <a:pt x="936320" y="686112"/>
                  </a:lnTo>
                  <a:lnTo>
                    <a:pt x="933717" y="676341"/>
                  </a:lnTo>
                  <a:lnTo>
                    <a:pt x="951635" y="645408"/>
                  </a:lnTo>
                  <a:lnTo>
                    <a:pt x="963365" y="610892"/>
                  </a:lnTo>
                  <a:lnTo>
                    <a:pt x="986490" y="599499"/>
                  </a:lnTo>
                  <a:lnTo>
                    <a:pt x="977700" y="586145"/>
                  </a:lnTo>
                  <a:lnTo>
                    <a:pt x="957517" y="549667"/>
                  </a:lnTo>
                  <a:lnTo>
                    <a:pt x="951330" y="546083"/>
                  </a:lnTo>
                  <a:lnTo>
                    <a:pt x="942540" y="532730"/>
                  </a:lnTo>
                  <a:lnTo>
                    <a:pt x="947104" y="510586"/>
                  </a:lnTo>
                  <a:lnTo>
                    <a:pt x="929525" y="483879"/>
                  </a:lnTo>
                  <a:lnTo>
                    <a:pt x="921715" y="454568"/>
                  </a:lnTo>
                  <a:lnTo>
                    <a:pt x="937672" y="455548"/>
                  </a:lnTo>
                  <a:lnTo>
                    <a:pt x="935069" y="445779"/>
                  </a:lnTo>
                  <a:lnTo>
                    <a:pt x="958531" y="376744"/>
                  </a:lnTo>
                  <a:lnTo>
                    <a:pt x="959511" y="360788"/>
                  </a:lnTo>
                  <a:lnTo>
                    <a:pt x="964075" y="338644"/>
                  </a:lnTo>
                  <a:lnTo>
                    <a:pt x="972223" y="310314"/>
                  </a:lnTo>
                  <a:lnTo>
                    <a:pt x="985577" y="301524"/>
                  </a:lnTo>
                  <a:lnTo>
                    <a:pt x="1010019" y="216533"/>
                  </a:lnTo>
                  <a:lnTo>
                    <a:pt x="1039330" y="208723"/>
                  </a:lnTo>
                  <a:lnTo>
                    <a:pt x="1077768" y="156627"/>
                  </a:lnTo>
                  <a:lnTo>
                    <a:pt x="1096666" y="109737"/>
                  </a:lnTo>
                  <a:lnTo>
                    <a:pt x="1092441" y="74240"/>
                  </a:lnTo>
                  <a:lnTo>
                    <a:pt x="1097004" y="52096"/>
                  </a:lnTo>
                  <a:lnTo>
                    <a:pt x="1115902" y="5206"/>
                  </a:lnTo>
                  <a:lnTo>
                    <a:pt x="1135443" y="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395" name="Freeform 222"/>
            <p:cNvSpPr>
              <a:spLocks/>
            </p:cNvSpPr>
            <p:nvPr/>
          </p:nvSpPr>
          <p:spPr bwMode="auto">
            <a:xfrm>
              <a:off x="3210677" y="143981"/>
              <a:ext cx="1595436" cy="3121314"/>
            </a:xfrm>
            <a:custGeom>
              <a:avLst/>
              <a:gdLst>
                <a:gd name="T0" fmla="*/ 609600 w 1595437"/>
                <a:gd name="T1" fmla="*/ 2137064 h 3121314"/>
                <a:gd name="T2" fmla="*/ 771525 w 1595437"/>
                <a:gd name="T3" fmla="*/ 1724314 h 3121314"/>
                <a:gd name="T4" fmla="*/ 854074 w 1595437"/>
                <a:gd name="T5" fmla="*/ 1730664 h 3121314"/>
                <a:gd name="T6" fmla="*/ 768350 w 1595437"/>
                <a:gd name="T7" fmla="*/ 1689389 h 3121314"/>
                <a:gd name="T8" fmla="*/ 866774 w 1595437"/>
                <a:gd name="T9" fmla="*/ 1610014 h 3121314"/>
                <a:gd name="T10" fmla="*/ 914399 w 1595437"/>
                <a:gd name="T11" fmla="*/ 1571914 h 3121314"/>
                <a:gd name="T12" fmla="*/ 995361 w 1595437"/>
                <a:gd name="T13" fmla="*/ 1521114 h 3121314"/>
                <a:gd name="T14" fmla="*/ 1036636 w 1595437"/>
                <a:gd name="T15" fmla="*/ 1476664 h 3121314"/>
                <a:gd name="T16" fmla="*/ 1211261 w 1595437"/>
                <a:gd name="T17" fmla="*/ 1425864 h 3121314"/>
                <a:gd name="T18" fmla="*/ 1230311 w 1595437"/>
                <a:gd name="T19" fmla="*/ 1394114 h 3121314"/>
                <a:gd name="T20" fmla="*/ 1309686 w 1595437"/>
                <a:gd name="T21" fmla="*/ 1336964 h 3121314"/>
                <a:gd name="T22" fmla="*/ 1519236 w 1595437"/>
                <a:gd name="T23" fmla="*/ 1371889 h 3121314"/>
                <a:gd name="T24" fmla="*/ 1512886 w 1595437"/>
                <a:gd name="T25" fmla="*/ 1476664 h 3121314"/>
                <a:gd name="T26" fmla="*/ 1589086 w 1595437"/>
                <a:gd name="T27" fmla="*/ 1495714 h 3121314"/>
                <a:gd name="T28" fmla="*/ 1516061 w 1595437"/>
                <a:gd name="T29" fmla="*/ 1613189 h 3121314"/>
                <a:gd name="T30" fmla="*/ 1401761 w 1595437"/>
                <a:gd name="T31" fmla="*/ 1492539 h 3121314"/>
                <a:gd name="T32" fmla="*/ 1271586 w 1595437"/>
                <a:gd name="T33" fmla="*/ 1676689 h 3121314"/>
                <a:gd name="T34" fmla="*/ 1112836 w 1595437"/>
                <a:gd name="T35" fmla="*/ 1619539 h 3121314"/>
                <a:gd name="T36" fmla="*/ 960436 w 1595437"/>
                <a:gd name="T37" fmla="*/ 1765589 h 3121314"/>
                <a:gd name="T38" fmla="*/ 835024 w 1595437"/>
                <a:gd name="T39" fmla="*/ 1949739 h 3121314"/>
                <a:gd name="T40" fmla="*/ 717550 w 1595437"/>
                <a:gd name="T41" fmla="*/ 2194214 h 3121314"/>
                <a:gd name="T42" fmla="*/ 606425 w 1595437"/>
                <a:gd name="T43" fmla="*/ 2340264 h 3121314"/>
                <a:gd name="T44" fmla="*/ 542925 w 1595437"/>
                <a:gd name="T45" fmla="*/ 2664114 h 3121314"/>
                <a:gd name="T46" fmla="*/ 530225 w 1595437"/>
                <a:gd name="T47" fmla="*/ 2886364 h 3121314"/>
                <a:gd name="T48" fmla="*/ 333375 w 1595437"/>
                <a:gd name="T49" fmla="*/ 3016538 h 3121314"/>
                <a:gd name="T50" fmla="*/ 38100 w 1595437"/>
                <a:gd name="T51" fmla="*/ 2949864 h 3121314"/>
                <a:gd name="T52" fmla="*/ 57150 w 1595437"/>
                <a:gd name="T53" fmla="*/ 2816514 h 3121314"/>
                <a:gd name="T54" fmla="*/ 60325 w 1595437"/>
                <a:gd name="T55" fmla="*/ 2626014 h 3121314"/>
                <a:gd name="T56" fmla="*/ 177800 w 1595437"/>
                <a:gd name="T57" fmla="*/ 2467264 h 3121314"/>
                <a:gd name="T58" fmla="*/ 381000 w 1595437"/>
                <a:gd name="T59" fmla="*/ 2384714 h 3121314"/>
                <a:gd name="T60" fmla="*/ 501650 w 1595437"/>
                <a:gd name="T61" fmla="*/ 2245014 h 3121314"/>
                <a:gd name="T62" fmla="*/ 600075 w 1595437"/>
                <a:gd name="T63" fmla="*/ 2181514 h 3121314"/>
                <a:gd name="T64" fmla="*/ 708025 w 1595437"/>
                <a:gd name="T65" fmla="*/ 1927514 h 3121314"/>
                <a:gd name="T66" fmla="*/ 790575 w 1595437"/>
                <a:gd name="T67" fmla="*/ 1800514 h 3121314"/>
                <a:gd name="T68" fmla="*/ 882649 w 1595437"/>
                <a:gd name="T69" fmla="*/ 1702089 h 3121314"/>
                <a:gd name="T70" fmla="*/ 1004886 w 1595437"/>
                <a:gd name="T71" fmla="*/ 1559214 h 3121314"/>
                <a:gd name="T72" fmla="*/ 1182686 w 1595437"/>
                <a:gd name="T73" fmla="*/ 1473489 h 3121314"/>
                <a:gd name="T74" fmla="*/ 1322386 w 1595437"/>
                <a:gd name="T75" fmla="*/ 1368714 h 3121314"/>
                <a:gd name="T76" fmla="*/ 1357311 w 1595437"/>
                <a:gd name="T77" fmla="*/ 1371889 h 3121314"/>
                <a:gd name="T78" fmla="*/ 1439861 w 1595437"/>
                <a:gd name="T79" fmla="*/ 1333789 h 3121314"/>
                <a:gd name="T80" fmla="*/ 1329121 w 1595437"/>
                <a:gd name="T81" fmla="*/ 418893 h 3121314"/>
                <a:gd name="T82" fmla="*/ 1237971 w 1595437"/>
                <a:gd name="T83" fmla="*/ 436078 h 3121314"/>
                <a:gd name="T84" fmla="*/ 1273255 w 1595437"/>
                <a:gd name="T85" fmla="*/ 271933 h 3121314"/>
                <a:gd name="T86" fmla="*/ 1273255 w 1595437"/>
                <a:gd name="T87" fmla="*/ 271933 h 3121314"/>
                <a:gd name="T88" fmla="*/ 1014865 w 1595437"/>
                <a:gd name="T89" fmla="*/ 179322 h 3121314"/>
                <a:gd name="T90" fmla="*/ 1249936 w 1595437"/>
                <a:gd name="T91" fmla="*/ 217401 h 3121314"/>
                <a:gd name="T92" fmla="*/ 1198500 w 1595437"/>
                <a:gd name="T93" fmla="*/ 315231 h 3121314"/>
                <a:gd name="T94" fmla="*/ 1067449 w 1595437"/>
                <a:gd name="T95" fmla="*/ 477612 h 3121314"/>
                <a:gd name="T96" fmla="*/ 1069212 w 1595437"/>
                <a:gd name="T97" fmla="*/ 381846 h 3121314"/>
                <a:gd name="T98" fmla="*/ 1124232 w 1595437"/>
                <a:gd name="T99" fmla="*/ 278125 h 3121314"/>
                <a:gd name="T100" fmla="*/ 1046138 w 1595437"/>
                <a:gd name="T101" fmla="*/ 287112 h 3121314"/>
                <a:gd name="T102" fmla="*/ 1126725 w 1595437"/>
                <a:gd name="T103" fmla="*/ 61757 h 3121314"/>
                <a:gd name="T104" fmla="*/ 1169233 w 1595437"/>
                <a:gd name="T105" fmla="*/ 71474 h 3121314"/>
                <a:gd name="T106" fmla="*/ 1345645 w 1595437"/>
                <a:gd name="T107" fmla="*/ 33523 h 3121314"/>
                <a:gd name="T108" fmla="*/ 1418880 w 1595437"/>
                <a:gd name="T109" fmla="*/ 45791 h 3121314"/>
                <a:gd name="T110" fmla="*/ 1315219 w 1595437"/>
                <a:gd name="T111" fmla="*/ 176411 h 3121314"/>
                <a:gd name="T112" fmla="*/ 1221215 w 1595437"/>
                <a:gd name="T113" fmla="*/ 78883 h 312131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595437"/>
                <a:gd name="T172" fmla="*/ 0 h 3121314"/>
                <a:gd name="T173" fmla="*/ 1595437 w 1595437"/>
                <a:gd name="T174" fmla="*/ 3121314 h 312131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595437" h="3121314">
                  <a:moveTo>
                    <a:pt x="368300" y="2349790"/>
                  </a:moveTo>
                  <a:lnTo>
                    <a:pt x="377825" y="2365665"/>
                  </a:lnTo>
                  <a:lnTo>
                    <a:pt x="377825" y="2368840"/>
                  </a:lnTo>
                  <a:lnTo>
                    <a:pt x="320675" y="2372015"/>
                  </a:lnTo>
                  <a:lnTo>
                    <a:pt x="346075" y="2352965"/>
                  </a:lnTo>
                  <a:lnTo>
                    <a:pt x="368300" y="2349790"/>
                  </a:lnTo>
                  <a:close/>
                  <a:moveTo>
                    <a:pt x="600075" y="2108490"/>
                  </a:moveTo>
                  <a:lnTo>
                    <a:pt x="609600" y="2137065"/>
                  </a:lnTo>
                  <a:lnTo>
                    <a:pt x="584200" y="2156115"/>
                  </a:lnTo>
                  <a:lnTo>
                    <a:pt x="600075" y="2108490"/>
                  </a:lnTo>
                  <a:close/>
                  <a:moveTo>
                    <a:pt x="723900" y="1737014"/>
                  </a:moveTo>
                  <a:lnTo>
                    <a:pt x="749300" y="1743364"/>
                  </a:lnTo>
                  <a:lnTo>
                    <a:pt x="733425" y="1762414"/>
                  </a:lnTo>
                  <a:lnTo>
                    <a:pt x="714375" y="1771939"/>
                  </a:lnTo>
                  <a:lnTo>
                    <a:pt x="723900" y="1737014"/>
                  </a:lnTo>
                  <a:close/>
                  <a:moveTo>
                    <a:pt x="771525" y="1724314"/>
                  </a:moveTo>
                  <a:lnTo>
                    <a:pt x="800100" y="1724314"/>
                  </a:lnTo>
                  <a:lnTo>
                    <a:pt x="771525" y="1752889"/>
                  </a:lnTo>
                  <a:lnTo>
                    <a:pt x="755650" y="1759239"/>
                  </a:lnTo>
                  <a:lnTo>
                    <a:pt x="746125" y="1759239"/>
                  </a:lnTo>
                  <a:lnTo>
                    <a:pt x="771525" y="1724314"/>
                  </a:lnTo>
                  <a:close/>
                  <a:moveTo>
                    <a:pt x="860425" y="1657639"/>
                  </a:moveTo>
                  <a:lnTo>
                    <a:pt x="879475" y="1711614"/>
                  </a:lnTo>
                  <a:lnTo>
                    <a:pt x="854075" y="1730664"/>
                  </a:lnTo>
                  <a:lnTo>
                    <a:pt x="838200" y="1740189"/>
                  </a:lnTo>
                  <a:lnTo>
                    <a:pt x="796925" y="1746539"/>
                  </a:lnTo>
                  <a:lnTo>
                    <a:pt x="828675" y="1670339"/>
                  </a:lnTo>
                  <a:lnTo>
                    <a:pt x="860425" y="1657639"/>
                  </a:lnTo>
                  <a:close/>
                  <a:moveTo>
                    <a:pt x="806450" y="1635414"/>
                  </a:moveTo>
                  <a:lnTo>
                    <a:pt x="815975" y="1686214"/>
                  </a:lnTo>
                  <a:lnTo>
                    <a:pt x="787400" y="1689389"/>
                  </a:lnTo>
                  <a:lnTo>
                    <a:pt x="768350" y="1689389"/>
                  </a:lnTo>
                  <a:lnTo>
                    <a:pt x="771525" y="1663989"/>
                  </a:lnTo>
                  <a:lnTo>
                    <a:pt x="790575" y="1648114"/>
                  </a:lnTo>
                  <a:lnTo>
                    <a:pt x="806450" y="1635414"/>
                  </a:lnTo>
                  <a:close/>
                  <a:moveTo>
                    <a:pt x="866775" y="1610014"/>
                  </a:moveTo>
                  <a:lnTo>
                    <a:pt x="844550" y="1644939"/>
                  </a:lnTo>
                  <a:lnTo>
                    <a:pt x="825500" y="1657639"/>
                  </a:lnTo>
                  <a:lnTo>
                    <a:pt x="850900" y="1613189"/>
                  </a:lnTo>
                  <a:lnTo>
                    <a:pt x="866775" y="1610014"/>
                  </a:lnTo>
                  <a:close/>
                  <a:moveTo>
                    <a:pt x="949324" y="1568739"/>
                  </a:moveTo>
                  <a:lnTo>
                    <a:pt x="954087" y="1597314"/>
                  </a:lnTo>
                  <a:lnTo>
                    <a:pt x="942974" y="1619539"/>
                  </a:lnTo>
                  <a:lnTo>
                    <a:pt x="898525" y="1638589"/>
                  </a:lnTo>
                  <a:lnTo>
                    <a:pt x="901700" y="1619539"/>
                  </a:lnTo>
                  <a:lnTo>
                    <a:pt x="892175" y="1610014"/>
                  </a:lnTo>
                  <a:lnTo>
                    <a:pt x="895350" y="1587789"/>
                  </a:lnTo>
                  <a:lnTo>
                    <a:pt x="914400" y="1571914"/>
                  </a:lnTo>
                  <a:lnTo>
                    <a:pt x="949324" y="1568739"/>
                  </a:lnTo>
                  <a:close/>
                  <a:moveTo>
                    <a:pt x="995362" y="1521114"/>
                  </a:moveTo>
                  <a:lnTo>
                    <a:pt x="1004887" y="1530639"/>
                  </a:lnTo>
                  <a:lnTo>
                    <a:pt x="989012" y="1565564"/>
                  </a:lnTo>
                  <a:lnTo>
                    <a:pt x="960437" y="1568739"/>
                  </a:lnTo>
                  <a:lnTo>
                    <a:pt x="950912" y="1559214"/>
                  </a:lnTo>
                  <a:lnTo>
                    <a:pt x="982662" y="1524289"/>
                  </a:lnTo>
                  <a:lnTo>
                    <a:pt x="995362" y="1521114"/>
                  </a:lnTo>
                  <a:close/>
                  <a:moveTo>
                    <a:pt x="1033462" y="1492539"/>
                  </a:moveTo>
                  <a:lnTo>
                    <a:pt x="1046162" y="1502064"/>
                  </a:lnTo>
                  <a:lnTo>
                    <a:pt x="1039812" y="1517939"/>
                  </a:lnTo>
                  <a:lnTo>
                    <a:pt x="1017587" y="1530639"/>
                  </a:lnTo>
                  <a:lnTo>
                    <a:pt x="1001712" y="1514764"/>
                  </a:lnTo>
                  <a:lnTo>
                    <a:pt x="1004887" y="1502064"/>
                  </a:lnTo>
                  <a:lnTo>
                    <a:pt x="1033462" y="1492539"/>
                  </a:lnTo>
                  <a:close/>
                  <a:moveTo>
                    <a:pt x="1036637" y="1476664"/>
                  </a:moveTo>
                  <a:lnTo>
                    <a:pt x="1065212" y="1492539"/>
                  </a:lnTo>
                  <a:lnTo>
                    <a:pt x="1055687" y="1502064"/>
                  </a:lnTo>
                  <a:lnTo>
                    <a:pt x="1036637" y="1476664"/>
                  </a:lnTo>
                  <a:close/>
                  <a:moveTo>
                    <a:pt x="1227137" y="1419514"/>
                  </a:moveTo>
                  <a:lnTo>
                    <a:pt x="1227137" y="1451264"/>
                  </a:lnTo>
                  <a:lnTo>
                    <a:pt x="1211262" y="1470314"/>
                  </a:lnTo>
                  <a:lnTo>
                    <a:pt x="1195387" y="1451264"/>
                  </a:lnTo>
                  <a:lnTo>
                    <a:pt x="1211262" y="1425864"/>
                  </a:lnTo>
                  <a:lnTo>
                    <a:pt x="1227137" y="1419514"/>
                  </a:lnTo>
                  <a:close/>
                  <a:moveTo>
                    <a:pt x="1173162" y="1409989"/>
                  </a:moveTo>
                  <a:lnTo>
                    <a:pt x="1185862" y="1413164"/>
                  </a:lnTo>
                  <a:lnTo>
                    <a:pt x="1182687" y="1416339"/>
                  </a:lnTo>
                  <a:lnTo>
                    <a:pt x="1160462" y="1441739"/>
                  </a:lnTo>
                  <a:lnTo>
                    <a:pt x="1169987" y="1425864"/>
                  </a:lnTo>
                  <a:lnTo>
                    <a:pt x="1173162" y="1409989"/>
                  </a:lnTo>
                  <a:close/>
                  <a:moveTo>
                    <a:pt x="1230312" y="1394114"/>
                  </a:moveTo>
                  <a:lnTo>
                    <a:pt x="1246187" y="1400464"/>
                  </a:lnTo>
                  <a:lnTo>
                    <a:pt x="1236662" y="1425864"/>
                  </a:lnTo>
                  <a:lnTo>
                    <a:pt x="1230312" y="1394114"/>
                  </a:lnTo>
                  <a:close/>
                  <a:moveTo>
                    <a:pt x="1309687" y="1336964"/>
                  </a:moveTo>
                  <a:lnTo>
                    <a:pt x="1331912" y="1336964"/>
                  </a:lnTo>
                  <a:lnTo>
                    <a:pt x="1344612" y="1349664"/>
                  </a:lnTo>
                  <a:lnTo>
                    <a:pt x="1319212" y="1362364"/>
                  </a:lnTo>
                  <a:lnTo>
                    <a:pt x="1309687" y="1336964"/>
                  </a:lnTo>
                  <a:close/>
                  <a:moveTo>
                    <a:pt x="1439862" y="1333789"/>
                  </a:moveTo>
                  <a:lnTo>
                    <a:pt x="1455737" y="1346489"/>
                  </a:lnTo>
                  <a:lnTo>
                    <a:pt x="1455737" y="1362364"/>
                  </a:lnTo>
                  <a:lnTo>
                    <a:pt x="1462087" y="1378239"/>
                  </a:lnTo>
                  <a:lnTo>
                    <a:pt x="1500187" y="1368714"/>
                  </a:lnTo>
                  <a:lnTo>
                    <a:pt x="1497012" y="1387764"/>
                  </a:lnTo>
                  <a:lnTo>
                    <a:pt x="1509712" y="1381414"/>
                  </a:lnTo>
                  <a:lnTo>
                    <a:pt x="1519237" y="1371889"/>
                  </a:lnTo>
                  <a:lnTo>
                    <a:pt x="1535112" y="1371889"/>
                  </a:lnTo>
                  <a:lnTo>
                    <a:pt x="1573212" y="1397289"/>
                  </a:lnTo>
                  <a:lnTo>
                    <a:pt x="1582737" y="1406814"/>
                  </a:lnTo>
                  <a:lnTo>
                    <a:pt x="1589087" y="1425864"/>
                  </a:lnTo>
                  <a:lnTo>
                    <a:pt x="1535112" y="1467139"/>
                  </a:lnTo>
                  <a:lnTo>
                    <a:pt x="1503362" y="1460789"/>
                  </a:lnTo>
                  <a:lnTo>
                    <a:pt x="1474787" y="1460789"/>
                  </a:lnTo>
                  <a:lnTo>
                    <a:pt x="1512887" y="1476664"/>
                  </a:lnTo>
                  <a:lnTo>
                    <a:pt x="1531937" y="1479839"/>
                  </a:lnTo>
                  <a:lnTo>
                    <a:pt x="1538287" y="1511589"/>
                  </a:lnTo>
                  <a:lnTo>
                    <a:pt x="1550987" y="1511589"/>
                  </a:lnTo>
                  <a:lnTo>
                    <a:pt x="1563687" y="1514764"/>
                  </a:lnTo>
                  <a:lnTo>
                    <a:pt x="1563687" y="1505239"/>
                  </a:lnTo>
                  <a:lnTo>
                    <a:pt x="1557337" y="1492539"/>
                  </a:lnTo>
                  <a:lnTo>
                    <a:pt x="1563687" y="1489364"/>
                  </a:lnTo>
                  <a:lnTo>
                    <a:pt x="1589087" y="1495714"/>
                  </a:lnTo>
                  <a:lnTo>
                    <a:pt x="1592262" y="1495714"/>
                  </a:lnTo>
                  <a:lnTo>
                    <a:pt x="1595437" y="1533814"/>
                  </a:lnTo>
                  <a:lnTo>
                    <a:pt x="1573212" y="1533814"/>
                  </a:lnTo>
                  <a:lnTo>
                    <a:pt x="1560512" y="1546514"/>
                  </a:lnTo>
                  <a:lnTo>
                    <a:pt x="1528762" y="1575089"/>
                  </a:lnTo>
                  <a:lnTo>
                    <a:pt x="1528762" y="1587789"/>
                  </a:lnTo>
                  <a:lnTo>
                    <a:pt x="1519237" y="1616364"/>
                  </a:lnTo>
                  <a:lnTo>
                    <a:pt x="1516062" y="1613189"/>
                  </a:lnTo>
                  <a:lnTo>
                    <a:pt x="1506537" y="1600489"/>
                  </a:lnTo>
                  <a:lnTo>
                    <a:pt x="1512887" y="1578264"/>
                  </a:lnTo>
                  <a:lnTo>
                    <a:pt x="1522412" y="1556039"/>
                  </a:lnTo>
                  <a:lnTo>
                    <a:pt x="1512887" y="1524289"/>
                  </a:lnTo>
                  <a:lnTo>
                    <a:pt x="1497012" y="1517939"/>
                  </a:lnTo>
                  <a:lnTo>
                    <a:pt x="1474787" y="1511589"/>
                  </a:lnTo>
                  <a:lnTo>
                    <a:pt x="1446212" y="1476664"/>
                  </a:lnTo>
                  <a:lnTo>
                    <a:pt x="1401762" y="1492539"/>
                  </a:lnTo>
                  <a:lnTo>
                    <a:pt x="1379537" y="1505239"/>
                  </a:lnTo>
                  <a:lnTo>
                    <a:pt x="1363662" y="1530639"/>
                  </a:lnTo>
                  <a:lnTo>
                    <a:pt x="1350962" y="1578264"/>
                  </a:lnTo>
                  <a:lnTo>
                    <a:pt x="1347787" y="1600489"/>
                  </a:lnTo>
                  <a:lnTo>
                    <a:pt x="1350962" y="1622714"/>
                  </a:lnTo>
                  <a:lnTo>
                    <a:pt x="1316037" y="1698914"/>
                  </a:lnTo>
                  <a:lnTo>
                    <a:pt x="1287462" y="1683039"/>
                  </a:lnTo>
                  <a:lnTo>
                    <a:pt x="1271587" y="1676689"/>
                  </a:lnTo>
                  <a:lnTo>
                    <a:pt x="1252537" y="1686214"/>
                  </a:lnTo>
                  <a:lnTo>
                    <a:pt x="1227137" y="1698914"/>
                  </a:lnTo>
                  <a:lnTo>
                    <a:pt x="1195387" y="1689389"/>
                  </a:lnTo>
                  <a:lnTo>
                    <a:pt x="1173162" y="1657639"/>
                  </a:lnTo>
                  <a:lnTo>
                    <a:pt x="1157287" y="1632239"/>
                  </a:lnTo>
                  <a:lnTo>
                    <a:pt x="1144587" y="1610014"/>
                  </a:lnTo>
                  <a:lnTo>
                    <a:pt x="1128712" y="1606839"/>
                  </a:lnTo>
                  <a:lnTo>
                    <a:pt x="1112837" y="1619539"/>
                  </a:lnTo>
                  <a:lnTo>
                    <a:pt x="1090612" y="1644939"/>
                  </a:lnTo>
                  <a:lnTo>
                    <a:pt x="1065212" y="1644939"/>
                  </a:lnTo>
                  <a:lnTo>
                    <a:pt x="1074737" y="1667164"/>
                  </a:lnTo>
                  <a:lnTo>
                    <a:pt x="1071562" y="1714789"/>
                  </a:lnTo>
                  <a:lnTo>
                    <a:pt x="1049337" y="1743364"/>
                  </a:lnTo>
                  <a:lnTo>
                    <a:pt x="979487" y="1717964"/>
                  </a:lnTo>
                  <a:lnTo>
                    <a:pt x="957262" y="1733839"/>
                  </a:lnTo>
                  <a:lnTo>
                    <a:pt x="960437" y="1765589"/>
                  </a:lnTo>
                  <a:lnTo>
                    <a:pt x="949324" y="1794164"/>
                  </a:lnTo>
                  <a:lnTo>
                    <a:pt x="927099" y="1784639"/>
                  </a:lnTo>
                  <a:lnTo>
                    <a:pt x="914400" y="1778289"/>
                  </a:lnTo>
                  <a:lnTo>
                    <a:pt x="892175" y="1800514"/>
                  </a:lnTo>
                  <a:lnTo>
                    <a:pt x="876300" y="1829089"/>
                  </a:lnTo>
                  <a:lnTo>
                    <a:pt x="854075" y="1883064"/>
                  </a:lnTo>
                  <a:lnTo>
                    <a:pt x="857250" y="1921164"/>
                  </a:lnTo>
                  <a:lnTo>
                    <a:pt x="835025" y="1949739"/>
                  </a:lnTo>
                  <a:lnTo>
                    <a:pt x="806450" y="1987839"/>
                  </a:lnTo>
                  <a:lnTo>
                    <a:pt x="796925" y="2000539"/>
                  </a:lnTo>
                  <a:lnTo>
                    <a:pt x="800100" y="2025939"/>
                  </a:lnTo>
                  <a:lnTo>
                    <a:pt x="765175" y="2054514"/>
                  </a:lnTo>
                  <a:lnTo>
                    <a:pt x="746125" y="2073564"/>
                  </a:lnTo>
                  <a:lnTo>
                    <a:pt x="739775" y="2121189"/>
                  </a:lnTo>
                  <a:lnTo>
                    <a:pt x="733425" y="2159289"/>
                  </a:lnTo>
                  <a:lnTo>
                    <a:pt x="717550" y="2194214"/>
                  </a:lnTo>
                  <a:lnTo>
                    <a:pt x="679450" y="2248189"/>
                  </a:lnTo>
                  <a:lnTo>
                    <a:pt x="695325" y="2273589"/>
                  </a:lnTo>
                  <a:lnTo>
                    <a:pt x="701675" y="2302164"/>
                  </a:lnTo>
                  <a:lnTo>
                    <a:pt x="698500" y="2318039"/>
                  </a:lnTo>
                  <a:lnTo>
                    <a:pt x="685800" y="2340264"/>
                  </a:lnTo>
                  <a:lnTo>
                    <a:pt x="669925" y="2333914"/>
                  </a:lnTo>
                  <a:lnTo>
                    <a:pt x="631825" y="2327564"/>
                  </a:lnTo>
                  <a:lnTo>
                    <a:pt x="606425" y="2340264"/>
                  </a:lnTo>
                  <a:lnTo>
                    <a:pt x="571500" y="2378364"/>
                  </a:lnTo>
                  <a:lnTo>
                    <a:pt x="561975" y="2397414"/>
                  </a:lnTo>
                  <a:lnTo>
                    <a:pt x="546100" y="2432339"/>
                  </a:lnTo>
                  <a:lnTo>
                    <a:pt x="546100" y="2508539"/>
                  </a:lnTo>
                  <a:lnTo>
                    <a:pt x="549275" y="2556164"/>
                  </a:lnTo>
                  <a:lnTo>
                    <a:pt x="542925" y="2597439"/>
                  </a:lnTo>
                  <a:lnTo>
                    <a:pt x="536575" y="2632364"/>
                  </a:lnTo>
                  <a:lnTo>
                    <a:pt x="542925" y="2664114"/>
                  </a:lnTo>
                  <a:lnTo>
                    <a:pt x="552450" y="2673639"/>
                  </a:lnTo>
                  <a:lnTo>
                    <a:pt x="571500" y="2695864"/>
                  </a:lnTo>
                  <a:lnTo>
                    <a:pt x="571500" y="2721264"/>
                  </a:lnTo>
                  <a:lnTo>
                    <a:pt x="555625" y="2746664"/>
                  </a:lnTo>
                  <a:lnTo>
                    <a:pt x="527050" y="2753014"/>
                  </a:lnTo>
                  <a:lnTo>
                    <a:pt x="539750" y="2800639"/>
                  </a:lnTo>
                  <a:lnTo>
                    <a:pt x="542925" y="2838739"/>
                  </a:lnTo>
                  <a:lnTo>
                    <a:pt x="530225" y="2886364"/>
                  </a:lnTo>
                  <a:lnTo>
                    <a:pt x="495300" y="2918114"/>
                  </a:lnTo>
                  <a:lnTo>
                    <a:pt x="466725" y="2946689"/>
                  </a:lnTo>
                  <a:lnTo>
                    <a:pt x="469900" y="2991139"/>
                  </a:lnTo>
                  <a:lnTo>
                    <a:pt x="450850" y="3041939"/>
                  </a:lnTo>
                  <a:lnTo>
                    <a:pt x="422275" y="3013364"/>
                  </a:lnTo>
                  <a:lnTo>
                    <a:pt x="403225" y="3000664"/>
                  </a:lnTo>
                  <a:lnTo>
                    <a:pt x="371475" y="2984789"/>
                  </a:lnTo>
                  <a:lnTo>
                    <a:pt x="333375" y="3016539"/>
                  </a:lnTo>
                  <a:lnTo>
                    <a:pt x="234950" y="3076864"/>
                  </a:lnTo>
                  <a:lnTo>
                    <a:pt x="187325" y="3111789"/>
                  </a:lnTo>
                  <a:lnTo>
                    <a:pt x="139700" y="3121314"/>
                  </a:lnTo>
                  <a:lnTo>
                    <a:pt x="63500" y="3086389"/>
                  </a:lnTo>
                  <a:lnTo>
                    <a:pt x="22225" y="3038764"/>
                  </a:lnTo>
                  <a:lnTo>
                    <a:pt x="0" y="2987964"/>
                  </a:lnTo>
                  <a:lnTo>
                    <a:pt x="15875" y="2965739"/>
                  </a:lnTo>
                  <a:lnTo>
                    <a:pt x="38100" y="2949864"/>
                  </a:lnTo>
                  <a:lnTo>
                    <a:pt x="69850" y="2914939"/>
                  </a:lnTo>
                  <a:lnTo>
                    <a:pt x="44450" y="2911764"/>
                  </a:lnTo>
                  <a:lnTo>
                    <a:pt x="19050" y="2914939"/>
                  </a:lnTo>
                  <a:lnTo>
                    <a:pt x="6350" y="2899064"/>
                  </a:lnTo>
                  <a:lnTo>
                    <a:pt x="12700" y="2867314"/>
                  </a:lnTo>
                  <a:lnTo>
                    <a:pt x="31750" y="2854614"/>
                  </a:lnTo>
                  <a:lnTo>
                    <a:pt x="57150" y="2829214"/>
                  </a:lnTo>
                  <a:lnTo>
                    <a:pt x="57150" y="2816514"/>
                  </a:lnTo>
                  <a:lnTo>
                    <a:pt x="50800" y="2794289"/>
                  </a:lnTo>
                  <a:lnTo>
                    <a:pt x="34925" y="2794289"/>
                  </a:lnTo>
                  <a:lnTo>
                    <a:pt x="28575" y="2759364"/>
                  </a:lnTo>
                  <a:lnTo>
                    <a:pt x="44450" y="2740314"/>
                  </a:lnTo>
                  <a:lnTo>
                    <a:pt x="44450" y="2695864"/>
                  </a:lnTo>
                  <a:lnTo>
                    <a:pt x="41275" y="2664114"/>
                  </a:lnTo>
                  <a:lnTo>
                    <a:pt x="44450" y="2645064"/>
                  </a:lnTo>
                  <a:lnTo>
                    <a:pt x="60325" y="2626014"/>
                  </a:lnTo>
                  <a:lnTo>
                    <a:pt x="63500" y="2603789"/>
                  </a:lnTo>
                  <a:lnTo>
                    <a:pt x="57150" y="2575214"/>
                  </a:lnTo>
                  <a:lnTo>
                    <a:pt x="79375" y="2556164"/>
                  </a:lnTo>
                  <a:lnTo>
                    <a:pt x="82550" y="2508539"/>
                  </a:lnTo>
                  <a:lnTo>
                    <a:pt x="120650" y="2511714"/>
                  </a:lnTo>
                  <a:lnTo>
                    <a:pt x="146050" y="2505364"/>
                  </a:lnTo>
                  <a:lnTo>
                    <a:pt x="168275" y="2467264"/>
                  </a:lnTo>
                  <a:lnTo>
                    <a:pt x="177800" y="2467264"/>
                  </a:lnTo>
                  <a:lnTo>
                    <a:pt x="212725" y="2470439"/>
                  </a:lnTo>
                  <a:lnTo>
                    <a:pt x="219075" y="2457739"/>
                  </a:lnTo>
                  <a:lnTo>
                    <a:pt x="222250" y="2429164"/>
                  </a:lnTo>
                  <a:lnTo>
                    <a:pt x="247650" y="2422814"/>
                  </a:lnTo>
                  <a:lnTo>
                    <a:pt x="285750" y="2435514"/>
                  </a:lnTo>
                  <a:lnTo>
                    <a:pt x="298450" y="2416464"/>
                  </a:lnTo>
                  <a:lnTo>
                    <a:pt x="336550" y="2387889"/>
                  </a:lnTo>
                  <a:lnTo>
                    <a:pt x="381000" y="2384714"/>
                  </a:lnTo>
                  <a:lnTo>
                    <a:pt x="384175" y="2372014"/>
                  </a:lnTo>
                  <a:lnTo>
                    <a:pt x="409575" y="2362489"/>
                  </a:lnTo>
                  <a:lnTo>
                    <a:pt x="409575" y="2337089"/>
                  </a:lnTo>
                  <a:lnTo>
                    <a:pt x="438150" y="2302164"/>
                  </a:lnTo>
                  <a:lnTo>
                    <a:pt x="460375" y="2283114"/>
                  </a:lnTo>
                  <a:lnTo>
                    <a:pt x="479425" y="2257714"/>
                  </a:lnTo>
                  <a:lnTo>
                    <a:pt x="501650" y="2267239"/>
                  </a:lnTo>
                  <a:lnTo>
                    <a:pt x="501650" y="2245014"/>
                  </a:lnTo>
                  <a:lnTo>
                    <a:pt x="517525" y="2245014"/>
                  </a:lnTo>
                  <a:lnTo>
                    <a:pt x="530225" y="2264064"/>
                  </a:lnTo>
                  <a:lnTo>
                    <a:pt x="546100" y="2248189"/>
                  </a:lnTo>
                  <a:lnTo>
                    <a:pt x="539750" y="2229139"/>
                  </a:lnTo>
                  <a:lnTo>
                    <a:pt x="530225" y="2216439"/>
                  </a:lnTo>
                  <a:lnTo>
                    <a:pt x="549275" y="2194214"/>
                  </a:lnTo>
                  <a:lnTo>
                    <a:pt x="581025" y="2178339"/>
                  </a:lnTo>
                  <a:lnTo>
                    <a:pt x="600075" y="2181514"/>
                  </a:lnTo>
                  <a:lnTo>
                    <a:pt x="615950" y="2146589"/>
                  </a:lnTo>
                  <a:lnTo>
                    <a:pt x="612775" y="2108489"/>
                  </a:lnTo>
                  <a:lnTo>
                    <a:pt x="619125" y="2086264"/>
                  </a:lnTo>
                  <a:lnTo>
                    <a:pt x="638175" y="2048164"/>
                  </a:lnTo>
                  <a:lnTo>
                    <a:pt x="647700" y="2038639"/>
                  </a:lnTo>
                  <a:lnTo>
                    <a:pt x="660400" y="2006889"/>
                  </a:lnTo>
                  <a:lnTo>
                    <a:pt x="669925" y="1978314"/>
                  </a:lnTo>
                  <a:lnTo>
                    <a:pt x="708025" y="1927514"/>
                  </a:lnTo>
                  <a:lnTo>
                    <a:pt x="733425" y="1924339"/>
                  </a:lnTo>
                  <a:lnTo>
                    <a:pt x="755650" y="1898939"/>
                  </a:lnTo>
                  <a:lnTo>
                    <a:pt x="777875" y="1895764"/>
                  </a:lnTo>
                  <a:lnTo>
                    <a:pt x="777875" y="1889414"/>
                  </a:lnTo>
                  <a:lnTo>
                    <a:pt x="774700" y="1851314"/>
                  </a:lnTo>
                  <a:lnTo>
                    <a:pt x="796925" y="1819564"/>
                  </a:lnTo>
                  <a:lnTo>
                    <a:pt x="781050" y="1813214"/>
                  </a:lnTo>
                  <a:lnTo>
                    <a:pt x="790575" y="1800514"/>
                  </a:lnTo>
                  <a:lnTo>
                    <a:pt x="806450" y="1797339"/>
                  </a:lnTo>
                  <a:lnTo>
                    <a:pt x="835025" y="1797339"/>
                  </a:lnTo>
                  <a:lnTo>
                    <a:pt x="844550" y="1784639"/>
                  </a:lnTo>
                  <a:lnTo>
                    <a:pt x="857250" y="1790989"/>
                  </a:lnTo>
                  <a:lnTo>
                    <a:pt x="885825" y="1778289"/>
                  </a:lnTo>
                  <a:lnTo>
                    <a:pt x="873125" y="1759239"/>
                  </a:lnTo>
                  <a:lnTo>
                    <a:pt x="876300" y="1727489"/>
                  </a:lnTo>
                  <a:lnTo>
                    <a:pt x="882650" y="1702089"/>
                  </a:lnTo>
                  <a:lnTo>
                    <a:pt x="895350" y="1692564"/>
                  </a:lnTo>
                  <a:lnTo>
                    <a:pt x="914400" y="1676689"/>
                  </a:lnTo>
                  <a:lnTo>
                    <a:pt x="930274" y="1660814"/>
                  </a:lnTo>
                  <a:lnTo>
                    <a:pt x="942974" y="1635414"/>
                  </a:lnTo>
                  <a:lnTo>
                    <a:pt x="969962" y="1584614"/>
                  </a:lnTo>
                  <a:lnTo>
                    <a:pt x="982662" y="1578264"/>
                  </a:lnTo>
                  <a:lnTo>
                    <a:pt x="989012" y="1571914"/>
                  </a:lnTo>
                  <a:lnTo>
                    <a:pt x="1004887" y="1559214"/>
                  </a:lnTo>
                  <a:lnTo>
                    <a:pt x="1071562" y="1514764"/>
                  </a:lnTo>
                  <a:lnTo>
                    <a:pt x="1077912" y="1524289"/>
                  </a:lnTo>
                  <a:lnTo>
                    <a:pt x="1087437" y="1543339"/>
                  </a:lnTo>
                  <a:lnTo>
                    <a:pt x="1103312" y="1530639"/>
                  </a:lnTo>
                  <a:lnTo>
                    <a:pt x="1119187" y="1511589"/>
                  </a:lnTo>
                  <a:lnTo>
                    <a:pt x="1119187" y="1479839"/>
                  </a:lnTo>
                  <a:lnTo>
                    <a:pt x="1160462" y="1467139"/>
                  </a:lnTo>
                  <a:lnTo>
                    <a:pt x="1182687" y="1473489"/>
                  </a:lnTo>
                  <a:lnTo>
                    <a:pt x="1201737" y="1479839"/>
                  </a:lnTo>
                  <a:lnTo>
                    <a:pt x="1230312" y="1463964"/>
                  </a:lnTo>
                  <a:lnTo>
                    <a:pt x="1246187" y="1419514"/>
                  </a:lnTo>
                  <a:lnTo>
                    <a:pt x="1258887" y="1387764"/>
                  </a:lnTo>
                  <a:lnTo>
                    <a:pt x="1274762" y="1390939"/>
                  </a:lnTo>
                  <a:lnTo>
                    <a:pt x="1281112" y="1365539"/>
                  </a:lnTo>
                  <a:lnTo>
                    <a:pt x="1303337" y="1365539"/>
                  </a:lnTo>
                  <a:lnTo>
                    <a:pt x="1322387" y="1368714"/>
                  </a:lnTo>
                  <a:lnTo>
                    <a:pt x="1338262" y="1375064"/>
                  </a:lnTo>
                  <a:lnTo>
                    <a:pt x="1322387" y="1403639"/>
                  </a:lnTo>
                  <a:lnTo>
                    <a:pt x="1306512" y="1429039"/>
                  </a:lnTo>
                  <a:lnTo>
                    <a:pt x="1300162" y="1479839"/>
                  </a:lnTo>
                  <a:lnTo>
                    <a:pt x="1309687" y="1492539"/>
                  </a:lnTo>
                  <a:lnTo>
                    <a:pt x="1322387" y="1467139"/>
                  </a:lnTo>
                  <a:lnTo>
                    <a:pt x="1331912" y="1432214"/>
                  </a:lnTo>
                  <a:lnTo>
                    <a:pt x="1357312" y="1371889"/>
                  </a:lnTo>
                  <a:lnTo>
                    <a:pt x="1373187" y="1381414"/>
                  </a:lnTo>
                  <a:lnTo>
                    <a:pt x="1373187" y="1416339"/>
                  </a:lnTo>
                  <a:lnTo>
                    <a:pt x="1373187" y="1441739"/>
                  </a:lnTo>
                  <a:lnTo>
                    <a:pt x="1389062" y="1429039"/>
                  </a:lnTo>
                  <a:lnTo>
                    <a:pt x="1395412" y="1387764"/>
                  </a:lnTo>
                  <a:lnTo>
                    <a:pt x="1392237" y="1362364"/>
                  </a:lnTo>
                  <a:lnTo>
                    <a:pt x="1408112" y="1343314"/>
                  </a:lnTo>
                  <a:lnTo>
                    <a:pt x="1439862" y="1333789"/>
                  </a:lnTo>
                  <a:close/>
                  <a:moveTo>
                    <a:pt x="1306048" y="324159"/>
                  </a:moveTo>
                  <a:lnTo>
                    <a:pt x="1320136" y="340798"/>
                  </a:lnTo>
                  <a:lnTo>
                    <a:pt x="1305804" y="364360"/>
                  </a:lnTo>
                  <a:lnTo>
                    <a:pt x="1325784" y="384582"/>
                  </a:lnTo>
                  <a:lnTo>
                    <a:pt x="1341147" y="385858"/>
                  </a:lnTo>
                  <a:lnTo>
                    <a:pt x="1352928" y="393024"/>
                  </a:lnTo>
                  <a:lnTo>
                    <a:pt x="1345762" y="404805"/>
                  </a:lnTo>
                  <a:lnTo>
                    <a:pt x="1329122" y="418893"/>
                  </a:lnTo>
                  <a:lnTo>
                    <a:pt x="1318374" y="436564"/>
                  </a:lnTo>
                  <a:lnTo>
                    <a:pt x="1314790" y="442455"/>
                  </a:lnTo>
                  <a:lnTo>
                    <a:pt x="1285095" y="464741"/>
                  </a:lnTo>
                  <a:lnTo>
                    <a:pt x="1275622" y="467048"/>
                  </a:lnTo>
                  <a:lnTo>
                    <a:pt x="1272282" y="432738"/>
                  </a:lnTo>
                  <a:lnTo>
                    <a:pt x="1262808" y="435045"/>
                  </a:lnTo>
                  <a:lnTo>
                    <a:pt x="1243862" y="439661"/>
                  </a:lnTo>
                  <a:lnTo>
                    <a:pt x="1237972" y="436078"/>
                  </a:lnTo>
                  <a:lnTo>
                    <a:pt x="1239247" y="420713"/>
                  </a:lnTo>
                  <a:lnTo>
                    <a:pt x="1253580" y="397152"/>
                  </a:lnTo>
                  <a:lnTo>
                    <a:pt x="1259713" y="360534"/>
                  </a:lnTo>
                  <a:lnTo>
                    <a:pt x="1245625" y="343895"/>
                  </a:lnTo>
                  <a:lnTo>
                    <a:pt x="1249208" y="338005"/>
                  </a:lnTo>
                  <a:lnTo>
                    <a:pt x="1277628" y="331082"/>
                  </a:lnTo>
                  <a:lnTo>
                    <a:pt x="1306048" y="324159"/>
                  </a:lnTo>
                  <a:close/>
                  <a:moveTo>
                    <a:pt x="1273256" y="271933"/>
                  </a:moveTo>
                  <a:lnTo>
                    <a:pt x="1287345" y="288573"/>
                  </a:lnTo>
                  <a:lnTo>
                    <a:pt x="1290684" y="322883"/>
                  </a:lnTo>
                  <a:lnTo>
                    <a:pt x="1281211" y="325191"/>
                  </a:lnTo>
                  <a:lnTo>
                    <a:pt x="1256373" y="326222"/>
                  </a:lnTo>
                  <a:lnTo>
                    <a:pt x="1248175" y="313167"/>
                  </a:lnTo>
                  <a:lnTo>
                    <a:pt x="1245869" y="303693"/>
                  </a:lnTo>
                  <a:lnTo>
                    <a:pt x="1237670" y="290637"/>
                  </a:lnTo>
                  <a:lnTo>
                    <a:pt x="1273256" y="271933"/>
                  </a:lnTo>
                  <a:close/>
                  <a:moveTo>
                    <a:pt x="1014866" y="179322"/>
                  </a:moveTo>
                  <a:lnTo>
                    <a:pt x="1019481" y="198268"/>
                  </a:lnTo>
                  <a:lnTo>
                    <a:pt x="1017961" y="253833"/>
                  </a:lnTo>
                  <a:lnTo>
                    <a:pt x="1021301" y="288144"/>
                  </a:lnTo>
                  <a:lnTo>
                    <a:pt x="1014379" y="259723"/>
                  </a:lnTo>
                  <a:lnTo>
                    <a:pt x="1006425" y="206467"/>
                  </a:lnTo>
                  <a:lnTo>
                    <a:pt x="1007700" y="191103"/>
                  </a:lnTo>
                  <a:lnTo>
                    <a:pt x="1014866" y="179322"/>
                  </a:lnTo>
                  <a:close/>
                  <a:moveTo>
                    <a:pt x="1183567" y="47912"/>
                  </a:moveTo>
                  <a:lnTo>
                    <a:pt x="1195347" y="55078"/>
                  </a:lnTo>
                  <a:lnTo>
                    <a:pt x="1214051" y="90664"/>
                  </a:lnTo>
                  <a:lnTo>
                    <a:pt x="1223280" y="128558"/>
                  </a:lnTo>
                  <a:lnTo>
                    <a:pt x="1225344" y="178232"/>
                  </a:lnTo>
                  <a:lnTo>
                    <a:pt x="1237125" y="185398"/>
                  </a:lnTo>
                  <a:lnTo>
                    <a:pt x="1241740" y="204344"/>
                  </a:lnTo>
                  <a:lnTo>
                    <a:pt x="1249937" y="217401"/>
                  </a:lnTo>
                  <a:lnTo>
                    <a:pt x="1273500" y="231733"/>
                  </a:lnTo>
                  <a:lnTo>
                    <a:pt x="1278115" y="250680"/>
                  </a:lnTo>
                  <a:lnTo>
                    <a:pt x="1267366" y="268351"/>
                  </a:lnTo>
                  <a:lnTo>
                    <a:pt x="1240221" y="259909"/>
                  </a:lnTo>
                  <a:lnTo>
                    <a:pt x="1210525" y="282196"/>
                  </a:lnTo>
                  <a:lnTo>
                    <a:pt x="1206942" y="288086"/>
                  </a:lnTo>
                  <a:lnTo>
                    <a:pt x="1202084" y="309341"/>
                  </a:lnTo>
                  <a:lnTo>
                    <a:pt x="1198501" y="315231"/>
                  </a:lnTo>
                  <a:lnTo>
                    <a:pt x="1181618" y="369520"/>
                  </a:lnTo>
                  <a:lnTo>
                    <a:pt x="1156537" y="410753"/>
                  </a:lnTo>
                  <a:lnTo>
                    <a:pt x="1149371" y="422534"/>
                  </a:lnTo>
                  <a:lnTo>
                    <a:pt x="1113298" y="521640"/>
                  </a:lnTo>
                  <a:lnTo>
                    <a:pt x="1098967" y="545201"/>
                  </a:lnTo>
                  <a:lnTo>
                    <a:pt x="1089493" y="547508"/>
                  </a:lnTo>
                  <a:lnTo>
                    <a:pt x="1068483" y="502449"/>
                  </a:lnTo>
                  <a:lnTo>
                    <a:pt x="1067450" y="477612"/>
                  </a:lnTo>
                  <a:lnTo>
                    <a:pt x="1045164" y="447915"/>
                  </a:lnTo>
                  <a:lnTo>
                    <a:pt x="1041825" y="413605"/>
                  </a:lnTo>
                  <a:lnTo>
                    <a:pt x="1043101" y="398241"/>
                  </a:lnTo>
                  <a:lnTo>
                    <a:pt x="1046683" y="392351"/>
                  </a:lnTo>
                  <a:lnTo>
                    <a:pt x="1062047" y="393626"/>
                  </a:lnTo>
                  <a:lnTo>
                    <a:pt x="1064354" y="403100"/>
                  </a:lnTo>
                  <a:lnTo>
                    <a:pt x="1067937" y="397209"/>
                  </a:lnTo>
                  <a:lnTo>
                    <a:pt x="1069213" y="381846"/>
                  </a:lnTo>
                  <a:lnTo>
                    <a:pt x="1055124" y="365207"/>
                  </a:lnTo>
                  <a:lnTo>
                    <a:pt x="1049234" y="361624"/>
                  </a:lnTo>
                  <a:lnTo>
                    <a:pt x="1055368" y="325006"/>
                  </a:lnTo>
                  <a:lnTo>
                    <a:pt x="1058950" y="319115"/>
                  </a:lnTo>
                  <a:lnTo>
                    <a:pt x="1074315" y="320391"/>
                  </a:lnTo>
                  <a:lnTo>
                    <a:pt x="1093262" y="315776"/>
                  </a:lnTo>
                  <a:lnTo>
                    <a:pt x="1113483" y="295797"/>
                  </a:lnTo>
                  <a:lnTo>
                    <a:pt x="1124233" y="278125"/>
                  </a:lnTo>
                  <a:lnTo>
                    <a:pt x="1117311" y="249705"/>
                  </a:lnTo>
                  <a:lnTo>
                    <a:pt x="1129335" y="216671"/>
                  </a:lnTo>
                  <a:lnTo>
                    <a:pt x="1116279" y="224869"/>
                  </a:lnTo>
                  <a:lnTo>
                    <a:pt x="1099639" y="238956"/>
                  </a:lnTo>
                  <a:lnTo>
                    <a:pt x="1093505" y="275574"/>
                  </a:lnTo>
                  <a:lnTo>
                    <a:pt x="1076866" y="289663"/>
                  </a:lnTo>
                  <a:lnTo>
                    <a:pt x="1063809" y="297861"/>
                  </a:lnTo>
                  <a:lnTo>
                    <a:pt x="1046139" y="287112"/>
                  </a:lnTo>
                  <a:lnTo>
                    <a:pt x="1034601" y="239745"/>
                  </a:lnTo>
                  <a:lnTo>
                    <a:pt x="1027678" y="211325"/>
                  </a:lnTo>
                  <a:lnTo>
                    <a:pt x="1033812" y="174707"/>
                  </a:lnTo>
                  <a:lnTo>
                    <a:pt x="1035088" y="159343"/>
                  </a:lnTo>
                  <a:lnTo>
                    <a:pt x="1038914" y="113252"/>
                  </a:lnTo>
                  <a:lnTo>
                    <a:pt x="1080634" y="57930"/>
                  </a:lnTo>
                  <a:lnTo>
                    <a:pt x="1111363" y="60482"/>
                  </a:lnTo>
                  <a:lnTo>
                    <a:pt x="1126726" y="61757"/>
                  </a:lnTo>
                  <a:lnTo>
                    <a:pt x="1125450" y="77121"/>
                  </a:lnTo>
                  <a:lnTo>
                    <a:pt x="1120592" y="98375"/>
                  </a:lnTo>
                  <a:lnTo>
                    <a:pt x="1140814" y="78396"/>
                  </a:lnTo>
                  <a:lnTo>
                    <a:pt x="1146705" y="81979"/>
                  </a:lnTo>
                  <a:lnTo>
                    <a:pt x="1146462" y="122181"/>
                  </a:lnTo>
                  <a:lnTo>
                    <a:pt x="1155447" y="200275"/>
                  </a:lnTo>
                  <a:lnTo>
                    <a:pt x="1156966" y="144710"/>
                  </a:lnTo>
                  <a:lnTo>
                    <a:pt x="1169234" y="71474"/>
                  </a:lnTo>
                  <a:lnTo>
                    <a:pt x="1183567" y="47912"/>
                  </a:lnTo>
                  <a:close/>
                  <a:moveTo>
                    <a:pt x="1277268" y="0"/>
                  </a:moveTo>
                  <a:lnTo>
                    <a:pt x="1305445" y="33278"/>
                  </a:lnTo>
                  <a:lnTo>
                    <a:pt x="1314918" y="30972"/>
                  </a:lnTo>
                  <a:lnTo>
                    <a:pt x="1318257" y="65282"/>
                  </a:lnTo>
                  <a:lnTo>
                    <a:pt x="1335140" y="10993"/>
                  </a:lnTo>
                  <a:lnTo>
                    <a:pt x="1344614" y="8685"/>
                  </a:lnTo>
                  <a:lnTo>
                    <a:pt x="1345646" y="33523"/>
                  </a:lnTo>
                  <a:lnTo>
                    <a:pt x="1342063" y="39413"/>
                  </a:lnTo>
                  <a:lnTo>
                    <a:pt x="1334897" y="51193"/>
                  </a:lnTo>
                  <a:lnTo>
                    <a:pt x="1346678" y="58359"/>
                  </a:lnTo>
                  <a:lnTo>
                    <a:pt x="1361010" y="34798"/>
                  </a:lnTo>
                  <a:lnTo>
                    <a:pt x="1372790" y="41964"/>
                  </a:lnTo>
                  <a:lnTo>
                    <a:pt x="1382263" y="39656"/>
                  </a:lnTo>
                  <a:lnTo>
                    <a:pt x="1409409" y="48098"/>
                  </a:lnTo>
                  <a:lnTo>
                    <a:pt x="1418881" y="45791"/>
                  </a:lnTo>
                  <a:lnTo>
                    <a:pt x="1432970" y="62430"/>
                  </a:lnTo>
                  <a:lnTo>
                    <a:pt x="1431694" y="77793"/>
                  </a:lnTo>
                  <a:lnTo>
                    <a:pt x="1405338" y="134390"/>
                  </a:lnTo>
                  <a:lnTo>
                    <a:pt x="1391006" y="157952"/>
                  </a:lnTo>
                  <a:lnTo>
                    <a:pt x="1374368" y="172040"/>
                  </a:lnTo>
                  <a:lnTo>
                    <a:pt x="1338781" y="190743"/>
                  </a:lnTo>
                  <a:lnTo>
                    <a:pt x="1329307" y="193051"/>
                  </a:lnTo>
                  <a:lnTo>
                    <a:pt x="1315220" y="176411"/>
                  </a:lnTo>
                  <a:lnTo>
                    <a:pt x="1316495" y="161047"/>
                  </a:lnTo>
                  <a:lnTo>
                    <a:pt x="1304714" y="153881"/>
                  </a:lnTo>
                  <a:lnTo>
                    <a:pt x="1291658" y="162080"/>
                  </a:lnTo>
                  <a:lnTo>
                    <a:pt x="1276293" y="160804"/>
                  </a:lnTo>
                  <a:lnTo>
                    <a:pt x="1258622" y="150055"/>
                  </a:lnTo>
                  <a:lnTo>
                    <a:pt x="1250425" y="136999"/>
                  </a:lnTo>
                  <a:lnTo>
                    <a:pt x="1243502" y="108579"/>
                  </a:lnTo>
                  <a:lnTo>
                    <a:pt x="1221216" y="78883"/>
                  </a:lnTo>
                  <a:lnTo>
                    <a:pt x="1223767" y="48156"/>
                  </a:lnTo>
                  <a:lnTo>
                    <a:pt x="1246297" y="37650"/>
                  </a:lnTo>
                  <a:lnTo>
                    <a:pt x="1277268" y="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396" name="Freeform 207"/>
            <p:cNvSpPr>
              <a:spLocks/>
            </p:cNvSpPr>
            <p:nvPr/>
          </p:nvSpPr>
          <p:spPr bwMode="auto">
            <a:xfrm>
              <a:off x="1696202" y="3297048"/>
              <a:ext cx="454025" cy="447675"/>
            </a:xfrm>
            <a:custGeom>
              <a:avLst/>
              <a:gdLst>
                <a:gd name="T0" fmla="*/ 710683958 w 286"/>
                <a:gd name="T1" fmla="*/ 317539649 h 282"/>
                <a:gd name="T2" fmla="*/ 584676199 w 286"/>
                <a:gd name="T3" fmla="*/ 262096236 h 282"/>
                <a:gd name="T4" fmla="*/ 534273095 w 286"/>
                <a:gd name="T5" fmla="*/ 221773753 h 282"/>
                <a:gd name="T6" fmla="*/ 514111854 w 286"/>
                <a:gd name="T7" fmla="*/ 146169049 h 282"/>
                <a:gd name="T8" fmla="*/ 579635889 w 286"/>
                <a:gd name="T9" fmla="*/ 136088428 h 282"/>
                <a:gd name="T10" fmla="*/ 670361475 w 286"/>
                <a:gd name="T11" fmla="*/ 65524059 h 282"/>
                <a:gd name="T12" fmla="*/ 670361475 w 286"/>
                <a:gd name="T13" fmla="*/ 70564369 h 282"/>
                <a:gd name="T14" fmla="*/ 700603337 w 286"/>
                <a:gd name="T15" fmla="*/ 50403116 h 282"/>
                <a:gd name="T16" fmla="*/ 720764578 w 286"/>
                <a:gd name="T17" fmla="*/ 35282185 h 282"/>
                <a:gd name="T18" fmla="*/ 624998682 w 286"/>
                <a:gd name="T19" fmla="*/ 5040312 h 282"/>
                <a:gd name="T20" fmla="*/ 594756820 w 286"/>
                <a:gd name="T21" fmla="*/ 0 h 282"/>
                <a:gd name="T22" fmla="*/ 579635889 w 286"/>
                <a:gd name="T23" fmla="*/ 5040312 h 282"/>
                <a:gd name="T24" fmla="*/ 569555268 w 286"/>
                <a:gd name="T25" fmla="*/ 5040312 h 282"/>
                <a:gd name="T26" fmla="*/ 544353716 w 286"/>
                <a:gd name="T27" fmla="*/ 15120937 h 282"/>
                <a:gd name="T28" fmla="*/ 524192475 w 286"/>
                <a:gd name="T29" fmla="*/ 20161247 h 282"/>
                <a:gd name="T30" fmla="*/ 498990923 w 286"/>
                <a:gd name="T31" fmla="*/ 50403116 h 282"/>
                <a:gd name="T32" fmla="*/ 488910302 w 286"/>
                <a:gd name="T33" fmla="*/ 60483749 h 282"/>
                <a:gd name="T34" fmla="*/ 498990923 w 286"/>
                <a:gd name="T35" fmla="*/ 100806231 h 282"/>
                <a:gd name="T36" fmla="*/ 524192475 w 286"/>
                <a:gd name="T37" fmla="*/ 115927187 h 282"/>
                <a:gd name="T38" fmla="*/ 478829682 w 286"/>
                <a:gd name="T39" fmla="*/ 136088428 h 282"/>
                <a:gd name="T40" fmla="*/ 443547509 w 286"/>
                <a:gd name="T41" fmla="*/ 141128739 h 282"/>
                <a:gd name="T42" fmla="*/ 357862134 w 286"/>
                <a:gd name="T43" fmla="*/ 110886877 h 282"/>
                <a:gd name="T44" fmla="*/ 292338099 w 286"/>
                <a:gd name="T45" fmla="*/ 80644990 h 282"/>
                <a:gd name="T46" fmla="*/ 257055927 w 286"/>
                <a:gd name="T47" fmla="*/ 85685300 h 282"/>
                <a:gd name="T48" fmla="*/ 241934996 w 286"/>
                <a:gd name="T49" fmla="*/ 110886877 h 282"/>
                <a:gd name="T50" fmla="*/ 246975306 w 286"/>
                <a:gd name="T51" fmla="*/ 120967497 h 282"/>
                <a:gd name="T52" fmla="*/ 231854375 w 286"/>
                <a:gd name="T53" fmla="*/ 201612462 h 282"/>
                <a:gd name="T54" fmla="*/ 171370601 w 286"/>
                <a:gd name="T55" fmla="*/ 257055925 h 282"/>
                <a:gd name="T56" fmla="*/ 221773755 w 286"/>
                <a:gd name="T57" fmla="*/ 317539649 h 282"/>
                <a:gd name="T58" fmla="*/ 257055927 w 286"/>
                <a:gd name="T59" fmla="*/ 357862132 h 282"/>
                <a:gd name="T60" fmla="*/ 211693134 w 286"/>
                <a:gd name="T61" fmla="*/ 408265235 h 282"/>
                <a:gd name="T62" fmla="*/ 161289981 w 286"/>
                <a:gd name="T63" fmla="*/ 438507196 h 282"/>
                <a:gd name="T64" fmla="*/ 115927188 w 286"/>
                <a:gd name="T65" fmla="*/ 483869989 h 282"/>
                <a:gd name="T66" fmla="*/ 115927188 w 286"/>
                <a:gd name="T67" fmla="*/ 519152161 h 282"/>
                <a:gd name="T68" fmla="*/ 65524059 w 286"/>
                <a:gd name="T69" fmla="*/ 493950610 h 282"/>
                <a:gd name="T70" fmla="*/ 30241874 w 286"/>
                <a:gd name="T71" fmla="*/ 488910299 h 282"/>
                <a:gd name="T72" fmla="*/ 0 w 286"/>
                <a:gd name="T73" fmla="*/ 569555264 h 282"/>
                <a:gd name="T74" fmla="*/ 20161248 w 286"/>
                <a:gd name="T75" fmla="*/ 640119609 h 282"/>
                <a:gd name="T76" fmla="*/ 40322495 w 286"/>
                <a:gd name="T77" fmla="*/ 660280850 h 282"/>
                <a:gd name="T78" fmla="*/ 120967498 w 286"/>
                <a:gd name="T79" fmla="*/ 710683953 h 282"/>
                <a:gd name="T80" fmla="*/ 252015617 w 286"/>
                <a:gd name="T81" fmla="*/ 705643643 h 282"/>
                <a:gd name="T82" fmla="*/ 312499341 w 286"/>
                <a:gd name="T83" fmla="*/ 695563022 h 282"/>
                <a:gd name="T84" fmla="*/ 378023375 w 286"/>
                <a:gd name="T85" fmla="*/ 670361471 h 282"/>
                <a:gd name="T86" fmla="*/ 423386268 w 286"/>
                <a:gd name="T87" fmla="*/ 680442091 h 282"/>
                <a:gd name="T88" fmla="*/ 463708751 w 286"/>
                <a:gd name="T89" fmla="*/ 680442091 h 282"/>
                <a:gd name="T90" fmla="*/ 509071544 w 286"/>
                <a:gd name="T91" fmla="*/ 700603333 h 282"/>
                <a:gd name="T92" fmla="*/ 539313406 w 286"/>
                <a:gd name="T93" fmla="*/ 705643643 h 282"/>
                <a:gd name="T94" fmla="*/ 559474647 w 286"/>
                <a:gd name="T95" fmla="*/ 670361471 h 282"/>
                <a:gd name="T96" fmla="*/ 614918061 w 286"/>
                <a:gd name="T97" fmla="*/ 599797126 h 282"/>
                <a:gd name="T98" fmla="*/ 660280854 w 286"/>
                <a:gd name="T99" fmla="*/ 539313402 h 282"/>
                <a:gd name="T100" fmla="*/ 675401785 w 286"/>
                <a:gd name="T101" fmla="*/ 458668437 h 282"/>
                <a:gd name="T102" fmla="*/ 680442096 w 286"/>
                <a:gd name="T103" fmla="*/ 433466886 h 282"/>
                <a:gd name="T104" fmla="*/ 680442096 w 286"/>
                <a:gd name="T105" fmla="*/ 418345955 h 282"/>
                <a:gd name="T106" fmla="*/ 685482406 w 286"/>
                <a:gd name="T107" fmla="*/ 388103994 h 282"/>
                <a:gd name="T108" fmla="*/ 680442096 w 286"/>
                <a:gd name="T109" fmla="*/ 352821821 h 282"/>
                <a:gd name="T110" fmla="*/ 715724268 w 286"/>
                <a:gd name="T111" fmla="*/ 332660580 h 282"/>
                <a:gd name="T112" fmla="*/ 710683958 w 286"/>
                <a:gd name="T113" fmla="*/ 317539649 h 282"/>
                <a:gd name="T114" fmla="*/ 710683958 w 286"/>
                <a:gd name="T115" fmla="*/ 317539649 h 28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6"/>
                <a:gd name="T175" fmla="*/ 0 h 282"/>
                <a:gd name="T176" fmla="*/ 286 w 286"/>
                <a:gd name="T177" fmla="*/ 282 h 28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6" h="282">
                  <a:moveTo>
                    <a:pt x="282" y="126"/>
                  </a:moveTo>
                  <a:lnTo>
                    <a:pt x="232" y="104"/>
                  </a:lnTo>
                  <a:lnTo>
                    <a:pt x="212" y="88"/>
                  </a:lnTo>
                  <a:lnTo>
                    <a:pt x="204" y="58"/>
                  </a:lnTo>
                  <a:lnTo>
                    <a:pt x="230" y="54"/>
                  </a:lnTo>
                  <a:lnTo>
                    <a:pt x="266" y="26"/>
                  </a:lnTo>
                  <a:lnTo>
                    <a:pt x="266" y="28"/>
                  </a:lnTo>
                  <a:lnTo>
                    <a:pt x="278" y="20"/>
                  </a:lnTo>
                  <a:lnTo>
                    <a:pt x="286" y="14"/>
                  </a:lnTo>
                  <a:lnTo>
                    <a:pt x="248" y="2"/>
                  </a:lnTo>
                  <a:lnTo>
                    <a:pt x="236" y="0"/>
                  </a:lnTo>
                  <a:lnTo>
                    <a:pt x="230" y="2"/>
                  </a:lnTo>
                  <a:lnTo>
                    <a:pt x="226" y="2"/>
                  </a:lnTo>
                  <a:lnTo>
                    <a:pt x="216" y="6"/>
                  </a:lnTo>
                  <a:lnTo>
                    <a:pt x="208" y="8"/>
                  </a:lnTo>
                  <a:lnTo>
                    <a:pt x="198" y="20"/>
                  </a:lnTo>
                  <a:lnTo>
                    <a:pt x="194" y="24"/>
                  </a:lnTo>
                  <a:lnTo>
                    <a:pt x="198" y="40"/>
                  </a:lnTo>
                  <a:lnTo>
                    <a:pt x="208" y="46"/>
                  </a:lnTo>
                  <a:lnTo>
                    <a:pt x="190" y="54"/>
                  </a:lnTo>
                  <a:lnTo>
                    <a:pt x="176" y="56"/>
                  </a:lnTo>
                  <a:lnTo>
                    <a:pt x="142" y="44"/>
                  </a:lnTo>
                  <a:lnTo>
                    <a:pt x="116" y="32"/>
                  </a:lnTo>
                  <a:lnTo>
                    <a:pt x="102" y="34"/>
                  </a:lnTo>
                  <a:lnTo>
                    <a:pt x="96" y="44"/>
                  </a:lnTo>
                  <a:lnTo>
                    <a:pt x="98" y="48"/>
                  </a:lnTo>
                  <a:lnTo>
                    <a:pt x="92" y="80"/>
                  </a:lnTo>
                  <a:lnTo>
                    <a:pt x="68" y="102"/>
                  </a:lnTo>
                  <a:lnTo>
                    <a:pt x="88" y="126"/>
                  </a:lnTo>
                  <a:lnTo>
                    <a:pt x="102" y="142"/>
                  </a:lnTo>
                  <a:lnTo>
                    <a:pt x="84" y="162"/>
                  </a:lnTo>
                  <a:lnTo>
                    <a:pt x="64" y="174"/>
                  </a:lnTo>
                  <a:lnTo>
                    <a:pt x="46" y="192"/>
                  </a:lnTo>
                  <a:lnTo>
                    <a:pt x="46" y="206"/>
                  </a:lnTo>
                  <a:lnTo>
                    <a:pt x="26" y="196"/>
                  </a:lnTo>
                  <a:lnTo>
                    <a:pt x="12" y="194"/>
                  </a:lnTo>
                  <a:lnTo>
                    <a:pt x="0" y="226"/>
                  </a:lnTo>
                  <a:lnTo>
                    <a:pt x="8" y="254"/>
                  </a:lnTo>
                  <a:lnTo>
                    <a:pt x="16" y="262"/>
                  </a:lnTo>
                  <a:lnTo>
                    <a:pt x="48" y="282"/>
                  </a:lnTo>
                  <a:lnTo>
                    <a:pt x="100" y="280"/>
                  </a:lnTo>
                  <a:lnTo>
                    <a:pt x="124" y="276"/>
                  </a:lnTo>
                  <a:lnTo>
                    <a:pt x="150" y="266"/>
                  </a:lnTo>
                  <a:lnTo>
                    <a:pt x="168" y="270"/>
                  </a:lnTo>
                  <a:lnTo>
                    <a:pt x="184" y="270"/>
                  </a:lnTo>
                  <a:lnTo>
                    <a:pt x="202" y="278"/>
                  </a:lnTo>
                  <a:lnTo>
                    <a:pt x="214" y="280"/>
                  </a:lnTo>
                  <a:lnTo>
                    <a:pt x="222" y="266"/>
                  </a:lnTo>
                  <a:lnTo>
                    <a:pt x="244" y="238"/>
                  </a:lnTo>
                  <a:lnTo>
                    <a:pt x="262" y="214"/>
                  </a:lnTo>
                  <a:lnTo>
                    <a:pt x="268" y="182"/>
                  </a:lnTo>
                  <a:lnTo>
                    <a:pt x="270" y="172"/>
                  </a:lnTo>
                  <a:lnTo>
                    <a:pt x="270" y="166"/>
                  </a:lnTo>
                  <a:lnTo>
                    <a:pt x="272" y="154"/>
                  </a:lnTo>
                  <a:lnTo>
                    <a:pt x="270" y="140"/>
                  </a:lnTo>
                  <a:lnTo>
                    <a:pt x="284" y="132"/>
                  </a:lnTo>
                  <a:lnTo>
                    <a:pt x="282" y="126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397" name="Freeform 240"/>
            <p:cNvSpPr>
              <a:spLocks/>
            </p:cNvSpPr>
            <p:nvPr/>
          </p:nvSpPr>
          <p:spPr bwMode="auto">
            <a:xfrm>
              <a:off x="1994651" y="2388997"/>
              <a:ext cx="863600" cy="1739900"/>
            </a:xfrm>
            <a:custGeom>
              <a:avLst/>
              <a:gdLst>
                <a:gd name="T0" fmla="*/ 241301 w 863600"/>
                <a:gd name="T1" fmla="*/ 1270000 h 1739900"/>
                <a:gd name="T2" fmla="*/ 292101 w 863600"/>
                <a:gd name="T3" fmla="*/ 1155700 h 1739900"/>
                <a:gd name="T4" fmla="*/ 123825 w 863600"/>
                <a:gd name="T5" fmla="*/ 949325 h 1739900"/>
                <a:gd name="T6" fmla="*/ 200025 w 863600"/>
                <a:gd name="T7" fmla="*/ 952500 h 1739900"/>
                <a:gd name="T8" fmla="*/ 209550 w 863600"/>
                <a:gd name="T9" fmla="*/ 1104900 h 1739900"/>
                <a:gd name="T10" fmla="*/ 38100 w 863600"/>
                <a:gd name="T11" fmla="*/ 1047750 h 1739900"/>
                <a:gd name="T12" fmla="*/ 231775 w 863600"/>
                <a:gd name="T13" fmla="*/ 869950 h 1739900"/>
                <a:gd name="T14" fmla="*/ 231775 w 863600"/>
                <a:gd name="T15" fmla="*/ 869950 h 1739900"/>
                <a:gd name="T16" fmla="*/ 292100 w 863600"/>
                <a:gd name="T17" fmla="*/ 825500 h 1739900"/>
                <a:gd name="T18" fmla="*/ 327025 w 863600"/>
                <a:gd name="T19" fmla="*/ 628650 h 1739900"/>
                <a:gd name="T20" fmla="*/ 307975 w 863600"/>
                <a:gd name="T21" fmla="*/ 698500 h 1739900"/>
                <a:gd name="T22" fmla="*/ 241300 w 863600"/>
                <a:gd name="T23" fmla="*/ 606425 h 1739900"/>
                <a:gd name="T24" fmla="*/ 254000 w 863600"/>
                <a:gd name="T25" fmla="*/ 622300 h 1739900"/>
                <a:gd name="T26" fmla="*/ 581025 w 863600"/>
                <a:gd name="T27" fmla="*/ 584200 h 1739900"/>
                <a:gd name="T28" fmla="*/ 498475 w 863600"/>
                <a:gd name="T29" fmla="*/ 685800 h 1739900"/>
                <a:gd name="T30" fmla="*/ 619125 w 863600"/>
                <a:gd name="T31" fmla="*/ 739775 h 1739900"/>
                <a:gd name="T32" fmla="*/ 508000 w 863600"/>
                <a:gd name="T33" fmla="*/ 920750 h 1739900"/>
                <a:gd name="T34" fmla="*/ 542925 w 863600"/>
                <a:gd name="T35" fmla="*/ 971550 h 1739900"/>
                <a:gd name="T36" fmla="*/ 565150 w 863600"/>
                <a:gd name="T37" fmla="*/ 1092200 h 1739900"/>
                <a:gd name="T38" fmla="*/ 622300 w 863600"/>
                <a:gd name="T39" fmla="*/ 1425575 h 1739900"/>
                <a:gd name="T40" fmla="*/ 714375 w 863600"/>
                <a:gd name="T41" fmla="*/ 1552575 h 1739900"/>
                <a:gd name="T42" fmla="*/ 615950 w 863600"/>
                <a:gd name="T43" fmla="*/ 1644650 h 1739900"/>
                <a:gd name="T44" fmla="*/ 644525 w 863600"/>
                <a:gd name="T45" fmla="*/ 1711325 h 1739900"/>
                <a:gd name="T46" fmla="*/ 466725 w 863600"/>
                <a:gd name="T47" fmla="*/ 1714500 h 1739900"/>
                <a:gd name="T48" fmla="*/ 225425 w 863600"/>
                <a:gd name="T49" fmla="*/ 1657350 h 1739900"/>
                <a:gd name="T50" fmla="*/ 57150 w 863600"/>
                <a:gd name="T51" fmla="*/ 1663700 h 1739900"/>
                <a:gd name="T52" fmla="*/ 50800 w 863600"/>
                <a:gd name="T53" fmla="*/ 1641475 h 1739900"/>
                <a:gd name="T54" fmla="*/ 244475 w 863600"/>
                <a:gd name="T55" fmla="*/ 1587500 h 1739900"/>
                <a:gd name="T56" fmla="*/ 301625 w 863600"/>
                <a:gd name="T57" fmla="*/ 1549400 h 1739900"/>
                <a:gd name="T58" fmla="*/ 219075 w 863600"/>
                <a:gd name="T59" fmla="*/ 1524000 h 1739900"/>
                <a:gd name="T60" fmla="*/ 155575 w 863600"/>
                <a:gd name="T61" fmla="*/ 1473200 h 1739900"/>
                <a:gd name="T62" fmla="*/ 136525 w 863600"/>
                <a:gd name="T63" fmla="*/ 1419225 h 1739900"/>
                <a:gd name="T64" fmla="*/ 254000 w 863600"/>
                <a:gd name="T65" fmla="*/ 1358900 h 1739900"/>
                <a:gd name="T66" fmla="*/ 234950 w 863600"/>
                <a:gd name="T67" fmla="*/ 1304925 h 1739900"/>
                <a:gd name="T68" fmla="*/ 307975 w 863600"/>
                <a:gd name="T69" fmla="*/ 1289050 h 1739900"/>
                <a:gd name="T70" fmla="*/ 387350 w 863600"/>
                <a:gd name="T71" fmla="*/ 1196975 h 1739900"/>
                <a:gd name="T72" fmla="*/ 409575 w 863600"/>
                <a:gd name="T73" fmla="*/ 1089025 h 1739900"/>
                <a:gd name="T74" fmla="*/ 342900 w 863600"/>
                <a:gd name="T75" fmla="*/ 952500 h 1739900"/>
                <a:gd name="T76" fmla="*/ 339725 w 863600"/>
                <a:gd name="T77" fmla="*/ 908050 h 1739900"/>
                <a:gd name="T78" fmla="*/ 301625 w 863600"/>
                <a:gd name="T79" fmla="*/ 904875 h 1739900"/>
                <a:gd name="T80" fmla="*/ 304800 w 863600"/>
                <a:gd name="T81" fmla="*/ 854075 h 1739900"/>
                <a:gd name="T82" fmla="*/ 295275 w 863600"/>
                <a:gd name="T83" fmla="*/ 758825 h 1739900"/>
                <a:gd name="T84" fmla="*/ 333375 w 863600"/>
                <a:gd name="T85" fmla="*/ 733425 h 1739900"/>
                <a:gd name="T86" fmla="*/ 358775 w 863600"/>
                <a:gd name="T87" fmla="*/ 663575 h 1739900"/>
                <a:gd name="T88" fmla="*/ 428625 w 863600"/>
                <a:gd name="T89" fmla="*/ 581025 h 1739900"/>
                <a:gd name="T90" fmla="*/ 650875 w 863600"/>
                <a:gd name="T91" fmla="*/ 555625 h 1739900"/>
                <a:gd name="T92" fmla="*/ 384175 w 863600"/>
                <a:gd name="T93" fmla="*/ 539750 h 1739900"/>
                <a:gd name="T94" fmla="*/ 282575 w 863600"/>
                <a:gd name="T95" fmla="*/ 587375 h 1739900"/>
                <a:gd name="T96" fmla="*/ 295275 w 863600"/>
                <a:gd name="T97" fmla="*/ 571500 h 1739900"/>
                <a:gd name="T98" fmla="*/ 822325 w 863600"/>
                <a:gd name="T99" fmla="*/ 358775 h 1739900"/>
                <a:gd name="T100" fmla="*/ 822325 w 863600"/>
                <a:gd name="T101" fmla="*/ 403225 h 1739900"/>
                <a:gd name="T102" fmla="*/ 796925 w 863600"/>
                <a:gd name="T103" fmla="*/ 409575 h 1739900"/>
                <a:gd name="T104" fmla="*/ 803275 w 863600"/>
                <a:gd name="T105" fmla="*/ 377825 h 1739900"/>
                <a:gd name="T106" fmla="*/ 854075 w 863600"/>
                <a:gd name="T107" fmla="*/ 361950 h 1739900"/>
                <a:gd name="T108" fmla="*/ 539750 w 863600"/>
                <a:gd name="T109" fmla="*/ 60325 h 1739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63600"/>
                <a:gd name="T166" fmla="*/ 0 h 1739900"/>
                <a:gd name="T167" fmla="*/ 863600 w 863600"/>
                <a:gd name="T168" fmla="*/ 1739900 h 17399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63600" h="1739900">
                  <a:moveTo>
                    <a:pt x="260351" y="1250950"/>
                  </a:moveTo>
                  <a:lnTo>
                    <a:pt x="282576" y="1276350"/>
                  </a:lnTo>
                  <a:lnTo>
                    <a:pt x="257176" y="1292225"/>
                  </a:lnTo>
                  <a:lnTo>
                    <a:pt x="241301" y="1270000"/>
                  </a:lnTo>
                  <a:lnTo>
                    <a:pt x="260351" y="1250950"/>
                  </a:lnTo>
                  <a:close/>
                  <a:moveTo>
                    <a:pt x="314326" y="1123950"/>
                  </a:moveTo>
                  <a:lnTo>
                    <a:pt x="307976" y="1143000"/>
                  </a:lnTo>
                  <a:lnTo>
                    <a:pt x="292101" y="1155700"/>
                  </a:lnTo>
                  <a:lnTo>
                    <a:pt x="263526" y="1158875"/>
                  </a:lnTo>
                  <a:lnTo>
                    <a:pt x="285751" y="1133475"/>
                  </a:lnTo>
                  <a:lnTo>
                    <a:pt x="314326" y="1123950"/>
                  </a:lnTo>
                  <a:close/>
                  <a:moveTo>
                    <a:pt x="123825" y="949325"/>
                  </a:moveTo>
                  <a:lnTo>
                    <a:pt x="123825" y="952500"/>
                  </a:lnTo>
                  <a:lnTo>
                    <a:pt x="142875" y="955675"/>
                  </a:lnTo>
                  <a:lnTo>
                    <a:pt x="165100" y="949325"/>
                  </a:lnTo>
                  <a:lnTo>
                    <a:pt x="200025" y="952500"/>
                  </a:lnTo>
                  <a:lnTo>
                    <a:pt x="222250" y="968375"/>
                  </a:lnTo>
                  <a:lnTo>
                    <a:pt x="228600" y="1028700"/>
                  </a:lnTo>
                  <a:lnTo>
                    <a:pt x="231775" y="1079500"/>
                  </a:lnTo>
                  <a:lnTo>
                    <a:pt x="209550" y="1104900"/>
                  </a:lnTo>
                  <a:lnTo>
                    <a:pt x="171450" y="1120775"/>
                  </a:lnTo>
                  <a:lnTo>
                    <a:pt x="149225" y="1108075"/>
                  </a:lnTo>
                  <a:lnTo>
                    <a:pt x="69850" y="1073150"/>
                  </a:lnTo>
                  <a:lnTo>
                    <a:pt x="38100" y="1047750"/>
                  </a:lnTo>
                  <a:lnTo>
                    <a:pt x="25400" y="1000125"/>
                  </a:lnTo>
                  <a:lnTo>
                    <a:pt x="66675" y="993775"/>
                  </a:lnTo>
                  <a:lnTo>
                    <a:pt x="123825" y="949325"/>
                  </a:lnTo>
                  <a:close/>
                  <a:moveTo>
                    <a:pt x="231775" y="869950"/>
                  </a:moveTo>
                  <a:lnTo>
                    <a:pt x="254000" y="869950"/>
                  </a:lnTo>
                  <a:lnTo>
                    <a:pt x="238125" y="908050"/>
                  </a:lnTo>
                  <a:lnTo>
                    <a:pt x="212725" y="892175"/>
                  </a:lnTo>
                  <a:lnTo>
                    <a:pt x="231775" y="869950"/>
                  </a:lnTo>
                  <a:close/>
                  <a:moveTo>
                    <a:pt x="282575" y="777875"/>
                  </a:moveTo>
                  <a:lnTo>
                    <a:pt x="311150" y="819150"/>
                  </a:lnTo>
                  <a:lnTo>
                    <a:pt x="285750" y="828675"/>
                  </a:lnTo>
                  <a:lnTo>
                    <a:pt x="292100" y="825500"/>
                  </a:lnTo>
                  <a:lnTo>
                    <a:pt x="282575" y="819150"/>
                  </a:lnTo>
                  <a:lnTo>
                    <a:pt x="266700" y="790575"/>
                  </a:lnTo>
                  <a:lnTo>
                    <a:pt x="282575" y="777875"/>
                  </a:lnTo>
                  <a:close/>
                  <a:moveTo>
                    <a:pt x="327025" y="628650"/>
                  </a:moveTo>
                  <a:lnTo>
                    <a:pt x="342900" y="647700"/>
                  </a:lnTo>
                  <a:lnTo>
                    <a:pt x="336550" y="692150"/>
                  </a:lnTo>
                  <a:lnTo>
                    <a:pt x="327025" y="704850"/>
                  </a:lnTo>
                  <a:lnTo>
                    <a:pt x="307975" y="698500"/>
                  </a:lnTo>
                  <a:lnTo>
                    <a:pt x="301625" y="673100"/>
                  </a:lnTo>
                  <a:lnTo>
                    <a:pt x="292100" y="657225"/>
                  </a:lnTo>
                  <a:lnTo>
                    <a:pt x="327025" y="628650"/>
                  </a:lnTo>
                  <a:close/>
                  <a:moveTo>
                    <a:pt x="241300" y="606425"/>
                  </a:moveTo>
                  <a:lnTo>
                    <a:pt x="269875" y="612775"/>
                  </a:lnTo>
                  <a:lnTo>
                    <a:pt x="269875" y="622300"/>
                  </a:lnTo>
                  <a:lnTo>
                    <a:pt x="257175" y="619125"/>
                  </a:lnTo>
                  <a:lnTo>
                    <a:pt x="254000" y="622300"/>
                  </a:lnTo>
                  <a:lnTo>
                    <a:pt x="241300" y="606425"/>
                  </a:lnTo>
                  <a:close/>
                  <a:moveTo>
                    <a:pt x="482600" y="546100"/>
                  </a:moveTo>
                  <a:lnTo>
                    <a:pt x="492125" y="558800"/>
                  </a:lnTo>
                  <a:lnTo>
                    <a:pt x="581025" y="584200"/>
                  </a:lnTo>
                  <a:lnTo>
                    <a:pt x="612775" y="590550"/>
                  </a:lnTo>
                  <a:lnTo>
                    <a:pt x="581025" y="631825"/>
                  </a:lnTo>
                  <a:lnTo>
                    <a:pt x="492125" y="663575"/>
                  </a:lnTo>
                  <a:lnTo>
                    <a:pt x="498475" y="685800"/>
                  </a:lnTo>
                  <a:lnTo>
                    <a:pt x="473075" y="688975"/>
                  </a:lnTo>
                  <a:lnTo>
                    <a:pt x="473075" y="701675"/>
                  </a:lnTo>
                  <a:lnTo>
                    <a:pt x="530225" y="708025"/>
                  </a:lnTo>
                  <a:lnTo>
                    <a:pt x="619125" y="739775"/>
                  </a:lnTo>
                  <a:lnTo>
                    <a:pt x="638175" y="739775"/>
                  </a:lnTo>
                  <a:lnTo>
                    <a:pt x="647700" y="781050"/>
                  </a:lnTo>
                  <a:lnTo>
                    <a:pt x="549275" y="892175"/>
                  </a:lnTo>
                  <a:lnTo>
                    <a:pt x="508000" y="920750"/>
                  </a:lnTo>
                  <a:lnTo>
                    <a:pt x="476250" y="933450"/>
                  </a:lnTo>
                  <a:lnTo>
                    <a:pt x="492125" y="952500"/>
                  </a:lnTo>
                  <a:lnTo>
                    <a:pt x="514350" y="942975"/>
                  </a:lnTo>
                  <a:lnTo>
                    <a:pt x="542925" y="971550"/>
                  </a:lnTo>
                  <a:lnTo>
                    <a:pt x="558800" y="1009650"/>
                  </a:lnTo>
                  <a:lnTo>
                    <a:pt x="574675" y="1050925"/>
                  </a:lnTo>
                  <a:lnTo>
                    <a:pt x="568325" y="1063625"/>
                  </a:lnTo>
                  <a:lnTo>
                    <a:pt x="565150" y="1092200"/>
                  </a:lnTo>
                  <a:lnTo>
                    <a:pt x="587375" y="1190625"/>
                  </a:lnTo>
                  <a:lnTo>
                    <a:pt x="625475" y="1266825"/>
                  </a:lnTo>
                  <a:lnTo>
                    <a:pt x="631825" y="1387475"/>
                  </a:lnTo>
                  <a:lnTo>
                    <a:pt x="622300" y="1425575"/>
                  </a:lnTo>
                  <a:lnTo>
                    <a:pt x="628650" y="1454150"/>
                  </a:lnTo>
                  <a:lnTo>
                    <a:pt x="679450" y="1457325"/>
                  </a:lnTo>
                  <a:lnTo>
                    <a:pt x="723900" y="1495425"/>
                  </a:lnTo>
                  <a:lnTo>
                    <a:pt x="714375" y="1552575"/>
                  </a:lnTo>
                  <a:lnTo>
                    <a:pt x="692150" y="1590675"/>
                  </a:lnTo>
                  <a:lnTo>
                    <a:pt x="663575" y="1600200"/>
                  </a:lnTo>
                  <a:lnTo>
                    <a:pt x="647700" y="1622425"/>
                  </a:lnTo>
                  <a:lnTo>
                    <a:pt x="615950" y="1644650"/>
                  </a:lnTo>
                  <a:lnTo>
                    <a:pt x="612775" y="1670050"/>
                  </a:lnTo>
                  <a:lnTo>
                    <a:pt x="641350" y="1676400"/>
                  </a:lnTo>
                  <a:lnTo>
                    <a:pt x="657225" y="1682750"/>
                  </a:lnTo>
                  <a:lnTo>
                    <a:pt x="644525" y="1711325"/>
                  </a:lnTo>
                  <a:lnTo>
                    <a:pt x="603250" y="1724025"/>
                  </a:lnTo>
                  <a:lnTo>
                    <a:pt x="533400" y="1739900"/>
                  </a:lnTo>
                  <a:lnTo>
                    <a:pt x="504825" y="1724025"/>
                  </a:lnTo>
                  <a:lnTo>
                    <a:pt x="466725" y="1714500"/>
                  </a:lnTo>
                  <a:lnTo>
                    <a:pt x="333375" y="1689100"/>
                  </a:lnTo>
                  <a:lnTo>
                    <a:pt x="330200" y="1701800"/>
                  </a:lnTo>
                  <a:lnTo>
                    <a:pt x="295275" y="1685925"/>
                  </a:lnTo>
                  <a:lnTo>
                    <a:pt x="225425" y="1657350"/>
                  </a:lnTo>
                  <a:lnTo>
                    <a:pt x="180975" y="1676400"/>
                  </a:lnTo>
                  <a:lnTo>
                    <a:pt x="155575" y="1689100"/>
                  </a:lnTo>
                  <a:lnTo>
                    <a:pt x="139700" y="1673225"/>
                  </a:lnTo>
                  <a:lnTo>
                    <a:pt x="57150" y="1663700"/>
                  </a:lnTo>
                  <a:lnTo>
                    <a:pt x="0" y="1673225"/>
                  </a:lnTo>
                  <a:lnTo>
                    <a:pt x="6350" y="1651000"/>
                  </a:lnTo>
                  <a:lnTo>
                    <a:pt x="25400" y="1651000"/>
                  </a:lnTo>
                  <a:lnTo>
                    <a:pt x="50800" y="1641475"/>
                  </a:lnTo>
                  <a:lnTo>
                    <a:pt x="117475" y="1606550"/>
                  </a:lnTo>
                  <a:lnTo>
                    <a:pt x="168275" y="1562100"/>
                  </a:lnTo>
                  <a:lnTo>
                    <a:pt x="209550" y="1565275"/>
                  </a:lnTo>
                  <a:lnTo>
                    <a:pt x="244475" y="1587500"/>
                  </a:lnTo>
                  <a:lnTo>
                    <a:pt x="269875" y="1590675"/>
                  </a:lnTo>
                  <a:lnTo>
                    <a:pt x="279400" y="1574800"/>
                  </a:lnTo>
                  <a:lnTo>
                    <a:pt x="330200" y="1543050"/>
                  </a:lnTo>
                  <a:lnTo>
                    <a:pt x="301625" y="1549400"/>
                  </a:lnTo>
                  <a:lnTo>
                    <a:pt x="288925" y="1546225"/>
                  </a:lnTo>
                  <a:lnTo>
                    <a:pt x="260350" y="1558925"/>
                  </a:lnTo>
                  <a:lnTo>
                    <a:pt x="234950" y="1549400"/>
                  </a:lnTo>
                  <a:lnTo>
                    <a:pt x="219075" y="1524000"/>
                  </a:lnTo>
                  <a:lnTo>
                    <a:pt x="200025" y="1501775"/>
                  </a:lnTo>
                  <a:lnTo>
                    <a:pt x="200025" y="1495425"/>
                  </a:lnTo>
                  <a:lnTo>
                    <a:pt x="174625" y="1476375"/>
                  </a:lnTo>
                  <a:lnTo>
                    <a:pt x="155575" y="1473200"/>
                  </a:lnTo>
                  <a:lnTo>
                    <a:pt x="130175" y="1463675"/>
                  </a:lnTo>
                  <a:lnTo>
                    <a:pt x="117475" y="1460500"/>
                  </a:lnTo>
                  <a:lnTo>
                    <a:pt x="114300" y="1431925"/>
                  </a:lnTo>
                  <a:lnTo>
                    <a:pt x="136525" y="1419225"/>
                  </a:lnTo>
                  <a:lnTo>
                    <a:pt x="165100" y="1425575"/>
                  </a:lnTo>
                  <a:lnTo>
                    <a:pt x="187325" y="1419225"/>
                  </a:lnTo>
                  <a:lnTo>
                    <a:pt x="225425" y="1412875"/>
                  </a:lnTo>
                  <a:lnTo>
                    <a:pt x="254000" y="1358900"/>
                  </a:lnTo>
                  <a:lnTo>
                    <a:pt x="238125" y="1323975"/>
                  </a:lnTo>
                  <a:lnTo>
                    <a:pt x="225425" y="1330325"/>
                  </a:lnTo>
                  <a:lnTo>
                    <a:pt x="203200" y="1330325"/>
                  </a:lnTo>
                  <a:lnTo>
                    <a:pt x="234950" y="1304925"/>
                  </a:lnTo>
                  <a:lnTo>
                    <a:pt x="276225" y="1285875"/>
                  </a:lnTo>
                  <a:lnTo>
                    <a:pt x="295275" y="1285875"/>
                  </a:lnTo>
                  <a:lnTo>
                    <a:pt x="304800" y="1282700"/>
                  </a:lnTo>
                  <a:lnTo>
                    <a:pt x="307975" y="1289050"/>
                  </a:lnTo>
                  <a:lnTo>
                    <a:pt x="333375" y="1295400"/>
                  </a:lnTo>
                  <a:lnTo>
                    <a:pt x="371475" y="1295400"/>
                  </a:lnTo>
                  <a:lnTo>
                    <a:pt x="387350" y="1235075"/>
                  </a:lnTo>
                  <a:lnTo>
                    <a:pt x="387350" y="1196975"/>
                  </a:lnTo>
                  <a:lnTo>
                    <a:pt x="381000" y="1177925"/>
                  </a:lnTo>
                  <a:lnTo>
                    <a:pt x="377825" y="1162050"/>
                  </a:lnTo>
                  <a:lnTo>
                    <a:pt x="381000" y="1120775"/>
                  </a:lnTo>
                  <a:lnTo>
                    <a:pt x="409575" y="1089025"/>
                  </a:lnTo>
                  <a:lnTo>
                    <a:pt x="330200" y="1079500"/>
                  </a:lnTo>
                  <a:lnTo>
                    <a:pt x="273050" y="1038225"/>
                  </a:lnTo>
                  <a:lnTo>
                    <a:pt x="336550" y="977900"/>
                  </a:lnTo>
                  <a:lnTo>
                    <a:pt x="342900" y="952500"/>
                  </a:lnTo>
                  <a:lnTo>
                    <a:pt x="333375" y="936625"/>
                  </a:lnTo>
                  <a:lnTo>
                    <a:pt x="342900" y="914400"/>
                  </a:lnTo>
                  <a:lnTo>
                    <a:pt x="355600" y="873125"/>
                  </a:lnTo>
                  <a:lnTo>
                    <a:pt x="339725" y="908050"/>
                  </a:lnTo>
                  <a:lnTo>
                    <a:pt x="314325" y="901700"/>
                  </a:lnTo>
                  <a:lnTo>
                    <a:pt x="320675" y="879475"/>
                  </a:lnTo>
                  <a:lnTo>
                    <a:pt x="314325" y="885825"/>
                  </a:lnTo>
                  <a:lnTo>
                    <a:pt x="301625" y="904875"/>
                  </a:lnTo>
                  <a:lnTo>
                    <a:pt x="285750" y="933450"/>
                  </a:lnTo>
                  <a:lnTo>
                    <a:pt x="247650" y="965200"/>
                  </a:lnTo>
                  <a:lnTo>
                    <a:pt x="266700" y="927100"/>
                  </a:lnTo>
                  <a:lnTo>
                    <a:pt x="304800" y="854075"/>
                  </a:lnTo>
                  <a:lnTo>
                    <a:pt x="323850" y="806450"/>
                  </a:lnTo>
                  <a:lnTo>
                    <a:pt x="304800" y="793750"/>
                  </a:lnTo>
                  <a:lnTo>
                    <a:pt x="288925" y="765175"/>
                  </a:lnTo>
                  <a:lnTo>
                    <a:pt x="295275" y="758825"/>
                  </a:lnTo>
                  <a:lnTo>
                    <a:pt x="323850" y="755650"/>
                  </a:lnTo>
                  <a:lnTo>
                    <a:pt x="336550" y="755650"/>
                  </a:lnTo>
                  <a:lnTo>
                    <a:pt x="323850" y="749300"/>
                  </a:lnTo>
                  <a:lnTo>
                    <a:pt x="333375" y="733425"/>
                  </a:lnTo>
                  <a:lnTo>
                    <a:pt x="355600" y="742950"/>
                  </a:lnTo>
                  <a:lnTo>
                    <a:pt x="339725" y="730250"/>
                  </a:lnTo>
                  <a:lnTo>
                    <a:pt x="355600" y="695325"/>
                  </a:lnTo>
                  <a:lnTo>
                    <a:pt x="358775" y="663575"/>
                  </a:lnTo>
                  <a:lnTo>
                    <a:pt x="381000" y="644525"/>
                  </a:lnTo>
                  <a:lnTo>
                    <a:pt x="422275" y="606425"/>
                  </a:lnTo>
                  <a:lnTo>
                    <a:pt x="431800" y="596900"/>
                  </a:lnTo>
                  <a:lnTo>
                    <a:pt x="428625" y="581025"/>
                  </a:lnTo>
                  <a:lnTo>
                    <a:pt x="460375" y="552450"/>
                  </a:lnTo>
                  <a:lnTo>
                    <a:pt x="482600" y="546100"/>
                  </a:lnTo>
                  <a:close/>
                  <a:moveTo>
                    <a:pt x="606425" y="530225"/>
                  </a:moveTo>
                  <a:lnTo>
                    <a:pt x="650875" y="555625"/>
                  </a:lnTo>
                  <a:lnTo>
                    <a:pt x="622300" y="552450"/>
                  </a:lnTo>
                  <a:lnTo>
                    <a:pt x="606425" y="530225"/>
                  </a:lnTo>
                  <a:close/>
                  <a:moveTo>
                    <a:pt x="377825" y="527050"/>
                  </a:moveTo>
                  <a:lnTo>
                    <a:pt x="384175" y="539750"/>
                  </a:lnTo>
                  <a:lnTo>
                    <a:pt x="342900" y="571500"/>
                  </a:lnTo>
                  <a:lnTo>
                    <a:pt x="323850" y="577850"/>
                  </a:lnTo>
                  <a:lnTo>
                    <a:pt x="304800" y="600075"/>
                  </a:lnTo>
                  <a:lnTo>
                    <a:pt x="282575" y="587375"/>
                  </a:lnTo>
                  <a:lnTo>
                    <a:pt x="288925" y="590550"/>
                  </a:lnTo>
                  <a:lnTo>
                    <a:pt x="298450" y="584200"/>
                  </a:lnTo>
                  <a:lnTo>
                    <a:pt x="311150" y="587375"/>
                  </a:lnTo>
                  <a:lnTo>
                    <a:pt x="295275" y="571500"/>
                  </a:lnTo>
                  <a:lnTo>
                    <a:pt x="314325" y="536575"/>
                  </a:lnTo>
                  <a:lnTo>
                    <a:pt x="358775" y="530225"/>
                  </a:lnTo>
                  <a:lnTo>
                    <a:pt x="377825" y="527050"/>
                  </a:lnTo>
                  <a:close/>
                  <a:moveTo>
                    <a:pt x="822325" y="358775"/>
                  </a:moveTo>
                  <a:lnTo>
                    <a:pt x="815975" y="381000"/>
                  </a:lnTo>
                  <a:lnTo>
                    <a:pt x="806450" y="390525"/>
                  </a:lnTo>
                  <a:lnTo>
                    <a:pt x="822325" y="384175"/>
                  </a:lnTo>
                  <a:lnTo>
                    <a:pt x="822325" y="403225"/>
                  </a:lnTo>
                  <a:lnTo>
                    <a:pt x="809625" y="431800"/>
                  </a:lnTo>
                  <a:lnTo>
                    <a:pt x="790575" y="466725"/>
                  </a:lnTo>
                  <a:lnTo>
                    <a:pt x="784225" y="457200"/>
                  </a:lnTo>
                  <a:lnTo>
                    <a:pt x="796925" y="409575"/>
                  </a:lnTo>
                  <a:lnTo>
                    <a:pt x="790575" y="422275"/>
                  </a:lnTo>
                  <a:lnTo>
                    <a:pt x="777875" y="403225"/>
                  </a:lnTo>
                  <a:lnTo>
                    <a:pt x="796925" y="400050"/>
                  </a:lnTo>
                  <a:lnTo>
                    <a:pt x="803275" y="377825"/>
                  </a:lnTo>
                  <a:lnTo>
                    <a:pt x="793750" y="374650"/>
                  </a:lnTo>
                  <a:lnTo>
                    <a:pt x="822325" y="358775"/>
                  </a:lnTo>
                  <a:close/>
                  <a:moveTo>
                    <a:pt x="863600" y="342900"/>
                  </a:moveTo>
                  <a:lnTo>
                    <a:pt x="854075" y="361950"/>
                  </a:lnTo>
                  <a:lnTo>
                    <a:pt x="844550" y="358775"/>
                  </a:lnTo>
                  <a:lnTo>
                    <a:pt x="863600" y="342900"/>
                  </a:lnTo>
                  <a:close/>
                  <a:moveTo>
                    <a:pt x="533400" y="0"/>
                  </a:moveTo>
                  <a:lnTo>
                    <a:pt x="539750" y="60325"/>
                  </a:lnTo>
                  <a:lnTo>
                    <a:pt x="523875" y="19050"/>
                  </a:lnTo>
                  <a:lnTo>
                    <a:pt x="533400" y="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398" name="Freeform 280"/>
            <p:cNvSpPr>
              <a:spLocks/>
            </p:cNvSpPr>
            <p:nvPr/>
          </p:nvSpPr>
          <p:spPr bwMode="auto">
            <a:xfrm>
              <a:off x="1791452" y="1395223"/>
              <a:ext cx="584200" cy="520700"/>
            </a:xfrm>
            <a:custGeom>
              <a:avLst/>
              <a:gdLst>
                <a:gd name="T0" fmla="*/ 887095103 w 368"/>
                <a:gd name="T1" fmla="*/ 559474678 h 328"/>
                <a:gd name="T2" fmla="*/ 866933859 w 368"/>
                <a:gd name="T3" fmla="*/ 433466912 h 328"/>
                <a:gd name="T4" fmla="*/ 841732305 w 368"/>
                <a:gd name="T5" fmla="*/ 322579979 h 328"/>
                <a:gd name="T6" fmla="*/ 791328998 w 368"/>
                <a:gd name="T7" fmla="*/ 367942775 h 328"/>
                <a:gd name="T8" fmla="*/ 776208066 w 368"/>
                <a:gd name="T9" fmla="*/ 372983085 h 328"/>
                <a:gd name="T10" fmla="*/ 740925890 w 368"/>
                <a:gd name="T11" fmla="*/ 367942775 h 328"/>
                <a:gd name="T12" fmla="*/ 690522782 w 368"/>
                <a:gd name="T13" fmla="*/ 337700911 h 328"/>
                <a:gd name="T14" fmla="*/ 660280917 w 368"/>
                <a:gd name="T15" fmla="*/ 312499358 h 328"/>
                <a:gd name="T16" fmla="*/ 594756876 w 368"/>
                <a:gd name="T17" fmla="*/ 257055941 h 328"/>
                <a:gd name="T18" fmla="*/ 534273146 w 368"/>
                <a:gd name="T19" fmla="*/ 252015630 h 328"/>
                <a:gd name="T20" fmla="*/ 488910349 w 368"/>
                <a:gd name="T21" fmla="*/ 292338115 h 328"/>
                <a:gd name="T22" fmla="*/ 468749105 w 368"/>
                <a:gd name="T23" fmla="*/ 196572164 h 328"/>
                <a:gd name="T24" fmla="*/ 413305587 w 368"/>
                <a:gd name="T25" fmla="*/ 287297805 h 328"/>
                <a:gd name="T26" fmla="*/ 388104033 w 368"/>
                <a:gd name="T27" fmla="*/ 257055941 h 328"/>
                <a:gd name="T28" fmla="*/ 367942790 w 368"/>
                <a:gd name="T29" fmla="*/ 201612475 h 328"/>
                <a:gd name="T30" fmla="*/ 383063722 w 368"/>
                <a:gd name="T31" fmla="*/ 110886883 h 328"/>
                <a:gd name="T32" fmla="*/ 362902479 w 368"/>
                <a:gd name="T33" fmla="*/ 50403119 h 328"/>
                <a:gd name="T34" fmla="*/ 302418749 w 368"/>
                <a:gd name="T35" fmla="*/ 0 h 328"/>
                <a:gd name="T36" fmla="*/ 80644998 w 368"/>
                <a:gd name="T37" fmla="*/ 75604684 h 328"/>
                <a:gd name="T38" fmla="*/ 166330307 w 368"/>
                <a:gd name="T39" fmla="*/ 141128747 h 328"/>
                <a:gd name="T40" fmla="*/ 221773776 w 368"/>
                <a:gd name="T41" fmla="*/ 181451232 h 328"/>
                <a:gd name="T42" fmla="*/ 146169064 w 368"/>
                <a:gd name="T43" fmla="*/ 241935009 h 328"/>
                <a:gd name="T44" fmla="*/ 50403121 w 368"/>
                <a:gd name="T45" fmla="*/ 216733456 h 328"/>
                <a:gd name="T46" fmla="*/ 30241877 w 368"/>
                <a:gd name="T47" fmla="*/ 257055941 h 328"/>
                <a:gd name="T48" fmla="*/ 120967509 w 368"/>
                <a:gd name="T49" fmla="*/ 302418737 h 328"/>
                <a:gd name="T50" fmla="*/ 141128753 w 368"/>
                <a:gd name="T51" fmla="*/ 352821843 h 328"/>
                <a:gd name="T52" fmla="*/ 75604687 w 368"/>
                <a:gd name="T53" fmla="*/ 483870018 h 328"/>
                <a:gd name="T54" fmla="*/ 0 w 368"/>
                <a:gd name="T55" fmla="*/ 453628155 h 328"/>
                <a:gd name="T56" fmla="*/ 40322499 w 368"/>
                <a:gd name="T57" fmla="*/ 524192503 h 328"/>
                <a:gd name="T58" fmla="*/ 131048131 w 368"/>
                <a:gd name="T59" fmla="*/ 614918095 h 328"/>
                <a:gd name="T60" fmla="*/ 292338127 w 368"/>
                <a:gd name="T61" fmla="*/ 811490209 h 328"/>
                <a:gd name="T62" fmla="*/ 524192525 w 368"/>
                <a:gd name="T63" fmla="*/ 811490209 h 328"/>
                <a:gd name="T64" fmla="*/ 660280917 w 368"/>
                <a:gd name="T65" fmla="*/ 816530520 h 328"/>
                <a:gd name="T66" fmla="*/ 685482471 w 368"/>
                <a:gd name="T67" fmla="*/ 811490209 h 328"/>
                <a:gd name="T68" fmla="*/ 801409620 w 368"/>
                <a:gd name="T69" fmla="*/ 781248345 h 328"/>
                <a:gd name="T70" fmla="*/ 882054792 w 368"/>
                <a:gd name="T71" fmla="*/ 705643686 h 328"/>
                <a:gd name="T72" fmla="*/ 917336968 w 368"/>
                <a:gd name="T73" fmla="*/ 609877784 h 32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68"/>
                <a:gd name="T112" fmla="*/ 0 h 328"/>
                <a:gd name="T113" fmla="*/ 368 w 368"/>
                <a:gd name="T114" fmla="*/ 328 h 32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68" h="328">
                  <a:moveTo>
                    <a:pt x="354" y="234"/>
                  </a:moveTo>
                  <a:lnTo>
                    <a:pt x="352" y="222"/>
                  </a:lnTo>
                  <a:lnTo>
                    <a:pt x="350" y="186"/>
                  </a:lnTo>
                  <a:lnTo>
                    <a:pt x="344" y="172"/>
                  </a:lnTo>
                  <a:lnTo>
                    <a:pt x="342" y="152"/>
                  </a:lnTo>
                  <a:lnTo>
                    <a:pt x="334" y="128"/>
                  </a:lnTo>
                  <a:lnTo>
                    <a:pt x="316" y="136"/>
                  </a:lnTo>
                  <a:lnTo>
                    <a:pt x="314" y="146"/>
                  </a:lnTo>
                  <a:lnTo>
                    <a:pt x="308" y="148"/>
                  </a:lnTo>
                  <a:lnTo>
                    <a:pt x="300" y="148"/>
                  </a:lnTo>
                  <a:lnTo>
                    <a:pt x="294" y="146"/>
                  </a:lnTo>
                  <a:lnTo>
                    <a:pt x="294" y="138"/>
                  </a:lnTo>
                  <a:lnTo>
                    <a:pt x="274" y="134"/>
                  </a:lnTo>
                  <a:lnTo>
                    <a:pt x="264" y="132"/>
                  </a:lnTo>
                  <a:lnTo>
                    <a:pt x="262" y="124"/>
                  </a:lnTo>
                  <a:lnTo>
                    <a:pt x="242" y="110"/>
                  </a:lnTo>
                  <a:lnTo>
                    <a:pt x="236" y="102"/>
                  </a:lnTo>
                  <a:lnTo>
                    <a:pt x="222" y="100"/>
                  </a:lnTo>
                  <a:lnTo>
                    <a:pt x="212" y="100"/>
                  </a:lnTo>
                  <a:lnTo>
                    <a:pt x="206" y="108"/>
                  </a:lnTo>
                  <a:lnTo>
                    <a:pt x="194" y="116"/>
                  </a:lnTo>
                  <a:lnTo>
                    <a:pt x="198" y="82"/>
                  </a:lnTo>
                  <a:lnTo>
                    <a:pt x="186" y="78"/>
                  </a:lnTo>
                  <a:lnTo>
                    <a:pt x="178" y="92"/>
                  </a:lnTo>
                  <a:lnTo>
                    <a:pt x="164" y="114"/>
                  </a:lnTo>
                  <a:lnTo>
                    <a:pt x="152" y="116"/>
                  </a:lnTo>
                  <a:lnTo>
                    <a:pt x="154" y="102"/>
                  </a:lnTo>
                  <a:lnTo>
                    <a:pt x="132" y="110"/>
                  </a:lnTo>
                  <a:lnTo>
                    <a:pt x="146" y="80"/>
                  </a:lnTo>
                  <a:lnTo>
                    <a:pt x="154" y="64"/>
                  </a:lnTo>
                  <a:lnTo>
                    <a:pt x="152" y="44"/>
                  </a:lnTo>
                  <a:lnTo>
                    <a:pt x="148" y="34"/>
                  </a:lnTo>
                  <a:lnTo>
                    <a:pt x="144" y="20"/>
                  </a:lnTo>
                  <a:lnTo>
                    <a:pt x="142" y="6"/>
                  </a:lnTo>
                  <a:lnTo>
                    <a:pt x="120" y="0"/>
                  </a:lnTo>
                  <a:lnTo>
                    <a:pt x="84" y="8"/>
                  </a:lnTo>
                  <a:lnTo>
                    <a:pt x="32" y="30"/>
                  </a:lnTo>
                  <a:lnTo>
                    <a:pt x="44" y="50"/>
                  </a:lnTo>
                  <a:lnTo>
                    <a:pt x="66" y="56"/>
                  </a:lnTo>
                  <a:lnTo>
                    <a:pt x="66" y="54"/>
                  </a:lnTo>
                  <a:lnTo>
                    <a:pt x="88" y="72"/>
                  </a:lnTo>
                  <a:lnTo>
                    <a:pt x="110" y="96"/>
                  </a:lnTo>
                  <a:lnTo>
                    <a:pt x="58" y="96"/>
                  </a:lnTo>
                  <a:lnTo>
                    <a:pt x="36" y="92"/>
                  </a:lnTo>
                  <a:lnTo>
                    <a:pt x="20" y="86"/>
                  </a:lnTo>
                  <a:lnTo>
                    <a:pt x="12" y="84"/>
                  </a:lnTo>
                  <a:lnTo>
                    <a:pt x="12" y="102"/>
                  </a:lnTo>
                  <a:lnTo>
                    <a:pt x="30" y="106"/>
                  </a:lnTo>
                  <a:lnTo>
                    <a:pt x="48" y="120"/>
                  </a:lnTo>
                  <a:lnTo>
                    <a:pt x="58" y="138"/>
                  </a:lnTo>
                  <a:lnTo>
                    <a:pt x="56" y="140"/>
                  </a:lnTo>
                  <a:lnTo>
                    <a:pt x="44" y="166"/>
                  </a:lnTo>
                  <a:lnTo>
                    <a:pt x="30" y="192"/>
                  </a:lnTo>
                  <a:lnTo>
                    <a:pt x="12" y="188"/>
                  </a:lnTo>
                  <a:lnTo>
                    <a:pt x="0" y="180"/>
                  </a:lnTo>
                  <a:lnTo>
                    <a:pt x="0" y="198"/>
                  </a:lnTo>
                  <a:lnTo>
                    <a:pt x="16" y="208"/>
                  </a:lnTo>
                  <a:lnTo>
                    <a:pt x="36" y="222"/>
                  </a:lnTo>
                  <a:lnTo>
                    <a:pt x="52" y="244"/>
                  </a:lnTo>
                  <a:lnTo>
                    <a:pt x="78" y="294"/>
                  </a:lnTo>
                  <a:lnTo>
                    <a:pt x="116" y="322"/>
                  </a:lnTo>
                  <a:lnTo>
                    <a:pt x="180" y="324"/>
                  </a:lnTo>
                  <a:lnTo>
                    <a:pt x="208" y="322"/>
                  </a:lnTo>
                  <a:lnTo>
                    <a:pt x="206" y="322"/>
                  </a:lnTo>
                  <a:lnTo>
                    <a:pt x="262" y="324"/>
                  </a:lnTo>
                  <a:lnTo>
                    <a:pt x="270" y="328"/>
                  </a:lnTo>
                  <a:lnTo>
                    <a:pt x="272" y="322"/>
                  </a:lnTo>
                  <a:lnTo>
                    <a:pt x="280" y="320"/>
                  </a:lnTo>
                  <a:lnTo>
                    <a:pt x="318" y="310"/>
                  </a:lnTo>
                  <a:lnTo>
                    <a:pt x="330" y="304"/>
                  </a:lnTo>
                  <a:lnTo>
                    <a:pt x="350" y="280"/>
                  </a:lnTo>
                  <a:lnTo>
                    <a:pt x="368" y="256"/>
                  </a:lnTo>
                  <a:lnTo>
                    <a:pt x="364" y="242"/>
                  </a:lnTo>
                  <a:lnTo>
                    <a:pt x="354" y="234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399" name="Freeform 198"/>
            <p:cNvSpPr>
              <a:spLocks/>
            </p:cNvSpPr>
            <p:nvPr/>
          </p:nvSpPr>
          <p:spPr bwMode="auto">
            <a:xfrm>
              <a:off x="4345739" y="3331973"/>
              <a:ext cx="565150" cy="323850"/>
            </a:xfrm>
            <a:custGeom>
              <a:avLst/>
              <a:gdLst>
                <a:gd name="T0" fmla="*/ 892135403 w 356"/>
                <a:gd name="T1" fmla="*/ 383063735 h 204"/>
                <a:gd name="T2" fmla="*/ 897175714 w 356"/>
                <a:gd name="T3" fmla="*/ 337700936 h 204"/>
                <a:gd name="T4" fmla="*/ 877014471 w 356"/>
                <a:gd name="T5" fmla="*/ 292338137 h 204"/>
                <a:gd name="T6" fmla="*/ 836691985 w 356"/>
                <a:gd name="T7" fmla="*/ 181451245 h 204"/>
                <a:gd name="T8" fmla="*/ 831651476 w 356"/>
                <a:gd name="T9" fmla="*/ 141128757 h 204"/>
                <a:gd name="T10" fmla="*/ 821570854 w 356"/>
                <a:gd name="T11" fmla="*/ 126007824 h 204"/>
                <a:gd name="T12" fmla="*/ 761087125 w 356"/>
                <a:gd name="T13" fmla="*/ 85685312 h 204"/>
                <a:gd name="T14" fmla="*/ 690522774 w 356"/>
                <a:gd name="T15" fmla="*/ 75604690 h 204"/>
                <a:gd name="T16" fmla="*/ 609877802 w 356"/>
                <a:gd name="T17" fmla="*/ 55443446 h 204"/>
                <a:gd name="T18" fmla="*/ 529232829 w 356"/>
                <a:gd name="T19" fmla="*/ 0 h 204"/>
                <a:gd name="T20" fmla="*/ 473789411 w 356"/>
                <a:gd name="T21" fmla="*/ 5040313 h 204"/>
                <a:gd name="T22" fmla="*/ 398184650 w 356"/>
                <a:gd name="T23" fmla="*/ 40322500 h 204"/>
                <a:gd name="T24" fmla="*/ 393144339 w 356"/>
                <a:gd name="T25" fmla="*/ 70564379 h 204"/>
                <a:gd name="T26" fmla="*/ 413305582 w 356"/>
                <a:gd name="T27" fmla="*/ 171370623 h 204"/>
                <a:gd name="T28" fmla="*/ 372983096 w 356"/>
                <a:gd name="T29" fmla="*/ 221773783 h 204"/>
                <a:gd name="T30" fmla="*/ 277217192 w 356"/>
                <a:gd name="T31" fmla="*/ 221773783 h 204"/>
                <a:gd name="T32" fmla="*/ 262096259 w 356"/>
                <a:gd name="T33" fmla="*/ 186491556 h 204"/>
                <a:gd name="T34" fmla="*/ 221773773 w 356"/>
                <a:gd name="T35" fmla="*/ 131048135 h 204"/>
                <a:gd name="T36" fmla="*/ 166330305 w 356"/>
                <a:gd name="T37" fmla="*/ 90725623 h 204"/>
                <a:gd name="T38" fmla="*/ 90725619 w 356"/>
                <a:gd name="T39" fmla="*/ 120967513 h 204"/>
                <a:gd name="T40" fmla="*/ 50403120 w 356"/>
                <a:gd name="T41" fmla="*/ 186491556 h 204"/>
                <a:gd name="T42" fmla="*/ 10080625 w 356"/>
                <a:gd name="T43" fmla="*/ 302418759 h 204"/>
                <a:gd name="T44" fmla="*/ 0 w 356"/>
                <a:gd name="T45" fmla="*/ 413305601 h 204"/>
                <a:gd name="T46" fmla="*/ 15120939 w 356"/>
                <a:gd name="T47" fmla="*/ 463708810 h 204"/>
                <a:gd name="T48" fmla="*/ 25201560 w 356"/>
                <a:gd name="T49" fmla="*/ 458668499 h 204"/>
                <a:gd name="T50" fmla="*/ 30241877 w 356"/>
                <a:gd name="T51" fmla="*/ 458668499 h 204"/>
                <a:gd name="T52" fmla="*/ 35282188 w 356"/>
                <a:gd name="T53" fmla="*/ 438507255 h 204"/>
                <a:gd name="T54" fmla="*/ 55443443 w 356"/>
                <a:gd name="T55" fmla="*/ 423386322 h 204"/>
                <a:gd name="T56" fmla="*/ 65524065 w 356"/>
                <a:gd name="T57" fmla="*/ 413305601 h 204"/>
                <a:gd name="T58" fmla="*/ 75604686 w 356"/>
                <a:gd name="T59" fmla="*/ 403224979 h 204"/>
                <a:gd name="T60" fmla="*/ 95765929 w 356"/>
                <a:gd name="T61" fmla="*/ 408265290 h 204"/>
                <a:gd name="T62" fmla="*/ 100806240 w 356"/>
                <a:gd name="T63" fmla="*/ 398184668 h 204"/>
                <a:gd name="T64" fmla="*/ 120967508 w 356"/>
                <a:gd name="T65" fmla="*/ 388104046 h 204"/>
                <a:gd name="T66" fmla="*/ 126007819 w 356"/>
                <a:gd name="T67" fmla="*/ 383063735 h 204"/>
                <a:gd name="T68" fmla="*/ 126007819 w 356"/>
                <a:gd name="T69" fmla="*/ 383063735 h 204"/>
                <a:gd name="T70" fmla="*/ 171370616 w 356"/>
                <a:gd name="T71" fmla="*/ 383063735 h 204"/>
                <a:gd name="T72" fmla="*/ 216733462 w 356"/>
                <a:gd name="T73" fmla="*/ 388104046 h 204"/>
                <a:gd name="T74" fmla="*/ 378023407 w 356"/>
                <a:gd name="T75" fmla="*/ 388104046 h 204"/>
                <a:gd name="T76" fmla="*/ 448587857 w 356"/>
                <a:gd name="T77" fmla="*/ 378023424 h 204"/>
                <a:gd name="T78" fmla="*/ 498990965 w 356"/>
                <a:gd name="T79" fmla="*/ 388104046 h 204"/>
                <a:gd name="T80" fmla="*/ 529232829 w 356"/>
                <a:gd name="T81" fmla="*/ 413305601 h 204"/>
                <a:gd name="T82" fmla="*/ 564515005 w 356"/>
                <a:gd name="T83" fmla="*/ 418346011 h 204"/>
                <a:gd name="T84" fmla="*/ 614918113 w 356"/>
                <a:gd name="T85" fmla="*/ 448587877 h 204"/>
                <a:gd name="T86" fmla="*/ 619958423 w 356"/>
                <a:gd name="T87" fmla="*/ 448587877 h 204"/>
                <a:gd name="T88" fmla="*/ 715724328 w 356"/>
                <a:gd name="T89" fmla="*/ 514111920 h 204"/>
                <a:gd name="T90" fmla="*/ 806449922 w 356"/>
                <a:gd name="T91" fmla="*/ 468749121 h 204"/>
                <a:gd name="T92" fmla="*/ 836691985 w 356"/>
                <a:gd name="T93" fmla="*/ 473789432 h 204"/>
                <a:gd name="T94" fmla="*/ 856853228 w 356"/>
                <a:gd name="T95" fmla="*/ 423386322 h 204"/>
                <a:gd name="T96" fmla="*/ 892135403 w 356"/>
                <a:gd name="T97" fmla="*/ 383063735 h 2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56"/>
                <a:gd name="T148" fmla="*/ 0 h 204"/>
                <a:gd name="T149" fmla="*/ 356 w 356"/>
                <a:gd name="T150" fmla="*/ 204 h 20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56" h="204">
                  <a:moveTo>
                    <a:pt x="354" y="152"/>
                  </a:moveTo>
                  <a:lnTo>
                    <a:pt x="356" y="134"/>
                  </a:lnTo>
                  <a:lnTo>
                    <a:pt x="348" y="116"/>
                  </a:lnTo>
                  <a:lnTo>
                    <a:pt x="332" y="72"/>
                  </a:lnTo>
                  <a:lnTo>
                    <a:pt x="330" y="56"/>
                  </a:lnTo>
                  <a:lnTo>
                    <a:pt x="326" y="50"/>
                  </a:lnTo>
                  <a:lnTo>
                    <a:pt x="302" y="34"/>
                  </a:lnTo>
                  <a:lnTo>
                    <a:pt x="274" y="30"/>
                  </a:lnTo>
                  <a:lnTo>
                    <a:pt x="242" y="22"/>
                  </a:lnTo>
                  <a:lnTo>
                    <a:pt x="210" y="0"/>
                  </a:lnTo>
                  <a:lnTo>
                    <a:pt x="188" y="2"/>
                  </a:lnTo>
                  <a:lnTo>
                    <a:pt x="158" y="16"/>
                  </a:lnTo>
                  <a:lnTo>
                    <a:pt x="156" y="28"/>
                  </a:lnTo>
                  <a:lnTo>
                    <a:pt x="164" y="68"/>
                  </a:lnTo>
                  <a:lnTo>
                    <a:pt x="148" y="88"/>
                  </a:lnTo>
                  <a:lnTo>
                    <a:pt x="110" y="88"/>
                  </a:lnTo>
                  <a:lnTo>
                    <a:pt x="104" y="74"/>
                  </a:lnTo>
                  <a:lnTo>
                    <a:pt x="88" y="52"/>
                  </a:lnTo>
                  <a:lnTo>
                    <a:pt x="66" y="36"/>
                  </a:lnTo>
                  <a:lnTo>
                    <a:pt x="36" y="48"/>
                  </a:lnTo>
                  <a:lnTo>
                    <a:pt x="20" y="74"/>
                  </a:lnTo>
                  <a:lnTo>
                    <a:pt x="4" y="120"/>
                  </a:lnTo>
                  <a:lnTo>
                    <a:pt x="0" y="164"/>
                  </a:lnTo>
                  <a:lnTo>
                    <a:pt x="6" y="184"/>
                  </a:lnTo>
                  <a:lnTo>
                    <a:pt x="10" y="182"/>
                  </a:lnTo>
                  <a:lnTo>
                    <a:pt x="12" y="182"/>
                  </a:lnTo>
                  <a:lnTo>
                    <a:pt x="14" y="174"/>
                  </a:lnTo>
                  <a:lnTo>
                    <a:pt x="22" y="168"/>
                  </a:lnTo>
                  <a:lnTo>
                    <a:pt x="26" y="164"/>
                  </a:lnTo>
                  <a:lnTo>
                    <a:pt x="30" y="160"/>
                  </a:lnTo>
                  <a:lnTo>
                    <a:pt x="38" y="162"/>
                  </a:lnTo>
                  <a:lnTo>
                    <a:pt x="40" y="158"/>
                  </a:lnTo>
                  <a:lnTo>
                    <a:pt x="48" y="154"/>
                  </a:lnTo>
                  <a:lnTo>
                    <a:pt x="50" y="152"/>
                  </a:lnTo>
                  <a:lnTo>
                    <a:pt x="68" y="152"/>
                  </a:lnTo>
                  <a:lnTo>
                    <a:pt x="86" y="154"/>
                  </a:lnTo>
                  <a:lnTo>
                    <a:pt x="150" y="154"/>
                  </a:lnTo>
                  <a:lnTo>
                    <a:pt x="178" y="150"/>
                  </a:lnTo>
                  <a:lnTo>
                    <a:pt x="198" y="154"/>
                  </a:lnTo>
                  <a:lnTo>
                    <a:pt x="210" y="164"/>
                  </a:lnTo>
                  <a:lnTo>
                    <a:pt x="224" y="166"/>
                  </a:lnTo>
                  <a:lnTo>
                    <a:pt x="244" y="178"/>
                  </a:lnTo>
                  <a:lnTo>
                    <a:pt x="246" y="178"/>
                  </a:lnTo>
                  <a:lnTo>
                    <a:pt x="284" y="204"/>
                  </a:lnTo>
                  <a:lnTo>
                    <a:pt x="320" y="186"/>
                  </a:lnTo>
                  <a:lnTo>
                    <a:pt x="332" y="188"/>
                  </a:lnTo>
                  <a:lnTo>
                    <a:pt x="340" y="168"/>
                  </a:lnTo>
                  <a:lnTo>
                    <a:pt x="354" y="152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00" name="Freeform 199"/>
            <p:cNvSpPr>
              <a:spLocks/>
            </p:cNvSpPr>
            <p:nvPr/>
          </p:nvSpPr>
          <p:spPr bwMode="auto">
            <a:xfrm>
              <a:off x="4345739" y="3570098"/>
              <a:ext cx="450850" cy="349250"/>
            </a:xfrm>
            <a:custGeom>
              <a:avLst/>
              <a:gdLst>
                <a:gd name="T0" fmla="*/ 715724266 w 284"/>
                <a:gd name="T1" fmla="*/ 136088449 h 220"/>
                <a:gd name="T2" fmla="*/ 680442093 w 284"/>
                <a:gd name="T3" fmla="*/ 287297832 h 220"/>
                <a:gd name="T4" fmla="*/ 624998680 w 284"/>
                <a:gd name="T5" fmla="*/ 322580010 h 220"/>
                <a:gd name="T6" fmla="*/ 619958369 w 284"/>
                <a:gd name="T7" fmla="*/ 403224987 h 220"/>
                <a:gd name="T8" fmla="*/ 599797128 w 284"/>
                <a:gd name="T9" fmla="*/ 478829753 h 220"/>
                <a:gd name="T10" fmla="*/ 534273094 w 284"/>
                <a:gd name="T11" fmla="*/ 493950686 h 220"/>
                <a:gd name="T12" fmla="*/ 473789370 w 284"/>
                <a:gd name="T13" fmla="*/ 539313486 h 220"/>
                <a:gd name="T14" fmla="*/ 393144305 w 284"/>
                <a:gd name="T15" fmla="*/ 544353797 h 220"/>
                <a:gd name="T16" fmla="*/ 378023374 w 284"/>
                <a:gd name="T17" fmla="*/ 554434420 h 220"/>
                <a:gd name="T18" fmla="*/ 342741202 w 284"/>
                <a:gd name="T19" fmla="*/ 549394109 h 220"/>
                <a:gd name="T20" fmla="*/ 312499340 w 284"/>
                <a:gd name="T21" fmla="*/ 478829753 h 220"/>
                <a:gd name="T22" fmla="*/ 241934995 w 284"/>
                <a:gd name="T23" fmla="*/ 458668509 h 220"/>
                <a:gd name="T24" fmla="*/ 231854375 w 284"/>
                <a:gd name="T25" fmla="*/ 438507264 h 220"/>
                <a:gd name="T26" fmla="*/ 236894685 w 284"/>
                <a:gd name="T27" fmla="*/ 388104054 h 220"/>
                <a:gd name="T28" fmla="*/ 216733444 w 284"/>
                <a:gd name="T29" fmla="*/ 317539699 h 220"/>
                <a:gd name="T30" fmla="*/ 211693133 w 284"/>
                <a:gd name="T31" fmla="*/ 302418765 h 220"/>
                <a:gd name="T32" fmla="*/ 136088429 w 284"/>
                <a:gd name="T33" fmla="*/ 307459076 h 220"/>
                <a:gd name="T34" fmla="*/ 55443438 w 284"/>
                <a:gd name="T35" fmla="*/ 257055965 h 220"/>
                <a:gd name="T36" fmla="*/ 0 w 284"/>
                <a:gd name="T37" fmla="*/ 262096277 h 220"/>
                <a:gd name="T38" fmla="*/ 15120937 w 284"/>
                <a:gd name="T39" fmla="*/ 236894721 h 220"/>
                <a:gd name="T40" fmla="*/ 20161248 w 284"/>
                <a:gd name="T41" fmla="*/ 191531871 h 220"/>
                <a:gd name="T42" fmla="*/ 15120937 w 284"/>
                <a:gd name="T43" fmla="*/ 141128760 h 220"/>
                <a:gd name="T44" fmla="*/ 15120937 w 284"/>
                <a:gd name="T45" fmla="*/ 85685314 h 220"/>
                <a:gd name="T46" fmla="*/ 25201558 w 284"/>
                <a:gd name="T47" fmla="*/ 80645002 h 220"/>
                <a:gd name="T48" fmla="*/ 30241874 w 284"/>
                <a:gd name="T49" fmla="*/ 80645002 h 220"/>
                <a:gd name="T50" fmla="*/ 35282185 w 284"/>
                <a:gd name="T51" fmla="*/ 60483758 h 220"/>
                <a:gd name="T52" fmla="*/ 55443438 w 284"/>
                <a:gd name="T53" fmla="*/ 45362812 h 220"/>
                <a:gd name="T54" fmla="*/ 65524059 w 284"/>
                <a:gd name="T55" fmla="*/ 35282190 h 220"/>
                <a:gd name="T56" fmla="*/ 75604680 w 284"/>
                <a:gd name="T57" fmla="*/ 25201562 h 220"/>
                <a:gd name="T58" fmla="*/ 95765921 w 284"/>
                <a:gd name="T59" fmla="*/ 30241879 h 220"/>
                <a:gd name="T60" fmla="*/ 100806231 w 284"/>
                <a:gd name="T61" fmla="*/ 20161251 h 220"/>
                <a:gd name="T62" fmla="*/ 120967498 w 284"/>
                <a:gd name="T63" fmla="*/ 10080625 h 220"/>
                <a:gd name="T64" fmla="*/ 126007808 w 284"/>
                <a:gd name="T65" fmla="*/ 5040313 h 220"/>
                <a:gd name="T66" fmla="*/ 126007808 w 284"/>
                <a:gd name="T67" fmla="*/ 5040313 h 220"/>
                <a:gd name="T68" fmla="*/ 171370601 w 284"/>
                <a:gd name="T69" fmla="*/ 5040313 h 220"/>
                <a:gd name="T70" fmla="*/ 216733444 w 284"/>
                <a:gd name="T71" fmla="*/ 10080625 h 220"/>
                <a:gd name="T72" fmla="*/ 378023374 w 284"/>
                <a:gd name="T73" fmla="*/ 10080625 h 220"/>
                <a:gd name="T74" fmla="*/ 448587818 w 284"/>
                <a:gd name="T75" fmla="*/ 0 h 220"/>
                <a:gd name="T76" fmla="*/ 498990921 w 284"/>
                <a:gd name="T77" fmla="*/ 10080625 h 220"/>
                <a:gd name="T78" fmla="*/ 529232783 w 284"/>
                <a:gd name="T79" fmla="*/ 35282190 h 220"/>
                <a:gd name="T80" fmla="*/ 564514956 w 284"/>
                <a:gd name="T81" fmla="*/ 40322501 h 220"/>
                <a:gd name="T82" fmla="*/ 614918059 w 284"/>
                <a:gd name="T83" fmla="*/ 70564380 h 220"/>
                <a:gd name="T84" fmla="*/ 619958369 w 284"/>
                <a:gd name="T85" fmla="*/ 70564380 h 220"/>
                <a:gd name="T86" fmla="*/ 715724266 w 284"/>
                <a:gd name="T87" fmla="*/ 136088449 h 2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84"/>
                <a:gd name="T133" fmla="*/ 0 h 220"/>
                <a:gd name="T134" fmla="*/ 284 w 284"/>
                <a:gd name="T135" fmla="*/ 220 h 2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84" h="220">
                  <a:moveTo>
                    <a:pt x="284" y="54"/>
                  </a:moveTo>
                  <a:lnTo>
                    <a:pt x="270" y="114"/>
                  </a:lnTo>
                  <a:lnTo>
                    <a:pt x="248" y="128"/>
                  </a:lnTo>
                  <a:lnTo>
                    <a:pt x="246" y="160"/>
                  </a:lnTo>
                  <a:lnTo>
                    <a:pt x="238" y="190"/>
                  </a:lnTo>
                  <a:lnTo>
                    <a:pt x="212" y="196"/>
                  </a:lnTo>
                  <a:lnTo>
                    <a:pt x="188" y="214"/>
                  </a:lnTo>
                  <a:lnTo>
                    <a:pt x="156" y="216"/>
                  </a:lnTo>
                  <a:lnTo>
                    <a:pt x="150" y="220"/>
                  </a:lnTo>
                  <a:lnTo>
                    <a:pt x="136" y="218"/>
                  </a:lnTo>
                  <a:lnTo>
                    <a:pt x="124" y="190"/>
                  </a:lnTo>
                  <a:lnTo>
                    <a:pt x="96" y="182"/>
                  </a:lnTo>
                  <a:lnTo>
                    <a:pt x="92" y="174"/>
                  </a:lnTo>
                  <a:lnTo>
                    <a:pt x="94" y="154"/>
                  </a:lnTo>
                  <a:lnTo>
                    <a:pt x="86" y="126"/>
                  </a:lnTo>
                  <a:lnTo>
                    <a:pt x="84" y="120"/>
                  </a:lnTo>
                  <a:lnTo>
                    <a:pt x="54" y="122"/>
                  </a:lnTo>
                  <a:lnTo>
                    <a:pt x="22" y="102"/>
                  </a:lnTo>
                  <a:lnTo>
                    <a:pt x="0" y="104"/>
                  </a:lnTo>
                  <a:lnTo>
                    <a:pt x="6" y="94"/>
                  </a:lnTo>
                  <a:lnTo>
                    <a:pt x="8" y="76"/>
                  </a:lnTo>
                  <a:lnTo>
                    <a:pt x="6" y="56"/>
                  </a:lnTo>
                  <a:lnTo>
                    <a:pt x="6" y="34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4" y="24"/>
                  </a:lnTo>
                  <a:lnTo>
                    <a:pt x="22" y="18"/>
                  </a:lnTo>
                  <a:lnTo>
                    <a:pt x="26" y="14"/>
                  </a:lnTo>
                  <a:lnTo>
                    <a:pt x="30" y="10"/>
                  </a:lnTo>
                  <a:lnTo>
                    <a:pt x="38" y="12"/>
                  </a:lnTo>
                  <a:lnTo>
                    <a:pt x="40" y="8"/>
                  </a:lnTo>
                  <a:lnTo>
                    <a:pt x="48" y="4"/>
                  </a:lnTo>
                  <a:lnTo>
                    <a:pt x="50" y="2"/>
                  </a:lnTo>
                  <a:lnTo>
                    <a:pt x="68" y="2"/>
                  </a:lnTo>
                  <a:lnTo>
                    <a:pt x="86" y="4"/>
                  </a:lnTo>
                  <a:lnTo>
                    <a:pt x="150" y="4"/>
                  </a:lnTo>
                  <a:lnTo>
                    <a:pt x="178" y="0"/>
                  </a:lnTo>
                  <a:lnTo>
                    <a:pt x="198" y="4"/>
                  </a:lnTo>
                  <a:lnTo>
                    <a:pt x="210" y="14"/>
                  </a:lnTo>
                  <a:lnTo>
                    <a:pt x="224" y="16"/>
                  </a:lnTo>
                  <a:lnTo>
                    <a:pt x="244" y="28"/>
                  </a:lnTo>
                  <a:lnTo>
                    <a:pt x="246" y="28"/>
                  </a:lnTo>
                  <a:lnTo>
                    <a:pt x="284" y="54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01" name="Freeform 201"/>
            <p:cNvSpPr>
              <a:spLocks/>
            </p:cNvSpPr>
            <p:nvPr/>
          </p:nvSpPr>
          <p:spPr bwMode="auto">
            <a:xfrm>
              <a:off x="3775827" y="3798698"/>
              <a:ext cx="862012" cy="804862"/>
            </a:xfrm>
            <a:custGeom>
              <a:avLst/>
              <a:gdLst>
                <a:gd name="T0" fmla="*/ 647678894 w 543"/>
                <a:gd name="T1" fmla="*/ 105846521 h 507"/>
                <a:gd name="T2" fmla="*/ 594756461 w 543"/>
                <a:gd name="T3" fmla="*/ 10080619 h 507"/>
                <a:gd name="T4" fmla="*/ 433466627 w 543"/>
                <a:gd name="T5" fmla="*/ 15120931 h 507"/>
                <a:gd name="T6" fmla="*/ 292337923 w 543"/>
                <a:gd name="T7" fmla="*/ 100806188 h 507"/>
                <a:gd name="T8" fmla="*/ 25201543 w 543"/>
                <a:gd name="T9" fmla="*/ 171370527 h 507"/>
                <a:gd name="T10" fmla="*/ 30241856 w 543"/>
                <a:gd name="T11" fmla="*/ 221773658 h 507"/>
                <a:gd name="T12" fmla="*/ 40322471 w 543"/>
                <a:gd name="T13" fmla="*/ 317539513 h 507"/>
                <a:gd name="T14" fmla="*/ 0 w 543"/>
                <a:gd name="T15" fmla="*/ 418345775 h 507"/>
                <a:gd name="T16" fmla="*/ 65524020 w 543"/>
                <a:gd name="T17" fmla="*/ 589716253 h 507"/>
                <a:gd name="T18" fmla="*/ 60483713 w 543"/>
                <a:gd name="T19" fmla="*/ 710683648 h 507"/>
                <a:gd name="T20" fmla="*/ 85685249 w 543"/>
                <a:gd name="T21" fmla="*/ 796368887 h 507"/>
                <a:gd name="T22" fmla="*/ 80644942 w 543"/>
                <a:gd name="T23" fmla="*/ 841731859 h 507"/>
                <a:gd name="T24" fmla="*/ 115927118 w 543"/>
                <a:gd name="T25" fmla="*/ 844251219 h 507"/>
                <a:gd name="T26" fmla="*/ 252015465 w 543"/>
                <a:gd name="T27" fmla="*/ 914815533 h 507"/>
                <a:gd name="T28" fmla="*/ 317539460 w 543"/>
                <a:gd name="T29" fmla="*/ 1035782929 h 507"/>
                <a:gd name="T30" fmla="*/ 337700689 w 543"/>
                <a:gd name="T31" fmla="*/ 980339539 h 507"/>
                <a:gd name="T32" fmla="*/ 403224684 w 543"/>
                <a:gd name="T33" fmla="*/ 1000500772 h 507"/>
                <a:gd name="T34" fmla="*/ 463708471 w 543"/>
                <a:gd name="T35" fmla="*/ 1005541080 h 507"/>
                <a:gd name="T36" fmla="*/ 468748778 w 543"/>
                <a:gd name="T37" fmla="*/ 1071065086 h 507"/>
                <a:gd name="T38" fmla="*/ 549393695 w 543"/>
                <a:gd name="T39" fmla="*/ 1091226319 h 507"/>
                <a:gd name="T40" fmla="*/ 667840123 w 543"/>
                <a:gd name="T41" fmla="*/ 1207153406 h 507"/>
                <a:gd name="T42" fmla="*/ 703122274 w 543"/>
                <a:gd name="T43" fmla="*/ 1166830941 h 507"/>
                <a:gd name="T44" fmla="*/ 783767191 w 543"/>
                <a:gd name="T45" fmla="*/ 1252516180 h 507"/>
                <a:gd name="T46" fmla="*/ 975299068 w 543"/>
                <a:gd name="T47" fmla="*/ 1197072790 h 507"/>
                <a:gd name="T48" fmla="*/ 1081145521 w 543"/>
                <a:gd name="T49" fmla="*/ 1252516180 h 507"/>
                <a:gd name="T50" fmla="*/ 1161790438 w 543"/>
                <a:gd name="T51" fmla="*/ 1277717720 h 507"/>
                <a:gd name="T52" fmla="*/ 1257556277 w 543"/>
                <a:gd name="T53" fmla="*/ 1045863545 h 507"/>
                <a:gd name="T54" fmla="*/ 1358362423 w 543"/>
                <a:gd name="T55" fmla="*/ 970258923 h 507"/>
                <a:gd name="T56" fmla="*/ 1287798121 w 543"/>
                <a:gd name="T57" fmla="*/ 735885189 h 507"/>
                <a:gd name="T58" fmla="*/ 1277717506 w 543"/>
                <a:gd name="T59" fmla="*/ 685482108 h 507"/>
                <a:gd name="T60" fmla="*/ 1267636892 w 543"/>
                <a:gd name="T61" fmla="*/ 584675944 h 507"/>
                <a:gd name="T62" fmla="*/ 1277717506 w 543"/>
                <a:gd name="T63" fmla="*/ 483869781 h 507"/>
                <a:gd name="T64" fmla="*/ 1318039965 w 543"/>
                <a:gd name="T65" fmla="*/ 423386083 h 507"/>
                <a:gd name="T66" fmla="*/ 1277717506 w 543"/>
                <a:gd name="T67" fmla="*/ 287297664 h 507"/>
                <a:gd name="T68" fmla="*/ 1217233819 w 543"/>
                <a:gd name="T69" fmla="*/ 115927137 h 507"/>
                <a:gd name="T70" fmla="*/ 1060984292 w 543"/>
                <a:gd name="T71" fmla="*/ 105846521 h 507"/>
                <a:gd name="T72" fmla="*/ 758565655 w 543"/>
                <a:gd name="T73" fmla="*/ 85685263 h 50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543"/>
                <a:gd name="T112" fmla="*/ 0 h 507"/>
                <a:gd name="T113" fmla="*/ 543 w 543"/>
                <a:gd name="T114" fmla="*/ 507 h 50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543" h="507">
                  <a:moveTo>
                    <a:pt x="291" y="32"/>
                  </a:moveTo>
                  <a:lnTo>
                    <a:pt x="257" y="42"/>
                  </a:lnTo>
                  <a:lnTo>
                    <a:pt x="240" y="34"/>
                  </a:lnTo>
                  <a:lnTo>
                    <a:pt x="236" y="4"/>
                  </a:lnTo>
                  <a:lnTo>
                    <a:pt x="230" y="0"/>
                  </a:lnTo>
                  <a:lnTo>
                    <a:pt x="172" y="6"/>
                  </a:lnTo>
                  <a:lnTo>
                    <a:pt x="138" y="20"/>
                  </a:lnTo>
                  <a:lnTo>
                    <a:pt x="116" y="40"/>
                  </a:lnTo>
                  <a:lnTo>
                    <a:pt x="32" y="62"/>
                  </a:lnTo>
                  <a:lnTo>
                    <a:pt x="10" y="68"/>
                  </a:lnTo>
                  <a:lnTo>
                    <a:pt x="10" y="72"/>
                  </a:lnTo>
                  <a:lnTo>
                    <a:pt x="12" y="88"/>
                  </a:lnTo>
                  <a:lnTo>
                    <a:pt x="10" y="88"/>
                  </a:lnTo>
                  <a:lnTo>
                    <a:pt x="16" y="126"/>
                  </a:lnTo>
                  <a:lnTo>
                    <a:pt x="12" y="138"/>
                  </a:lnTo>
                  <a:lnTo>
                    <a:pt x="0" y="166"/>
                  </a:lnTo>
                  <a:lnTo>
                    <a:pt x="20" y="188"/>
                  </a:lnTo>
                  <a:lnTo>
                    <a:pt x="26" y="234"/>
                  </a:lnTo>
                  <a:lnTo>
                    <a:pt x="16" y="260"/>
                  </a:lnTo>
                  <a:lnTo>
                    <a:pt x="24" y="282"/>
                  </a:lnTo>
                  <a:lnTo>
                    <a:pt x="32" y="288"/>
                  </a:lnTo>
                  <a:lnTo>
                    <a:pt x="34" y="316"/>
                  </a:lnTo>
                  <a:lnTo>
                    <a:pt x="22" y="341"/>
                  </a:lnTo>
                  <a:lnTo>
                    <a:pt x="32" y="334"/>
                  </a:lnTo>
                  <a:lnTo>
                    <a:pt x="34" y="328"/>
                  </a:lnTo>
                  <a:lnTo>
                    <a:pt x="46" y="335"/>
                  </a:lnTo>
                  <a:lnTo>
                    <a:pt x="68" y="353"/>
                  </a:lnTo>
                  <a:lnTo>
                    <a:pt x="100" y="363"/>
                  </a:lnTo>
                  <a:lnTo>
                    <a:pt x="110" y="397"/>
                  </a:lnTo>
                  <a:lnTo>
                    <a:pt x="126" y="411"/>
                  </a:lnTo>
                  <a:lnTo>
                    <a:pt x="140" y="407"/>
                  </a:lnTo>
                  <a:lnTo>
                    <a:pt x="134" y="389"/>
                  </a:lnTo>
                  <a:lnTo>
                    <a:pt x="162" y="397"/>
                  </a:lnTo>
                  <a:lnTo>
                    <a:pt x="160" y="397"/>
                  </a:lnTo>
                  <a:lnTo>
                    <a:pt x="176" y="401"/>
                  </a:lnTo>
                  <a:lnTo>
                    <a:pt x="184" y="399"/>
                  </a:lnTo>
                  <a:lnTo>
                    <a:pt x="184" y="411"/>
                  </a:lnTo>
                  <a:lnTo>
                    <a:pt x="186" y="425"/>
                  </a:lnTo>
                  <a:lnTo>
                    <a:pt x="216" y="435"/>
                  </a:lnTo>
                  <a:lnTo>
                    <a:pt x="218" y="433"/>
                  </a:lnTo>
                  <a:lnTo>
                    <a:pt x="245" y="471"/>
                  </a:lnTo>
                  <a:lnTo>
                    <a:pt x="265" y="479"/>
                  </a:lnTo>
                  <a:lnTo>
                    <a:pt x="269" y="469"/>
                  </a:lnTo>
                  <a:lnTo>
                    <a:pt x="279" y="463"/>
                  </a:lnTo>
                  <a:lnTo>
                    <a:pt x="303" y="499"/>
                  </a:lnTo>
                  <a:lnTo>
                    <a:pt x="311" y="497"/>
                  </a:lnTo>
                  <a:lnTo>
                    <a:pt x="341" y="481"/>
                  </a:lnTo>
                  <a:lnTo>
                    <a:pt x="387" y="475"/>
                  </a:lnTo>
                  <a:lnTo>
                    <a:pt x="429" y="491"/>
                  </a:lnTo>
                  <a:lnTo>
                    <a:pt x="429" y="497"/>
                  </a:lnTo>
                  <a:lnTo>
                    <a:pt x="439" y="499"/>
                  </a:lnTo>
                  <a:lnTo>
                    <a:pt x="461" y="507"/>
                  </a:lnTo>
                  <a:lnTo>
                    <a:pt x="473" y="453"/>
                  </a:lnTo>
                  <a:lnTo>
                    <a:pt x="499" y="415"/>
                  </a:lnTo>
                  <a:lnTo>
                    <a:pt x="527" y="387"/>
                  </a:lnTo>
                  <a:lnTo>
                    <a:pt x="539" y="385"/>
                  </a:lnTo>
                  <a:lnTo>
                    <a:pt x="543" y="365"/>
                  </a:lnTo>
                  <a:lnTo>
                    <a:pt x="511" y="292"/>
                  </a:lnTo>
                  <a:lnTo>
                    <a:pt x="507" y="282"/>
                  </a:lnTo>
                  <a:lnTo>
                    <a:pt x="507" y="272"/>
                  </a:lnTo>
                  <a:lnTo>
                    <a:pt x="511" y="240"/>
                  </a:lnTo>
                  <a:lnTo>
                    <a:pt x="503" y="232"/>
                  </a:lnTo>
                  <a:lnTo>
                    <a:pt x="483" y="222"/>
                  </a:lnTo>
                  <a:lnTo>
                    <a:pt x="507" y="192"/>
                  </a:lnTo>
                  <a:lnTo>
                    <a:pt x="521" y="186"/>
                  </a:lnTo>
                  <a:lnTo>
                    <a:pt x="523" y="168"/>
                  </a:lnTo>
                  <a:lnTo>
                    <a:pt x="519" y="142"/>
                  </a:lnTo>
                  <a:lnTo>
                    <a:pt x="507" y="114"/>
                  </a:lnTo>
                  <a:lnTo>
                    <a:pt x="495" y="74"/>
                  </a:lnTo>
                  <a:lnTo>
                    <a:pt x="483" y="46"/>
                  </a:lnTo>
                  <a:lnTo>
                    <a:pt x="455" y="38"/>
                  </a:lnTo>
                  <a:lnTo>
                    <a:pt x="421" y="42"/>
                  </a:lnTo>
                  <a:lnTo>
                    <a:pt x="379" y="44"/>
                  </a:lnTo>
                  <a:lnTo>
                    <a:pt x="301" y="34"/>
                  </a:lnTo>
                  <a:lnTo>
                    <a:pt x="291" y="32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02" name="Freeform 231"/>
            <p:cNvSpPr>
              <a:spLocks/>
            </p:cNvSpPr>
            <p:nvPr/>
          </p:nvSpPr>
          <p:spPr bwMode="auto">
            <a:xfrm>
              <a:off x="4247313" y="1620647"/>
              <a:ext cx="768350" cy="1447800"/>
            </a:xfrm>
            <a:custGeom>
              <a:avLst/>
              <a:gdLst>
                <a:gd name="T0" fmla="*/ 41275 w 768350"/>
                <a:gd name="T1" fmla="*/ 1409700 h 1447800"/>
                <a:gd name="T2" fmla="*/ 6350 w 768350"/>
                <a:gd name="T3" fmla="*/ 1438275 h 1447800"/>
                <a:gd name="T4" fmla="*/ 15875 w 768350"/>
                <a:gd name="T5" fmla="*/ 1390650 h 1447800"/>
                <a:gd name="T6" fmla="*/ 438150 w 768350"/>
                <a:gd name="T7" fmla="*/ 34925 h 1447800"/>
                <a:gd name="T8" fmla="*/ 476250 w 768350"/>
                <a:gd name="T9" fmla="*/ 47625 h 1447800"/>
                <a:gd name="T10" fmla="*/ 476250 w 768350"/>
                <a:gd name="T11" fmla="*/ 101600 h 1447800"/>
                <a:gd name="T12" fmla="*/ 479425 w 768350"/>
                <a:gd name="T13" fmla="*/ 136525 h 1447800"/>
                <a:gd name="T14" fmla="*/ 454025 w 768350"/>
                <a:gd name="T15" fmla="*/ 161925 h 1447800"/>
                <a:gd name="T16" fmla="*/ 473075 w 768350"/>
                <a:gd name="T17" fmla="*/ 234950 h 1447800"/>
                <a:gd name="T18" fmla="*/ 504825 w 768350"/>
                <a:gd name="T19" fmla="*/ 266700 h 1447800"/>
                <a:gd name="T20" fmla="*/ 561975 w 768350"/>
                <a:gd name="T21" fmla="*/ 317500 h 1447800"/>
                <a:gd name="T22" fmla="*/ 546100 w 768350"/>
                <a:gd name="T23" fmla="*/ 377825 h 1447800"/>
                <a:gd name="T24" fmla="*/ 527050 w 768350"/>
                <a:gd name="T25" fmla="*/ 428625 h 1447800"/>
                <a:gd name="T26" fmla="*/ 609600 w 768350"/>
                <a:gd name="T27" fmla="*/ 587375 h 1447800"/>
                <a:gd name="T28" fmla="*/ 596900 w 768350"/>
                <a:gd name="T29" fmla="*/ 644525 h 1447800"/>
                <a:gd name="T30" fmla="*/ 619125 w 768350"/>
                <a:gd name="T31" fmla="*/ 727075 h 1447800"/>
                <a:gd name="T32" fmla="*/ 679450 w 768350"/>
                <a:gd name="T33" fmla="*/ 819150 h 1447800"/>
                <a:gd name="T34" fmla="*/ 647700 w 768350"/>
                <a:gd name="T35" fmla="*/ 873125 h 1447800"/>
                <a:gd name="T36" fmla="*/ 695325 w 768350"/>
                <a:gd name="T37" fmla="*/ 908050 h 1447800"/>
                <a:gd name="T38" fmla="*/ 758825 w 768350"/>
                <a:gd name="T39" fmla="*/ 1028700 h 1447800"/>
                <a:gd name="T40" fmla="*/ 682625 w 768350"/>
                <a:gd name="T41" fmla="*/ 1171575 h 1447800"/>
                <a:gd name="T42" fmla="*/ 527050 w 768350"/>
                <a:gd name="T43" fmla="*/ 1355725 h 1447800"/>
                <a:gd name="T44" fmla="*/ 393700 w 768350"/>
                <a:gd name="T45" fmla="*/ 1400175 h 1447800"/>
                <a:gd name="T46" fmla="*/ 330200 w 768350"/>
                <a:gd name="T47" fmla="*/ 1431925 h 1447800"/>
                <a:gd name="T48" fmla="*/ 314325 w 768350"/>
                <a:gd name="T49" fmla="*/ 1435100 h 1447800"/>
                <a:gd name="T50" fmla="*/ 222250 w 768350"/>
                <a:gd name="T51" fmla="*/ 1419225 h 1447800"/>
                <a:gd name="T52" fmla="*/ 174625 w 768350"/>
                <a:gd name="T53" fmla="*/ 1384300 h 1447800"/>
                <a:gd name="T54" fmla="*/ 114300 w 768350"/>
                <a:gd name="T55" fmla="*/ 1346200 h 1447800"/>
                <a:gd name="T56" fmla="*/ 127000 w 768350"/>
                <a:gd name="T57" fmla="*/ 1270000 h 1447800"/>
                <a:gd name="T58" fmla="*/ 101600 w 768350"/>
                <a:gd name="T59" fmla="*/ 1146175 h 1447800"/>
                <a:gd name="T60" fmla="*/ 142875 w 768350"/>
                <a:gd name="T61" fmla="*/ 996950 h 1447800"/>
                <a:gd name="T62" fmla="*/ 158750 w 768350"/>
                <a:gd name="T63" fmla="*/ 993775 h 1447800"/>
                <a:gd name="T64" fmla="*/ 168275 w 768350"/>
                <a:gd name="T65" fmla="*/ 942975 h 1447800"/>
                <a:gd name="T66" fmla="*/ 193675 w 768350"/>
                <a:gd name="T67" fmla="*/ 923925 h 1447800"/>
                <a:gd name="T68" fmla="*/ 279400 w 768350"/>
                <a:gd name="T69" fmla="*/ 812800 h 1447800"/>
                <a:gd name="T70" fmla="*/ 292100 w 768350"/>
                <a:gd name="T71" fmla="*/ 774700 h 1447800"/>
                <a:gd name="T72" fmla="*/ 346075 w 768350"/>
                <a:gd name="T73" fmla="*/ 752475 h 1447800"/>
                <a:gd name="T74" fmla="*/ 314325 w 768350"/>
                <a:gd name="T75" fmla="*/ 641350 h 1447800"/>
                <a:gd name="T76" fmla="*/ 288925 w 768350"/>
                <a:gd name="T77" fmla="*/ 625475 h 1447800"/>
                <a:gd name="T78" fmla="*/ 279400 w 768350"/>
                <a:gd name="T79" fmla="*/ 625475 h 1447800"/>
                <a:gd name="T80" fmla="*/ 247650 w 768350"/>
                <a:gd name="T81" fmla="*/ 571500 h 1447800"/>
                <a:gd name="T82" fmla="*/ 241300 w 768350"/>
                <a:gd name="T83" fmla="*/ 466725 h 1447800"/>
                <a:gd name="T84" fmla="*/ 228600 w 768350"/>
                <a:gd name="T85" fmla="*/ 390525 h 1447800"/>
                <a:gd name="T86" fmla="*/ 187325 w 768350"/>
                <a:gd name="T87" fmla="*/ 276225 h 1447800"/>
                <a:gd name="T88" fmla="*/ 114300 w 768350"/>
                <a:gd name="T89" fmla="*/ 228600 h 1447800"/>
                <a:gd name="T90" fmla="*/ 53975 w 768350"/>
                <a:gd name="T91" fmla="*/ 168275 h 1447800"/>
                <a:gd name="T92" fmla="*/ 92075 w 768350"/>
                <a:gd name="T93" fmla="*/ 130175 h 1447800"/>
                <a:gd name="T94" fmla="*/ 120650 w 768350"/>
                <a:gd name="T95" fmla="*/ 155575 h 1447800"/>
                <a:gd name="T96" fmla="*/ 158750 w 768350"/>
                <a:gd name="T97" fmla="*/ 212725 h 1447800"/>
                <a:gd name="T98" fmla="*/ 215900 w 768350"/>
                <a:gd name="T99" fmla="*/ 209550 h 1447800"/>
                <a:gd name="T100" fmla="*/ 250825 w 768350"/>
                <a:gd name="T101" fmla="*/ 206375 h 1447800"/>
                <a:gd name="T102" fmla="*/ 314325 w 768350"/>
                <a:gd name="T103" fmla="*/ 146050 h 1447800"/>
                <a:gd name="T104" fmla="*/ 314325 w 768350"/>
                <a:gd name="T105" fmla="*/ 101600 h 1447800"/>
                <a:gd name="T106" fmla="*/ 342900 w 768350"/>
                <a:gd name="T107" fmla="*/ 28575 h 1447800"/>
                <a:gd name="T108" fmla="*/ 409575 w 768350"/>
                <a:gd name="T109" fmla="*/ 0 h 14478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68350"/>
                <a:gd name="T166" fmla="*/ 0 h 1447800"/>
                <a:gd name="T167" fmla="*/ 768350 w 768350"/>
                <a:gd name="T168" fmla="*/ 1447800 h 14478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68350" h="1447800">
                  <a:moveTo>
                    <a:pt x="15875" y="1390650"/>
                  </a:moveTo>
                  <a:lnTo>
                    <a:pt x="41275" y="1409700"/>
                  </a:lnTo>
                  <a:lnTo>
                    <a:pt x="25400" y="1435100"/>
                  </a:lnTo>
                  <a:lnTo>
                    <a:pt x="6350" y="1438275"/>
                  </a:lnTo>
                  <a:lnTo>
                    <a:pt x="0" y="1406525"/>
                  </a:lnTo>
                  <a:lnTo>
                    <a:pt x="15875" y="1390650"/>
                  </a:lnTo>
                  <a:close/>
                  <a:moveTo>
                    <a:pt x="409575" y="0"/>
                  </a:moveTo>
                  <a:lnTo>
                    <a:pt x="438150" y="34925"/>
                  </a:lnTo>
                  <a:lnTo>
                    <a:pt x="460375" y="41275"/>
                  </a:lnTo>
                  <a:lnTo>
                    <a:pt x="476250" y="47625"/>
                  </a:lnTo>
                  <a:lnTo>
                    <a:pt x="485775" y="79375"/>
                  </a:lnTo>
                  <a:lnTo>
                    <a:pt x="476250" y="101600"/>
                  </a:lnTo>
                  <a:lnTo>
                    <a:pt x="469900" y="123825"/>
                  </a:lnTo>
                  <a:lnTo>
                    <a:pt x="479425" y="136525"/>
                  </a:lnTo>
                  <a:lnTo>
                    <a:pt x="466725" y="149225"/>
                  </a:lnTo>
                  <a:lnTo>
                    <a:pt x="454025" y="161925"/>
                  </a:lnTo>
                  <a:lnTo>
                    <a:pt x="463550" y="206375"/>
                  </a:lnTo>
                  <a:lnTo>
                    <a:pt x="473075" y="234950"/>
                  </a:lnTo>
                  <a:lnTo>
                    <a:pt x="485775" y="260350"/>
                  </a:lnTo>
                  <a:lnTo>
                    <a:pt x="504825" y="266700"/>
                  </a:lnTo>
                  <a:lnTo>
                    <a:pt x="539750" y="292100"/>
                  </a:lnTo>
                  <a:lnTo>
                    <a:pt x="561975" y="317500"/>
                  </a:lnTo>
                  <a:lnTo>
                    <a:pt x="565150" y="339725"/>
                  </a:lnTo>
                  <a:lnTo>
                    <a:pt x="546100" y="377825"/>
                  </a:lnTo>
                  <a:lnTo>
                    <a:pt x="536575" y="406400"/>
                  </a:lnTo>
                  <a:lnTo>
                    <a:pt x="527050" y="428625"/>
                  </a:lnTo>
                  <a:lnTo>
                    <a:pt x="552450" y="473075"/>
                  </a:lnTo>
                  <a:lnTo>
                    <a:pt x="609600" y="587375"/>
                  </a:lnTo>
                  <a:lnTo>
                    <a:pt x="596900" y="606425"/>
                  </a:lnTo>
                  <a:lnTo>
                    <a:pt x="596900" y="644525"/>
                  </a:lnTo>
                  <a:lnTo>
                    <a:pt x="596900" y="695325"/>
                  </a:lnTo>
                  <a:lnTo>
                    <a:pt x="619125" y="727075"/>
                  </a:lnTo>
                  <a:lnTo>
                    <a:pt x="647700" y="749300"/>
                  </a:lnTo>
                  <a:lnTo>
                    <a:pt x="679450" y="819150"/>
                  </a:lnTo>
                  <a:lnTo>
                    <a:pt x="660400" y="860425"/>
                  </a:lnTo>
                  <a:lnTo>
                    <a:pt x="647700" y="873125"/>
                  </a:lnTo>
                  <a:lnTo>
                    <a:pt x="663575" y="889000"/>
                  </a:lnTo>
                  <a:lnTo>
                    <a:pt x="695325" y="908050"/>
                  </a:lnTo>
                  <a:lnTo>
                    <a:pt x="768350" y="971550"/>
                  </a:lnTo>
                  <a:lnTo>
                    <a:pt x="758825" y="1028700"/>
                  </a:lnTo>
                  <a:lnTo>
                    <a:pt x="742950" y="1060450"/>
                  </a:lnTo>
                  <a:lnTo>
                    <a:pt x="682625" y="1171575"/>
                  </a:lnTo>
                  <a:lnTo>
                    <a:pt x="565150" y="1339850"/>
                  </a:lnTo>
                  <a:lnTo>
                    <a:pt x="527050" y="1355725"/>
                  </a:lnTo>
                  <a:lnTo>
                    <a:pt x="488950" y="1365250"/>
                  </a:lnTo>
                  <a:lnTo>
                    <a:pt x="393700" y="1400175"/>
                  </a:lnTo>
                  <a:lnTo>
                    <a:pt x="358775" y="1419225"/>
                  </a:lnTo>
                  <a:lnTo>
                    <a:pt x="330200" y="1431925"/>
                  </a:lnTo>
                  <a:lnTo>
                    <a:pt x="323850" y="1428750"/>
                  </a:lnTo>
                  <a:lnTo>
                    <a:pt x="314325" y="1435100"/>
                  </a:lnTo>
                  <a:lnTo>
                    <a:pt x="241300" y="1447800"/>
                  </a:lnTo>
                  <a:lnTo>
                    <a:pt x="222250" y="1419225"/>
                  </a:lnTo>
                  <a:lnTo>
                    <a:pt x="196850" y="1390650"/>
                  </a:lnTo>
                  <a:lnTo>
                    <a:pt x="174625" y="1384300"/>
                  </a:lnTo>
                  <a:lnTo>
                    <a:pt x="130175" y="1371600"/>
                  </a:lnTo>
                  <a:lnTo>
                    <a:pt x="114300" y="1346200"/>
                  </a:lnTo>
                  <a:lnTo>
                    <a:pt x="111125" y="1298575"/>
                  </a:lnTo>
                  <a:lnTo>
                    <a:pt x="127000" y="1270000"/>
                  </a:lnTo>
                  <a:lnTo>
                    <a:pt x="130175" y="1219200"/>
                  </a:lnTo>
                  <a:lnTo>
                    <a:pt x="101600" y="1146175"/>
                  </a:lnTo>
                  <a:lnTo>
                    <a:pt x="95250" y="1050925"/>
                  </a:lnTo>
                  <a:lnTo>
                    <a:pt x="142875" y="996950"/>
                  </a:lnTo>
                  <a:lnTo>
                    <a:pt x="149225" y="1003300"/>
                  </a:lnTo>
                  <a:lnTo>
                    <a:pt x="158750" y="993775"/>
                  </a:lnTo>
                  <a:lnTo>
                    <a:pt x="174625" y="962025"/>
                  </a:lnTo>
                  <a:lnTo>
                    <a:pt x="168275" y="942975"/>
                  </a:lnTo>
                  <a:lnTo>
                    <a:pt x="184150" y="923925"/>
                  </a:lnTo>
                  <a:lnTo>
                    <a:pt x="193675" y="923925"/>
                  </a:lnTo>
                  <a:lnTo>
                    <a:pt x="238125" y="876300"/>
                  </a:lnTo>
                  <a:lnTo>
                    <a:pt x="279400" y="812800"/>
                  </a:lnTo>
                  <a:lnTo>
                    <a:pt x="288925" y="793750"/>
                  </a:lnTo>
                  <a:lnTo>
                    <a:pt x="292100" y="774700"/>
                  </a:lnTo>
                  <a:lnTo>
                    <a:pt x="327025" y="742950"/>
                  </a:lnTo>
                  <a:lnTo>
                    <a:pt x="346075" y="752475"/>
                  </a:lnTo>
                  <a:lnTo>
                    <a:pt x="339725" y="669925"/>
                  </a:lnTo>
                  <a:lnTo>
                    <a:pt x="314325" y="641350"/>
                  </a:lnTo>
                  <a:lnTo>
                    <a:pt x="301625" y="641350"/>
                  </a:lnTo>
                  <a:lnTo>
                    <a:pt x="288925" y="625475"/>
                  </a:lnTo>
                  <a:lnTo>
                    <a:pt x="285750" y="622300"/>
                  </a:lnTo>
                  <a:lnTo>
                    <a:pt x="279400" y="625475"/>
                  </a:lnTo>
                  <a:lnTo>
                    <a:pt x="266700" y="619125"/>
                  </a:lnTo>
                  <a:lnTo>
                    <a:pt x="247650" y="571500"/>
                  </a:lnTo>
                  <a:lnTo>
                    <a:pt x="241300" y="511175"/>
                  </a:lnTo>
                  <a:lnTo>
                    <a:pt x="241300" y="466725"/>
                  </a:lnTo>
                  <a:lnTo>
                    <a:pt x="219075" y="428625"/>
                  </a:lnTo>
                  <a:lnTo>
                    <a:pt x="228600" y="390525"/>
                  </a:lnTo>
                  <a:lnTo>
                    <a:pt x="209550" y="317500"/>
                  </a:lnTo>
                  <a:lnTo>
                    <a:pt x="187325" y="276225"/>
                  </a:lnTo>
                  <a:lnTo>
                    <a:pt x="165100" y="257175"/>
                  </a:lnTo>
                  <a:lnTo>
                    <a:pt x="114300" y="228600"/>
                  </a:lnTo>
                  <a:lnTo>
                    <a:pt x="69850" y="184150"/>
                  </a:lnTo>
                  <a:lnTo>
                    <a:pt x="53975" y="168275"/>
                  </a:lnTo>
                  <a:lnTo>
                    <a:pt x="76200" y="142875"/>
                  </a:lnTo>
                  <a:lnTo>
                    <a:pt x="92075" y="130175"/>
                  </a:lnTo>
                  <a:lnTo>
                    <a:pt x="107950" y="133350"/>
                  </a:lnTo>
                  <a:lnTo>
                    <a:pt x="120650" y="155575"/>
                  </a:lnTo>
                  <a:lnTo>
                    <a:pt x="136525" y="180975"/>
                  </a:lnTo>
                  <a:lnTo>
                    <a:pt x="158750" y="212725"/>
                  </a:lnTo>
                  <a:lnTo>
                    <a:pt x="190500" y="222250"/>
                  </a:lnTo>
                  <a:lnTo>
                    <a:pt x="215900" y="209550"/>
                  </a:lnTo>
                  <a:lnTo>
                    <a:pt x="234950" y="200025"/>
                  </a:lnTo>
                  <a:lnTo>
                    <a:pt x="250825" y="206375"/>
                  </a:lnTo>
                  <a:lnTo>
                    <a:pt x="279400" y="222250"/>
                  </a:lnTo>
                  <a:lnTo>
                    <a:pt x="314325" y="146050"/>
                  </a:lnTo>
                  <a:lnTo>
                    <a:pt x="311150" y="123825"/>
                  </a:lnTo>
                  <a:lnTo>
                    <a:pt x="314325" y="101600"/>
                  </a:lnTo>
                  <a:lnTo>
                    <a:pt x="327025" y="53975"/>
                  </a:lnTo>
                  <a:lnTo>
                    <a:pt x="342900" y="28575"/>
                  </a:lnTo>
                  <a:lnTo>
                    <a:pt x="365125" y="15875"/>
                  </a:lnTo>
                  <a:lnTo>
                    <a:pt x="409575" y="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03" name="Freeform 232"/>
            <p:cNvSpPr>
              <a:spLocks/>
            </p:cNvSpPr>
            <p:nvPr/>
          </p:nvSpPr>
          <p:spPr bwMode="auto">
            <a:xfrm>
              <a:off x="4409239" y="3103373"/>
              <a:ext cx="444500" cy="282575"/>
            </a:xfrm>
            <a:custGeom>
              <a:avLst/>
              <a:gdLst>
                <a:gd name="T0" fmla="*/ 82550 w 444500"/>
                <a:gd name="T1" fmla="*/ 158750 h 282575"/>
                <a:gd name="T2" fmla="*/ 95250 w 444500"/>
                <a:gd name="T3" fmla="*/ 171450 h 282575"/>
                <a:gd name="T4" fmla="*/ 85725 w 444500"/>
                <a:gd name="T5" fmla="*/ 190500 h 282575"/>
                <a:gd name="T6" fmla="*/ 63500 w 444500"/>
                <a:gd name="T7" fmla="*/ 212725 h 282575"/>
                <a:gd name="T8" fmla="*/ 22225 w 444500"/>
                <a:gd name="T9" fmla="*/ 250825 h 282575"/>
                <a:gd name="T10" fmla="*/ 9525 w 444500"/>
                <a:gd name="T11" fmla="*/ 250825 h 282575"/>
                <a:gd name="T12" fmla="*/ 0 w 444500"/>
                <a:gd name="T13" fmla="*/ 196850 h 282575"/>
                <a:gd name="T14" fmla="*/ 22225 w 444500"/>
                <a:gd name="T15" fmla="*/ 168275 h 282575"/>
                <a:gd name="T16" fmla="*/ 82550 w 444500"/>
                <a:gd name="T17" fmla="*/ 158750 h 282575"/>
                <a:gd name="T18" fmla="*/ 50800 w 444500"/>
                <a:gd name="T19" fmla="*/ 92075 h 282575"/>
                <a:gd name="T20" fmla="*/ 76200 w 444500"/>
                <a:gd name="T21" fmla="*/ 107950 h 282575"/>
                <a:gd name="T22" fmla="*/ 82550 w 444500"/>
                <a:gd name="T23" fmla="*/ 127000 h 282575"/>
                <a:gd name="T24" fmla="*/ 66675 w 444500"/>
                <a:gd name="T25" fmla="*/ 133350 h 282575"/>
                <a:gd name="T26" fmla="*/ 38100 w 444500"/>
                <a:gd name="T27" fmla="*/ 127000 h 282575"/>
                <a:gd name="T28" fmla="*/ 50800 w 444500"/>
                <a:gd name="T29" fmla="*/ 92075 h 282575"/>
                <a:gd name="T30" fmla="*/ 295275 w 444500"/>
                <a:gd name="T31" fmla="*/ 0 h 282575"/>
                <a:gd name="T32" fmla="*/ 330200 w 444500"/>
                <a:gd name="T33" fmla="*/ 3175 h 282575"/>
                <a:gd name="T34" fmla="*/ 355600 w 444500"/>
                <a:gd name="T35" fmla="*/ 15875 h 282575"/>
                <a:gd name="T36" fmla="*/ 419100 w 444500"/>
                <a:gd name="T37" fmla="*/ 15875 h 282575"/>
                <a:gd name="T38" fmla="*/ 434975 w 444500"/>
                <a:gd name="T39" fmla="*/ 9525 h 282575"/>
                <a:gd name="T40" fmla="*/ 431800 w 444500"/>
                <a:gd name="T41" fmla="*/ 47625 h 282575"/>
                <a:gd name="T42" fmla="*/ 409575 w 444500"/>
                <a:gd name="T43" fmla="*/ 123825 h 282575"/>
                <a:gd name="T44" fmla="*/ 428625 w 444500"/>
                <a:gd name="T45" fmla="*/ 212725 h 282575"/>
                <a:gd name="T46" fmla="*/ 444500 w 444500"/>
                <a:gd name="T47" fmla="*/ 225425 h 282575"/>
                <a:gd name="T48" fmla="*/ 434975 w 444500"/>
                <a:gd name="T49" fmla="*/ 238125 h 282575"/>
                <a:gd name="T50" fmla="*/ 425450 w 444500"/>
                <a:gd name="T51" fmla="*/ 244475 h 282575"/>
                <a:gd name="T52" fmla="*/ 415925 w 444500"/>
                <a:gd name="T53" fmla="*/ 282575 h 282575"/>
                <a:gd name="T54" fmla="*/ 371475 w 444500"/>
                <a:gd name="T55" fmla="*/ 276225 h 282575"/>
                <a:gd name="T56" fmla="*/ 320675 w 444500"/>
                <a:gd name="T57" fmla="*/ 263525 h 282575"/>
                <a:gd name="T58" fmla="*/ 269875 w 444500"/>
                <a:gd name="T59" fmla="*/ 228600 h 282575"/>
                <a:gd name="T60" fmla="*/ 234950 w 444500"/>
                <a:gd name="T61" fmla="*/ 231775 h 282575"/>
                <a:gd name="T62" fmla="*/ 187325 w 444500"/>
                <a:gd name="T63" fmla="*/ 254000 h 282575"/>
                <a:gd name="T64" fmla="*/ 196850 w 444500"/>
                <a:gd name="T65" fmla="*/ 187325 h 282575"/>
                <a:gd name="T66" fmla="*/ 184150 w 444500"/>
                <a:gd name="T67" fmla="*/ 180975 h 282575"/>
                <a:gd name="T68" fmla="*/ 177800 w 444500"/>
                <a:gd name="T69" fmla="*/ 196850 h 282575"/>
                <a:gd name="T70" fmla="*/ 142875 w 444500"/>
                <a:gd name="T71" fmla="*/ 187325 h 282575"/>
                <a:gd name="T72" fmla="*/ 120650 w 444500"/>
                <a:gd name="T73" fmla="*/ 161925 h 282575"/>
                <a:gd name="T74" fmla="*/ 111125 w 444500"/>
                <a:gd name="T75" fmla="*/ 120650 h 282575"/>
                <a:gd name="T76" fmla="*/ 114300 w 444500"/>
                <a:gd name="T77" fmla="*/ 66675 h 282575"/>
                <a:gd name="T78" fmla="*/ 168275 w 444500"/>
                <a:gd name="T79" fmla="*/ 38100 h 282575"/>
                <a:gd name="T80" fmla="*/ 247650 w 444500"/>
                <a:gd name="T81" fmla="*/ 22225 h 282575"/>
                <a:gd name="T82" fmla="*/ 295275 w 444500"/>
                <a:gd name="T83" fmla="*/ 0 h 2825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44500"/>
                <a:gd name="T127" fmla="*/ 0 h 282575"/>
                <a:gd name="T128" fmla="*/ 444500 w 444500"/>
                <a:gd name="T129" fmla="*/ 282575 h 2825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44500" h="282575">
                  <a:moveTo>
                    <a:pt x="82550" y="158750"/>
                  </a:moveTo>
                  <a:lnTo>
                    <a:pt x="95250" y="171450"/>
                  </a:lnTo>
                  <a:lnTo>
                    <a:pt x="85725" y="190500"/>
                  </a:lnTo>
                  <a:lnTo>
                    <a:pt x="63500" y="212725"/>
                  </a:lnTo>
                  <a:lnTo>
                    <a:pt x="22225" y="250825"/>
                  </a:lnTo>
                  <a:lnTo>
                    <a:pt x="9525" y="250825"/>
                  </a:lnTo>
                  <a:lnTo>
                    <a:pt x="0" y="196850"/>
                  </a:lnTo>
                  <a:lnTo>
                    <a:pt x="22225" y="168275"/>
                  </a:lnTo>
                  <a:lnTo>
                    <a:pt x="82550" y="158750"/>
                  </a:lnTo>
                  <a:close/>
                  <a:moveTo>
                    <a:pt x="50800" y="92075"/>
                  </a:moveTo>
                  <a:lnTo>
                    <a:pt x="76200" y="107950"/>
                  </a:lnTo>
                  <a:lnTo>
                    <a:pt x="82550" y="127000"/>
                  </a:lnTo>
                  <a:lnTo>
                    <a:pt x="66675" y="133350"/>
                  </a:lnTo>
                  <a:lnTo>
                    <a:pt x="38100" y="127000"/>
                  </a:lnTo>
                  <a:lnTo>
                    <a:pt x="50800" y="92075"/>
                  </a:lnTo>
                  <a:close/>
                  <a:moveTo>
                    <a:pt x="295275" y="0"/>
                  </a:moveTo>
                  <a:lnTo>
                    <a:pt x="330200" y="3175"/>
                  </a:lnTo>
                  <a:lnTo>
                    <a:pt x="355600" y="15875"/>
                  </a:lnTo>
                  <a:lnTo>
                    <a:pt x="419100" y="15875"/>
                  </a:lnTo>
                  <a:lnTo>
                    <a:pt x="434975" y="9525"/>
                  </a:lnTo>
                  <a:lnTo>
                    <a:pt x="431800" y="47625"/>
                  </a:lnTo>
                  <a:lnTo>
                    <a:pt x="409575" y="123825"/>
                  </a:lnTo>
                  <a:lnTo>
                    <a:pt x="428625" y="212725"/>
                  </a:lnTo>
                  <a:lnTo>
                    <a:pt x="444500" y="225425"/>
                  </a:lnTo>
                  <a:lnTo>
                    <a:pt x="434975" y="238125"/>
                  </a:lnTo>
                  <a:lnTo>
                    <a:pt x="425450" y="244475"/>
                  </a:lnTo>
                  <a:lnTo>
                    <a:pt x="415925" y="282575"/>
                  </a:lnTo>
                  <a:lnTo>
                    <a:pt x="371475" y="276225"/>
                  </a:lnTo>
                  <a:lnTo>
                    <a:pt x="320675" y="263525"/>
                  </a:lnTo>
                  <a:lnTo>
                    <a:pt x="269875" y="228600"/>
                  </a:lnTo>
                  <a:lnTo>
                    <a:pt x="234950" y="231775"/>
                  </a:lnTo>
                  <a:lnTo>
                    <a:pt x="187325" y="254000"/>
                  </a:lnTo>
                  <a:lnTo>
                    <a:pt x="196850" y="187325"/>
                  </a:lnTo>
                  <a:lnTo>
                    <a:pt x="184150" y="180975"/>
                  </a:lnTo>
                  <a:lnTo>
                    <a:pt x="177800" y="196850"/>
                  </a:lnTo>
                  <a:lnTo>
                    <a:pt x="142875" y="187325"/>
                  </a:lnTo>
                  <a:lnTo>
                    <a:pt x="120650" y="161925"/>
                  </a:lnTo>
                  <a:lnTo>
                    <a:pt x="111125" y="120650"/>
                  </a:lnTo>
                  <a:lnTo>
                    <a:pt x="114300" y="66675"/>
                  </a:lnTo>
                  <a:lnTo>
                    <a:pt x="168275" y="38100"/>
                  </a:lnTo>
                  <a:lnTo>
                    <a:pt x="247650" y="22225"/>
                  </a:lnTo>
                  <a:lnTo>
                    <a:pt x="295275" y="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04" name="Freeform 235"/>
            <p:cNvSpPr>
              <a:spLocks/>
            </p:cNvSpPr>
            <p:nvPr/>
          </p:nvSpPr>
          <p:spPr bwMode="auto">
            <a:xfrm>
              <a:off x="3623427" y="1788922"/>
              <a:ext cx="890587" cy="1911350"/>
            </a:xfrm>
            <a:custGeom>
              <a:avLst/>
              <a:gdLst>
                <a:gd name="T0" fmla="*/ 365125 w 890587"/>
                <a:gd name="T1" fmla="*/ 1806575 h 1911350"/>
                <a:gd name="T2" fmla="*/ 428625 w 890587"/>
                <a:gd name="T3" fmla="*/ 1651000 h 1911350"/>
                <a:gd name="T4" fmla="*/ 569912 w 890587"/>
                <a:gd name="T5" fmla="*/ 1590675 h 1911350"/>
                <a:gd name="T6" fmla="*/ 554037 w 890587"/>
                <a:gd name="T7" fmla="*/ 1619250 h 1911350"/>
                <a:gd name="T8" fmla="*/ 511175 w 890587"/>
                <a:gd name="T9" fmla="*/ 1695450 h 1911350"/>
                <a:gd name="T10" fmla="*/ 547687 w 890587"/>
                <a:gd name="T11" fmla="*/ 1571625 h 1911350"/>
                <a:gd name="T12" fmla="*/ 693737 w 890587"/>
                <a:gd name="T13" fmla="*/ 15875 h 1911350"/>
                <a:gd name="T14" fmla="*/ 811212 w 890587"/>
                <a:gd name="T15" fmla="*/ 107950 h 1911350"/>
                <a:gd name="T16" fmla="*/ 842962 w 890587"/>
                <a:gd name="T17" fmla="*/ 260350 h 1911350"/>
                <a:gd name="T18" fmla="*/ 871537 w 890587"/>
                <a:gd name="T19" fmla="*/ 403225 h 1911350"/>
                <a:gd name="T20" fmla="*/ 811212 w 890587"/>
                <a:gd name="T21" fmla="*/ 450850 h 1911350"/>
                <a:gd name="T22" fmla="*/ 763587 w 890587"/>
                <a:gd name="T23" fmla="*/ 517525 h 1911350"/>
                <a:gd name="T24" fmla="*/ 722312 w 890587"/>
                <a:gd name="T25" fmla="*/ 625475 h 1911350"/>
                <a:gd name="T26" fmla="*/ 722312 w 890587"/>
                <a:gd name="T27" fmla="*/ 685800 h 1911350"/>
                <a:gd name="T28" fmla="*/ 601662 w 890587"/>
                <a:gd name="T29" fmla="*/ 793750 h 1911350"/>
                <a:gd name="T30" fmla="*/ 550862 w 890587"/>
                <a:gd name="T31" fmla="*/ 866775 h 1911350"/>
                <a:gd name="T32" fmla="*/ 495299 w 890587"/>
                <a:gd name="T33" fmla="*/ 927100 h 1911350"/>
                <a:gd name="T34" fmla="*/ 466725 w 890587"/>
                <a:gd name="T35" fmla="*/ 1035050 h 1911350"/>
                <a:gd name="T36" fmla="*/ 463550 w 890587"/>
                <a:gd name="T37" fmla="*/ 1089025 h 1911350"/>
                <a:gd name="T38" fmla="*/ 469900 w 890587"/>
                <a:gd name="T39" fmla="*/ 1187450 h 1911350"/>
                <a:gd name="T40" fmla="*/ 560387 w 890587"/>
                <a:gd name="T41" fmla="*/ 1260475 h 1911350"/>
                <a:gd name="T42" fmla="*/ 495299 w 890587"/>
                <a:gd name="T43" fmla="*/ 1425575 h 1911350"/>
                <a:gd name="T44" fmla="*/ 409575 w 890587"/>
                <a:gd name="T45" fmla="*/ 1501775 h 1911350"/>
                <a:gd name="T46" fmla="*/ 400050 w 890587"/>
                <a:gd name="T47" fmla="*/ 1603375 h 1911350"/>
                <a:gd name="T48" fmla="*/ 333375 w 890587"/>
                <a:gd name="T49" fmla="*/ 1803400 h 1911350"/>
                <a:gd name="T50" fmla="*/ 200025 w 890587"/>
                <a:gd name="T51" fmla="*/ 1835150 h 1911350"/>
                <a:gd name="T52" fmla="*/ 196850 w 890587"/>
                <a:gd name="T53" fmla="*/ 1895475 h 1911350"/>
                <a:gd name="T54" fmla="*/ 127000 w 890587"/>
                <a:gd name="T55" fmla="*/ 1908175 h 1911350"/>
                <a:gd name="T56" fmla="*/ 76200 w 890587"/>
                <a:gd name="T57" fmla="*/ 1828800 h 1911350"/>
                <a:gd name="T58" fmla="*/ 85725 w 890587"/>
                <a:gd name="T59" fmla="*/ 1711325 h 1911350"/>
                <a:gd name="T60" fmla="*/ 34925 w 890587"/>
                <a:gd name="T61" fmla="*/ 1571625 h 1911350"/>
                <a:gd name="T62" fmla="*/ 3175 w 890587"/>
                <a:gd name="T63" fmla="*/ 1447800 h 1911350"/>
                <a:gd name="T64" fmla="*/ 38100 w 890587"/>
                <a:gd name="T65" fmla="*/ 1397000 h 1911350"/>
                <a:gd name="T66" fmla="*/ 82550 w 890587"/>
                <a:gd name="T67" fmla="*/ 1273175 h 1911350"/>
                <a:gd name="T68" fmla="*/ 127000 w 890587"/>
                <a:gd name="T69" fmla="*/ 1155700 h 1911350"/>
                <a:gd name="T70" fmla="*/ 158750 w 890587"/>
                <a:gd name="T71" fmla="*/ 1076325 h 1911350"/>
                <a:gd name="T72" fmla="*/ 130175 w 890587"/>
                <a:gd name="T73" fmla="*/ 1019175 h 1911350"/>
                <a:gd name="T74" fmla="*/ 136525 w 890587"/>
                <a:gd name="T75" fmla="*/ 911225 h 1911350"/>
                <a:gd name="T76" fmla="*/ 149225 w 890587"/>
                <a:gd name="T77" fmla="*/ 752475 h 1911350"/>
                <a:gd name="T78" fmla="*/ 219075 w 890587"/>
                <a:gd name="T79" fmla="*/ 682625 h 1911350"/>
                <a:gd name="T80" fmla="*/ 285750 w 890587"/>
                <a:gd name="T81" fmla="*/ 673100 h 1911350"/>
                <a:gd name="T82" fmla="*/ 266700 w 890587"/>
                <a:gd name="T83" fmla="*/ 603250 h 1911350"/>
                <a:gd name="T84" fmla="*/ 327025 w 890587"/>
                <a:gd name="T85" fmla="*/ 476250 h 1911350"/>
                <a:gd name="T86" fmla="*/ 387350 w 890587"/>
                <a:gd name="T87" fmla="*/ 381000 h 1911350"/>
                <a:gd name="T88" fmla="*/ 422275 w 890587"/>
                <a:gd name="T89" fmla="*/ 304800 h 1911350"/>
                <a:gd name="T90" fmla="*/ 463550 w 890587"/>
                <a:gd name="T91" fmla="*/ 184150 h 1911350"/>
                <a:gd name="T92" fmla="*/ 514350 w 890587"/>
                <a:gd name="T93" fmla="*/ 139700 h 1911350"/>
                <a:gd name="T94" fmla="*/ 544512 w 890587"/>
                <a:gd name="T95" fmla="*/ 88900 h 1911350"/>
                <a:gd name="T96" fmla="*/ 658812 w 890587"/>
                <a:gd name="T97" fmla="*/ 69850 h 191135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90587"/>
                <a:gd name="T148" fmla="*/ 0 h 1911350"/>
                <a:gd name="T149" fmla="*/ 890587 w 890587"/>
                <a:gd name="T150" fmla="*/ 1911350 h 191135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90587" h="1911350">
                  <a:moveTo>
                    <a:pt x="428625" y="1651000"/>
                  </a:moveTo>
                  <a:lnTo>
                    <a:pt x="393700" y="1739900"/>
                  </a:lnTo>
                  <a:lnTo>
                    <a:pt x="365125" y="1806575"/>
                  </a:lnTo>
                  <a:lnTo>
                    <a:pt x="368300" y="1762125"/>
                  </a:lnTo>
                  <a:lnTo>
                    <a:pt x="381000" y="1724025"/>
                  </a:lnTo>
                  <a:lnTo>
                    <a:pt x="428625" y="1651000"/>
                  </a:lnTo>
                  <a:close/>
                  <a:moveTo>
                    <a:pt x="547687" y="1571625"/>
                  </a:moveTo>
                  <a:lnTo>
                    <a:pt x="569912" y="1574800"/>
                  </a:lnTo>
                  <a:lnTo>
                    <a:pt x="569912" y="1590675"/>
                  </a:lnTo>
                  <a:lnTo>
                    <a:pt x="566737" y="1597025"/>
                  </a:lnTo>
                  <a:lnTo>
                    <a:pt x="560387" y="1600200"/>
                  </a:lnTo>
                  <a:lnTo>
                    <a:pt x="554037" y="1619250"/>
                  </a:lnTo>
                  <a:lnTo>
                    <a:pt x="554037" y="1638300"/>
                  </a:lnTo>
                  <a:lnTo>
                    <a:pt x="536575" y="1676400"/>
                  </a:lnTo>
                  <a:lnTo>
                    <a:pt x="511175" y="1695450"/>
                  </a:lnTo>
                  <a:lnTo>
                    <a:pt x="504825" y="1631950"/>
                  </a:lnTo>
                  <a:lnTo>
                    <a:pt x="520700" y="1603375"/>
                  </a:lnTo>
                  <a:lnTo>
                    <a:pt x="547687" y="1571625"/>
                  </a:lnTo>
                  <a:close/>
                  <a:moveTo>
                    <a:pt x="652462" y="0"/>
                  </a:moveTo>
                  <a:lnTo>
                    <a:pt x="677862" y="0"/>
                  </a:lnTo>
                  <a:lnTo>
                    <a:pt x="693737" y="15875"/>
                  </a:lnTo>
                  <a:lnTo>
                    <a:pt x="738187" y="60325"/>
                  </a:lnTo>
                  <a:lnTo>
                    <a:pt x="788987" y="88900"/>
                  </a:lnTo>
                  <a:lnTo>
                    <a:pt x="811212" y="107950"/>
                  </a:lnTo>
                  <a:lnTo>
                    <a:pt x="833437" y="149225"/>
                  </a:lnTo>
                  <a:lnTo>
                    <a:pt x="852487" y="222250"/>
                  </a:lnTo>
                  <a:lnTo>
                    <a:pt x="842962" y="260350"/>
                  </a:lnTo>
                  <a:lnTo>
                    <a:pt x="865187" y="298450"/>
                  </a:lnTo>
                  <a:lnTo>
                    <a:pt x="865187" y="342900"/>
                  </a:lnTo>
                  <a:lnTo>
                    <a:pt x="871537" y="403225"/>
                  </a:lnTo>
                  <a:lnTo>
                    <a:pt x="890587" y="450850"/>
                  </a:lnTo>
                  <a:lnTo>
                    <a:pt x="849312" y="460375"/>
                  </a:lnTo>
                  <a:lnTo>
                    <a:pt x="811212" y="450850"/>
                  </a:lnTo>
                  <a:lnTo>
                    <a:pt x="782637" y="454025"/>
                  </a:lnTo>
                  <a:lnTo>
                    <a:pt x="773112" y="492125"/>
                  </a:lnTo>
                  <a:lnTo>
                    <a:pt x="763587" y="517525"/>
                  </a:lnTo>
                  <a:lnTo>
                    <a:pt x="731837" y="571500"/>
                  </a:lnTo>
                  <a:lnTo>
                    <a:pt x="719137" y="596900"/>
                  </a:lnTo>
                  <a:lnTo>
                    <a:pt x="722312" y="625475"/>
                  </a:lnTo>
                  <a:lnTo>
                    <a:pt x="731837" y="638175"/>
                  </a:lnTo>
                  <a:lnTo>
                    <a:pt x="731837" y="666750"/>
                  </a:lnTo>
                  <a:lnTo>
                    <a:pt x="722312" y="685800"/>
                  </a:lnTo>
                  <a:lnTo>
                    <a:pt x="687387" y="739775"/>
                  </a:lnTo>
                  <a:lnTo>
                    <a:pt x="649287" y="771525"/>
                  </a:lnTo>
                  <a:lnTo>
                    <a:pt x="601662" y="793750"/>
                  </a:lnTo>
                  <a:lnTo>
                    <a:pt x="595312" y="812800"/>
                  </a:lnTo>
                  <a:lnTo>
                    <a:pt x="544512" y="854075"/>
                  </a:lnTo>
                  <a:lnTo>
                    <a:pt x="550862" y="866775"/>
                  </a:lnTo>
                  <a:lnTo>
                    <a:pt x="527050" y="901700"/>
                  </a:lnTo>
                  <a:lnTo>
                    <a:pt x="508000" y="927100"/>
                  </a:lnTo>
                  <a:lnTo>
                    <a:pt x="495299" y="927100"/>
                  </a:lnTo>
                  <a:lnTo>
                    <a:pt x="485775" y="923925"/>
                  </a:lnTo>
                  <a:lnTo>
                    <a:pt x="476250" y="984250"/>
                  </a:lnTo>
                  <a:lnTo>
                    <a:pt x="466725" y="1035050"/>
                  </a:lnTo>
                  <a:lnTo>
                    <a:pt x="457200" y="1038225"/>
                  </a:lnTo>
                  <a:lnTo>
                    <a:pt x="450850" y="1073150"/>
                  </a:lnTo>
                  <a:lnTo>
                    <a:pt x="463550" y="1089025"/>
                  </a:lnTo>
                  <a:lnTo>
                    <a:pt x="454025" y="1104900"/>
                  </a:lnTo>
                  <a:lnTo>
                    <a:pt x="450850" y="1143000"/>
                  </a:lnTo>
                  <a:lnTo>
                    <a:pt x="469900" y="1187450"/>
                  </a:lnTo>
                  <a:lnTo>
                    <a:pt x="508000" y="1196975"/>
                  </a:lnTo>
                  <a:lnTo>
                    <a:pt x="547687" y="1244600"/>
                  </a:lnTo>
                  <a:lnTo>
                    <a:pt x="560387" y="1260475"/>
                  </a:lnTo>
                  <a:lnTo>
                    <a:pt x="569912" y="1285875"/>
                  </a:lnTo>
                  <a:lnTo>
                    <a:pt x="554037" y="1330325"/>
                  </a:lnTo>
                  <a:lnTo>
                    <a:pt x="495299" y="1425575"/>
                  </a:lnTo>
                  <a:lnTo>
                    <a:pt x="444500" y="1454150"/>
                  </a:lnTo>
                  <a:lnTo>
                    <a:pt x="419100" y="1470025"/>
                  </a:lnTo>
                  <a:lnTo>
                    <a:pt x="409575" y="1501775"/>
                  </a:lnTo>
                  <a:lnTo>
                    <a:pt x="396875" y="1558925"/>
                  </a:lnTo>
                  <a:lnTo>
                    <a:pt x="400050" y="1590675"/>
                  </a:lnTo>
                  <a:lnTo>
                    <a:pt x="400050" y="1603375"/>
                  </a:lnTo>
                  <a:lnTo>
                    <a:pt x="393700" y="1638300"/>
                  </a:lnTo>
                  <a:lnTo>
                    <a:pt x="368300" y="1733550"/>
                  </a:lnTo>
                  <a:lnTo>
                    <a:pt x="333375" y="1803400"/>
                  </a:lnTo>
                  <a:lnTo>
                    <a:pt x="301625" y="1803400"/>
                  </a:lnTo>
                  <a:lnTo>
                    <a:pt x="244475" y="1806575"/>
                  </a:lnTo>
                  <a:lnTo>
                    <a:pt x="200025" y="1835150"/>
                  </a:lnTo>
                  <a:lnTo>
                    <a:pt x="187325" y="1854200"/>
                  </a:lnTo>
                  <a:lnTo>
                    <a:pt x="193675" y="1876425"/>
                  </a:lnTo>
                  <a:lnTo>
                    <a:pt x="196850" y="1895475"/>
                  </a:lnTo>
                  <a:lnTo>
                    <a:pt x="177800" y="1911350"/>
                  </a:lnTo>
                  <a:lnTo>
                    <a:pt x="152400" y="1908175"/>
                  </a:lnTo>
                  <a:lnTo>
                    <a:pt x="127000" y="1908175"/>
                  </a:lnTo>
                  <a:lnTo>
                    <a:pt x="76200" y="1901825"/>
                  </a:lnTo>
                  <a:lnTo>
                    <a:pt x="82550" y="1873250"/>
                  </a:lnTo>
                  <a:lnTo>
                    <a:pt x="76200" y="1828800"/>
                  </a:lnTo>
                  <a:lnTo>
                    <a:pt x="79375" y="1771650"/>
                  </a:lnTo>
                  <a:lnTo>
                    <a:pt x="88900" y="1727200"/>
                  </a:lnTo>
                  <a:lnTo>
                    <a:pt x="85725" y="1711325"/>
                  </a:lnTo>
                  <a:lnTo>
                    <a:pt x="53975" y="1663700"/>
                  </a:lnTo>
                  <a:lnTo>
                    <a:pt x="47625" y="1619250"/>
                  </a:lnTo>
                  <a:lnTo>
                    <a:pt x="34925" y="1571625"/>
                  </a:lnTo>
                  <a:lnTo>
                    <a:pt x="28575" y="1520825"/>
                  </a:lnTo>
                  <a:lnTo>
                    <a:pt x="22225" y="1479550"/>
                  </a:lnTo>
                  <a:lnTo>
                    <a:pt x="3175" y="1447800"/>
                  </a:lnTo>
                  <a:lnTo>
                    <a:pt x="0" y="1384300"/>
                  </a:lnTo>
                  <a:lnTo>
                    <a:pt x="9525" y="1368425"/>
                  </a:lnTo>
                  <a:lnTo>
                    <a:pt x="38100" y="1397000"/>
                  </a:lnTo>
                  <a:lnTo>
                    <a:pt x="57150" y="1346200"/>
                  </a:lnTo>
                  <a:lnTo>
                    <a:pt x="53975" y="1301750"/>
                  </a:lnTo>
                  <a:lnTo>
                    <a:pt x="82550" y="1273175"/>
                  </a:lnTo>
                  <a:lnTo>
                    <a:pt x="117475" y="1241425"/>
                  </a:lnTo>
                  <a:lnTo>
                    <a:pt x="130175" y="1193800"/>
                  </a:lnTo>
                  <a:lnTo>
                    <a:pt x="127000" y="1155700"/>
                  </a:lnTo>
                  <a:lnTo>
                    <a:pt x="114300" y="1108075"/>
                  </a:lnTo>
                  <a:lnTo>
                    <a:pt x="142875" y="1101725"/>
                  </a:lnTo>
                  <a:lnTo>
                    <a:pt x="158750" y="1076325"/>
                  </a:lnTo>
                  <a:lnTo>
                    <a:pt x="158750" y="1050925"/>
                  </a:lnTo>
                  <a:lnTo>
                    <a:pt x="139700" y="1028700"/>
                  </a:lnTo>
                  <a:lnTo>
                    <a:pt x="130175" y="1019175"/>
                  </a:lnTo>
                  <a:lnTo>
                    <a:pt x="123825" y="987425"/>
                  </a:lnTo>
                  <a:lnTo>
                    <a:pt x="130175" y="952500"/>
                  </a:lnTo>
                  <a:lnTo>
                    <a:pt x="136525" y="911225"/>
                  </a:lnTo>
                  <a:lnTo>
                    <a:pt x="133350" y="863600"/>
                  </a:lnTo>
                  <a:lnTo>
                    <a:pt x="133350" y="787400"/>
                  </a:lnTo>
                  <a:lnTo>
                    <a:pt x="149225" y="752475"/>
                  </a:lnTo>
                  <a:lnTo>
                    <a:pt x="158750" y="733425"/>
                  </a:lnTo>
                  <a:lnTo>
                    <a:pt x="193675" y="695325"/>
                  </a:lnTo>
                  <a:lnTo>
                    <a:pt x="219075" y="682625"/>
                  </a:lnTo>
                  <a:lnTo>
                    <a:pt x="257175" y="688975"/>
                  </a:lnTo>
                  <a:lnTo>
                    <a:pt x="273050" y="695325"/>
                  </a:lnTo>
                  <a:lnTo>
                    <a:pt x="285750" y="673100"/>
                  </a:lnTo>
                  <a:lnTo>
                    <a:pt x="288925" y="657225"/>
                  </a:lnTo>
                  <a:lnTo>
                    <a:pt x="282575" y="628650"/>
                  </a:lnTo>
                  <a:lnTo>
                    <a:pt x="266700" y="603250"/>
                  </a:lnTo>
                  <a:lnTo>
                    <a:pt x="304800" y="549275"/>
                  </a:lnTo>
                  <a:lnTo>
                    <a:pt x="320675" y="514350"/>
                  </a:lnTo>
                  <a:lnTo>
                    <a:pt x="327025" y="476250"/>
                  </a:lnTo>
                  <a:lnTo>
                    <a:pt x="333375" y="428625"/>
                  </a:lnTo>
                  <a:lnTo>
                    <a:pt x="352425" y="409575"/>
                  </a:lnTo>
                  <a:lnTo>
                    <a:pt x="387350" y="381000"/>
                  </a:lnTo>
                  <a:lnTo>
                    <a:pt x="384175" y="355600"/>
                  </a:lnTo>
                  <a:lnTo>
                    <a:pt x="393700" y="342900"/>
                  </a:lnTo>
                  <a:lnTo>
                    <a:pt x="422275" y="304800"/>
                  </a:lnTo>
                  <a:lnTo>
                    <a:pt x="444500" y="276225"/>
                  </a:lnTo>
                  <a:lnTo>
                    <a:pt x="441325" y="238125"/>
                  </a:lnTo>
                  <a:lnTo>
                    <a:pt x="463550" y="184150"/>
                  </a:lnTo>
                  <a:lnTo>
                    <a:pt x="479425" y="155575"/>
                  </a:lnTo>
                  <a:lnTo>
                    <a:pt x="501649" y="133350"/>
                  </a:lnTo>
                  <a:lnTo>
                    <a:pt x="514350" y="139700"/>
                  </a:lnTo>
                  <a:lnTo>
                    <a:pt x="536575" y="149225"/>
                  </a:lnTo>
                  <a:lnTo>
                    <a:pt x="547687" y="120650"/>
                  </a:lnTo>
                  <a:lnTo>
                    <a:pt x="544512" y="88900"/>
                  </a:lnTo>
                  <a:lnTo>
                    <a:pt x="566737" y="73025"/>
                  </a:lnTo>
                  <a:lnTo>
                    <a:pt x="636587" y="98425"/>
                  </a:lnTo>
                  <a:lnTo>
                    <a:pt x="658812" y="69850"/>
                  </a:lnTo>
                  <a:lnTo>
                    <a:pt x="661987" y="22225"/>
                  </a:lnTo>
                  <a:lnTo>
                    <a:pt x="652462" y="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05" name="Freeform 239"/>
            <p:cNvSpPr>
              <a:spLocks/>
            </p:cNvSpPr>
            <p:nvPr/>
          </p:nvSpPr>
          <p:spPr bwMode="auto">
            <a:xfrm>
              <a:off x="3020177" y="3712973"/>
              <a:ext cx="809625" cy="1087437"/>
            </a:xfrm>
            <a:custGeom>
              <a:avLst/>
              <a:gdLst>
                <a:gd name="T0" fmla="*/ 736600 w 809625"/>
                <a:gd name="T1" fmla="*/ 120650 h 1087437"/>
                <a:gd name="T2" fmla="*/ 692150 w 809625"/>
                <a:gd name="T3" fmla="*/ 120650 h 1087437"/>
                <a:gd name="T4" fmla="*/ 333375 w 809625"/>
                <a:gd name="T5" fmla="*/ 0 h 1087437"/>
                <a:gd name="T6" fmla="*/ 431800 w 809625"/>
                <a:gd name="T7" fmla="*/ 47625 h 1087437"/>
                <a:gd name="T8" fmla="*/ 508000 w 809625"/>
                <a:gd name="T9" fmla="*/ 101600 h 1087437"/>
                <a:gd name="T10" fmla="*/ 527050 w 809625"/>
                <a:gd name="T11" fmla="*/ 155575 h 1087437"/>
                <a:gd name="T12" fmla="*/ 625475 w 809625"/>
                <a:gd name="T13" fmla="*/ 120650 h 1087437"/>
                <a:gd name="T14" fmla="*/ 682625 w 809625"/>
                <a:gd name="T15" fmla="*/ 127000 h 1087437"/>
                <a:gd name="T16" fmla="*/ 730250 w 809625"/>
                <a:gd name="T17" fmla="*/ 155575 h 1087437"/>
                <a:gd name="T18" fmla="*/ 774700 w 809625"/>
                <a:gd name="T19" fmla="*/ 225425 h 1087437"/>
                <a:gd name="T20" fmla="*/ 781050 w 809625"/>
                <a:gd name="T21" fmla="*/ 285750 h 1087437"/>
                <a:gd name="T22" fmla="*/ 755650 w 809625"/>
                <a:gd name="T23" fmla="*/ 349250 h 1087437"/>
                <a:gd name="T24" fmla="*/ 796925 w 809625"/>
                <a:gd name="T25" fmla="*/ 457200 h 1087437"/>
                <a:gd name="T26" fmla="*/ 793750 w 809625"/>
                <a:gd name="T27" fmla="*/ 533400 h 1087437"/>
                <a:gd name="T28" fmla="*/ 809625 w 809625"/>
                <a:gd name="T29" fmla="*/ 587375 h 1087437"/>
                <a:gd name="T30" fmla="*/ 787400 w 809625"/>
                <a:gd name="T31" fmla="*/ 627062 h 1087437"/>
                <a:gd name="T32" fmla="*/ 749300 w 809625"/>
                <a:gd name="T33" fmla="*/ 615950 h 1087437"/>
                <a:gd name="T34" fmla="*/ 536575 w 809625"/>
                <a:gd name="T35" fmla="*/ 681037 h 1087437"/>
                <a:gd name="T36" fmla="*/ 581025 w 809625"/>
                <a:gd name="T37" fmla="*/ 792162 h 1087437"/>
                <a:gd name="T38" fmla="*/ 638175 w 809625"/>
                <a:gd name="T39" fmla="*/ 877887 h 1087437"/>
                <a:gd name="T40" fmla="*/ 663575 w 809625"/>
                <a:gd name="T41" fmla="*/ 947737 h 1087437"/>
                <a:gd name="T42" fmla="*/ 638175 w 809625"/>
                <a:gd name="T43" fmla="*/ 938212 h 1087437"/>
                <a:gd name="T44" fmla="*/ 587375 w 809625"/>
                <a:gd name="T45" fmla="*/ 1033462 h 1087437"/>
                <a:gd name="T46" fmla="*/ 565150 w 809625"/>
                <a:gd name="T47" fmla="*/ 1065212 h 1087437"/>
                <a:gd name="T48" fmla="*/ 447675 w 809625"/>
                <a:gd name="T49" fmla="*/ 1062037 h 1087437"/>
                <a:gd name="T50" fmla="*/ 387350 w 809625"/>
                <a:gd name="T51" fmla="*/ 1077912 h 1087437"/>
                <a:gd name="T52" fmla="*/ 358775 w 809625"/>
                <a:gd name="T53" fmla="*/ 1049337 h 1087437"/>
                <a:gd name="T54" fmla="*/ 285750 w 809625"/>
                <a:gd name="T55" fmla="*/ 1036637 h 1087437"/>
                <a:gd name="T56" fmla="*/ 257175 w 809625"/>
                <a:gd name="T57" fmla="*/ 1039812 h 1087437"/>
                <a:gd name="T58" fmla="*/ 168275 w 809625"/>
                <a:gd name="T59" fmla="*/ 1008062 h 1087437"/>
                <a:gd name="T60" fmla="*/ 155575 w 809625"/>
                <a:gd name="T61" fmla="*/ 1017587 h 1087437"/>
                <a:gd name="T62" fmla="*/ 130175 w 809625"/>
                <a:gd name="T63" fmla="*/ 1011237 h 1087437"/>
                <a:gd name="T64" fmla="*/ 69850 w 809625"/>
                <a:gd name="T65" fmla="*/ 1004887 h 1087437"/>
                <a:gd name="T66" fmla="*/ 82550 w 809625"/>
                <a:gd name="T67" fmla="*/ 928687 h 1087437"/>
                <a:gd name="T68" fmla="*/ 161925 w 809625"/>
                <a:gd name="T69" fmla="*/ 820737 h 1087437"/>
                <a:gd name="T70" fmla="*/ 38100 w 809625"/>
                <a:gd name="T71" fmla="*/ 763587 h 1087437"/>
                <a:gd name="T72" fmla="*/ 22225 w 809625"/>
                <a:gd name="T73" fmla="*/ 690562 h 1087437"/>
                <a:gd name="T74" fmla="*/ 28575 w 809625"/>
                <a:gd name="T75" fmla="*/ 584200 h 1087437"/>
                <a:gd name="T76" fmla="*/ 31750 w 809625"/>
                <a:gd name="T77" fmla="*/ 469900 h 1087437"/>
                <a:gd name="T78" fmla="*/ 34925 w 809625"/>
                <a:gd name="T79" fmla="*/ 403225 h 1087437"/>
                <a:gd name="T80" fmla="*/ 50800 w 809625"/>
                <a:gd name="T81" fmla="*/ 390525 h 1087437"/>
                <a:gd name="T82" fmla="*/ 139700 w 809625"/>
                <a:gd name="T83" fmla="*/ 333375 h 1087437"/>
                <a:gd name="T84" fmla="*/ 165100 w 809625"/>
                <a:gd name="T85" fmla="*/ 180975 h 1087437"/>
                <a:gd name="T86" fmla="*/ 244475 w 809625"/>
                <a:gd name="T87" fmla="*/ 155575 h 1087437"/>
                <a:gd name="T88" fmla="*/ 311150 w 809625"/>
                <a:gd name="T89" fmla="*/ 139700 h 1087437"/>
                <a:gd name="T90" fmla="*/ 346075 w 809625"/>
                <a:gd name="T91" fmla="*/ 88900 h 1087437"/>
                <a:gd name="T92" fmla="*/ 333375 w 809625"/>
                <a:gd name="T93" fmla="*/ 0 h 108743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809625"/>
                <a:gd name="T142" fmla="*/ 0 h 1087437"/>
                <a:gd name="T143" fmla="*/ 809625 w 809625"/>
                <a:gd name="T144" fmla="*/ 1087437 h 108743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809625" h="1087437">
                  <a:moveTo>
                    <a:pt x="717550" y="82550"/>
                  </a:moveTo>
                  <a:lnTo>
                    <a:pt x="736600" y="120650"/>
                  </a:lnTo>
                  <a:lnTo>
                    <a:pt x="730250" y="133350"/>
                  </a:lnTo>
                  <a:lnTo>
                    <a:pt x="692150" y="120650"/>
                  </a:lnTo>
                  <a:lnTo>
                    <a:pt x="717550" y="82550"/>
                  </a:lnTo>
                  <a:close/>
                  <a:moveTo>
                    <a:pt x="333375" y="0"/>
                  </a:moveTo>
                  <a:lnTo>
                    <a:pt x="393700" y="22225"/>
                  </a:lnTo>
                  <a:lnTo>
                    <a:pt x="431800" y="47625"/>
                  </a:lnTo>
                  <a:lnTo>
                    <a:pt x="463550" y="92075"/>
                  </a:lnTo>
                  <a:lnTo>
                    <a:pt x="508000" y="101600"/>
                  </a:lnTo>
                  <a:lnTo>
                    <a:pt x="495300" y="158750"/>
                  </a:lnTo>
                  <a:lnTo>
                    <a:pt x="527050" y="155575"/>
                  </a:lnTo>
                  <a:lnTo>
                    <a:pt x="558800" y="155575"/>
                  </a:lnTo>
                  <a:lnTo>
                    <a:pt x="625475" y="120650"/>
                  </a:lnTo>
                  <a:lnTo>
                    <a:pt x="666750" y="114300"/>
                  </a:lnTo>
                  <a:lnTo>
                    <a:pt x="682625" y="127000"/>
                  </a:lnTo>
                  <a:lnTo>
                    <a:pt x="692150" y="142875"/>
                  </a:lnTo>
                  <a:lnTo>
                    <a:pt x="730250" y="155575"/>
                  </a:lnTo>
                  <a:lnTo>
                    <a:pt x="742950" y="206375"/>
                  </a:lnTo>
                  <a:lnTo>
                    <a:pt x="774700" y="225425"/>
                  </a:lnTo>
                  <a:lnTo>
                    <a:pt x="771525" y="225425"/>
                  </a:lnTo>
                  <a:lnTo>
                    <a:pt x="781050" y="285750"/>
                  </a:lnTo>
                  <a:lnTo>
                    <a:pt x="774700" y="304800"/>
                  </a:lnTo>
                  <a:lnTo>
                    <a:pt x="755650" y="349250"/>
                  </a:lnTo>
                  <a:lnTo>
                    <a:pt x="787400" y="384175"/>
                  </a:lnTo>
                  <a:lnTo>
                    <a:pt x="796925" y="457200"/>
                  </a:lnTo>
                  <a:lnTo>
                    <a:pt x="781050" y="498475"/>
                  </a:lnTo>
                  <a:lnTo>
                    <a:pt x="793750" y="533400"/>
                  </a:lnTo>
                  <a:lnTo>
                    <a:pt x="806450" y="542925"/>
                  </a:lnTo>
                  <a:lnTo>
                    <a:pt x="809625" y="587375"/>
                  </a:lnTo>
                  <a:lnTo>
                    <a:pt x="790575" y="627062"/>
                  </a:lnTo>
                  <a:lnTo>
                    <a:pt x="787400" y="627062"/>
                  </a:lnTo>
                  <a:lnTo>
                    <a:pt x="762000" y="603250"/>
                  </a:lnTo>
                  <a:lnTo>
                    <a:pt x="749300" y="615950"/>
                  </a:lnTo>
                  <a:lnTo>
                    <a:pt x="647700" y="652462"/>
                  </a:lnTo>
                  <a:lnTo>
                    <a:pt x="536575" y="681037"/>
                  </a:lnTo>
                  <a:lnTo>
                    <a:pt x="558800" y="731837"/>
                  </a:lnTo>
                  <a:lnTo>
                    <a:pt x="581025" y="792162"/>
                  </a:lnTo>
                  <a:lnTo>
                    <a:pt x="609600" y="839787"/>
                  </a:lnTo>
                  <a:lnTo>
                    <a:pt x="638175" y="877887"/>
                  </a:lnTo>
                  <a:lnTo>
                    <a:pt x="676275" y="912812"/>
                  </a:lnTo>
                  <a:lnTo>
                    <a:pt x="663575" y="947737"/>
                  </a:lnTo>
                  <a:lnTo>
                    <a:pt x="644525" y="938212"/>
                  </a:lnTo>
                  <a:lnTo>
                    <a:pt x="638175" y="938212"/>
                  </a:lnTo>
                  <a:lnTo>
                    <a:pt x="584200" y="985837"/>
                  </a:lnTo>
                  <a:lnTo>
                    <a:pt x="587375" y="1033462"/>
                  </a:lnTo>
                  <a:lnTo>
                    <a:pt x="584200" y="1087437"/>
                  </a:lnTo>
                  <a:lnTo>
                    <a:pt x="565150" y="1065212"/>
                  </a:lnTo>
                  <a:lnTo>
                    <a:pt x="508000" y="1049337"/>
                  </a:lnTo>
                  <a:lnTo>
                    <a:pt x="447675" y="1062037"/>
                  </a:lnTo>
                  <a:lnTo>
                    <a:pt x="412750" y="1077912"/>
                  </a:lnTo>
                  <a:lnTo>
                    <a:pt x="387350" y="1077912"/>
                  </a:lnTo>
                  <a:lnTo>
                    <a:pt x="381000" y="1058862"/>
                  </a:lnTo>
                  <a:lnTo>
                    <a:pt x="358775" y="1049337"/>
                  </a:lnTo>
                  <a:lnTo>
                    <a:pt x="333375" y="1042987"/>
                  </a:lnTo>
                  <a:lnTo>
                    <a:pt x="285750" y="1036637"/>
                  </a:lnTo>
                  <a:lnTo>
                    <a:pt x="269875" y="1042987"/>
                  </a:lnTo>
                  <a:lnTo>
                    <a:pt x="257175" y="1039812"/>
                  </a:lnTo>
                  <a:lnTo>
                    <a:pt x="193675" y="1014412"/>
                  </a:lnTo>
                  <a:lnTo>
                    <a:pt x="168275" y="1008062"/>
                  </a:lnTo>
                  <a:lnTo>
                    <a:pt x="165100" y="1014412"/>
                  </a:lnTo>
                  <a:lnTo>
                    <a:pt x="155575" y="1017587"/>
                  </a:lnTo>
                  <a:lnTo>
                    <a:pt x="139700" y="1017587"/>
                  </a:lnTo>
                  <a:lnTo>
                    <a:pt x="130175" y="1011237"/>
                  </a:lnTo>
                  <a:lnTo>
                    <a:pt x="73025" y="1008062"/>
                  </a:lnTo>
                  <a:lnTo>
                    <a:pt x="69850" y="1004887"/>
                  </a:lnTo>
                  <a:lnTo>
                    <a:pt x="66675" y="976312"/>
                  </a:lnTo>
                  <a:lnTo>
                    <a:pt x="82550" y="928687"/>
                  </a:lnTo>
                  <a:lnTo>
                    <a:pt x="127000" y="855662"/>
                  </a:lnTo>
                  <a:lnTo>
                    <a:pt x="161925" y="820737"/>
                  </a:lnTo>
                  <a:lnTo>
                    <a:pt x="73025" y="782637"/>
                  </a:lnTo>
                  <a:lnTo>
                    <a:pt x="38100" y="763587"/>
                  </a:lnTo>
                  <a:lnTo>
                    <a:pt x="3175" y="722312"/>
                  </a:lnTo>
                  <a:lnTo>
                    <a:pt x="22225" y="690562"/>
                  </a:lnTo>
                  <a:lnTo>
                    <a:pt x="0" y="623887"/>
                  </a:lnTo>
                  <a:lnTo>
                    <a:pt x="28575" y="584200"/>
                  </a:lnTo>
                  <a:lnTo>
                    <a:pt x="6350" y="536575"/>
                  </a:lnTo>
                  <a:lnTo>
                    <a:pt x="31750" y="469900"/>
                  </a:lnTo>
                  <a:lnTo>
                    <a:pt x="41275" y="431800"/>
                  </a:lnTo>
                  <a:lnTo>
                    <a:pt x="34925" y="403225"/>
                  </a:lnTo>
                  <a:lnTo>
                    <a:pt x="41275" y="384175"/>
                  </a:lnTo>
                  <a:lnTo>
                    <a:pt x="50800" y="390525"/>
                  </a:lnTo>
                  <a:lnTo>
                    <a:pt x="69850" y="393700"/>
                  </a:lnTo>
                  <a:lnTo>
                    <a:pt x="139700" y="333375"/>
                  </a:lnTo>
                  <a:lnTo>
                    <a:pt x="174625" y="209550"/>
                  </a:lnTo>
                  <a:lnTo>
                    <a:pt x="165100" y="180975"/>
                  </a:lnTo>
                  <a:lnTo>
                    <a:pt x="196850" y="149225"/>
                  </a:lnTo>
                  <a:lnTo>
                    <a:pt x="244475" y="155575"/>
                  </a:lnTo>
                  <a:lnTo>
                    <a:pt x="279400" y="177800"/>
                  </a:lnTo>
                  <a:lnTo>
                    <a:pt x="311150" y="139700"/>
                  </a:lnTo>
                  <a:lnTo>
                    <a:pt x="336550" y="120650"/>
                  </a:lnTo>
                  <a:lnTo>
                    <a:pt x="346075" y="88900"/>
                  </a:lnTo>
                  <a:lnTo>
                    <a:pt x="339725" y="31750"/>
                  </a:lnTo>
                  <a:lnTo>
                    <a:pt x="333375" y="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06" name="Freeform 245"/>
            <p:cNvSpPr>
              <a:spLocks/>
            </p:cNvSpPr>
            <p:nvPr/>
          </p:nvSpPr>
          <p:spPr bwMode="auto">
            <a:xfrm>
              <a:off x="3337677" y="3351023"/>
              <a:ext cx="542925" cy="434975"/>
            </a:xfrm>
            <a:custGeom>
              <a:avLst/>
              <a:gdLst>
                <a:gd name="T0" fmla="*/ 222250 w 542925"/>
                <a:gd name="T1" fmla="*/ 384175 h 434975"/>
                <a:gd name="T2" fmla="*/ 244475 w 542925"/>
                <a:gd name="T3" fmla="*/ 406400 h 434975"/>
                <a:gd name="T4" fmla="*/ 260350 w 542925"/>
                <a:gd name="T5" fmla="*/ 400050 h 434975"/>
                <a:gd name="T6" fmla="*/ 266700 w 542925"/>
                <a:gd name="T7" fmla="*/ 428625 h 434975"/>
                <a:gd name="T8" fmla="*/ 244475 w 542925"/>
                <a:gd name="T9" fmla="*/ 434975 h 434975"/>
                <a:gd name="T10" fmla="*/ 222250 w 542925"/>
                <a:gd name="T11" fmla="*/ 425450 h 434975"/>
                <a:gd name="T12" fmla="*/ 200025 w 542925"/>
                <a:gd name="T13" fmla="*/ 409575 h 434975"/>
                <a:gd name="T14" fmla="*/ 206375 w 542925"/>
                <a:gd name="T15" fmla="*/ 387350 h 434975"/>
                <a:gd name="T16" fmla="*/ 222250 w 542925"/>
                <a:gd name="T17" fmla="*/ 384175 h 434975"/>
                <a:gd name="T18" fmla="*/ 514350 w 542925"/>
                <a:gd name="T19" fmla="*/ 368300 h 434975"/>
                <a:gd name="T20" fmla="*/ 542925 w 542925"/>
                <a:gd name="T21" fmla="*/ 390525 h 434975"/>
                <a:gd name="T22" fmla="*/ 530225 w 542925"/>
                <a:gd name="T23" fmla="*/ 406400 h 434975"/>
                <a:gd name="T24" fmla="*/ 508000 w 542925"/>
                <a:gd name="T25" fmla="*/ 384175 h 434975"/>
                <a:gd name="T26" fmla="*/ 514350 w 542925"/>
                <a:gd name="T27" fmla="*/ 368300 h 434975"/>
                <a:gd name="T28" fmla="*/ 123825 w 542925"/>
                <a:gd name="T29" fmla="*/ 288925 h 434975"/>
                <a:gd name="T30" fmla="*/ 174625 w 542925"/>
                <a:gd name="T31" fmla="*/ 295275 h 434975"/>
                <a:gd name="T32" fmla="*/ 171450 w 542925"/>
                <a:gd name="T33" fmla="*/ 307975 h 434975"/>
                <a:gd name="T34" fmla="*/ 187325 w 542925"/>
                <a:gd name="T35" fmla="*/ 292100 h 434975"/>
                <a:gd name="T36" fmla="*/ 196850 w 542925"/>
                <a:gd name="T37" fmla="*/ 330200 h 434975"/>
                <a:gd name="T38" fmla="*/ 187325 w 542925"/>
                <a:gd name="T39" fmla="*/ 361950 h 434975"/>
                <a:gd name="T40" fmla="*/ 139700 w 542925"/>
                <a:gd name="T41" fmla="*/ 355600 h 434975"/>
                <a:gd name="T42" fmla="*/ 123825 w 542925"/>
                <a:gd name="T43" fmla="*/ 323850 h 434975"/>
                <a:gd name="T44" fmla="*/ 123825 w 542925"/>
                <a:gd name="T45" fmla="*/ 288925 h 434975"/>
                <a:gd name="T46" fmla="*/ 346075 w 542925"/>
                <a:gd name="T47" fmla="*/ 241300 h 434975"/>
                <a:gd name="T48" fmla="*/ 339725 w 542925"/>
                <a:gd name="T49" fmla="*/ 311150 h 434975"/>
                <a:gd name="T50" fmla="*/ 323850 w 542925"/>
                <a:gd name="T51" fmla="*/ 355600 h 434975"/>
                <a:gd name="T52" fmla="*/ 301625 w 542925"/>
                <a:gd name="T53" fmla="*/ 384175 h 434975"/>
                <a:gd name="T54" fmla="*/ 266700 w 542925"/>
                <a:gd name="T55" fmla="*/ 377825 h 434975"/>
                <a:gd name="T56" fmla="*/ 266700 w 542925"/>
                <a:gd name="T57" fmla="*/ 368300 h 434975"/>
                <a:gd name="T58" fmla="*/ 254000 w 542925"/>
                <a:gd name="T59" fmla="*/ 358775 h 434975"/>
                <a:gd name="T60" fmla="*/ 231775 w 542925"/>
                <a:gd name="T61" fmla="*/ 342900 h 434975"/>
                <a:gd name="T62" fmla="*/ 225425 w 542925"/>
                <a:gd name="T63" fmla="*/ 288925 h 434975"/>
                <a:gd name="T64" fmla="*/ 263525 w 542925"/>
                <a:gd name="T65" fmla="*/ 254000 h 434975"/>
                <a:gd name="T66" fmla="*/ 346075 w 542925"/>
                <a:gd name="T67" fmla="*/ 241300 h 434975"/>
                <a:gd name="T68" fmla="*/ 203200 w 542925"/>
                <a:gd name="T69" fmla="*/ 0 h 434975"/>
                <a:gd name="T70" fmla="*/ 209550 w 542925"/>
                <a:gd name="T71" fmla="*/ 6350 h 434975"/>
                <a:gd name="T72" fmla="*/ 212725 w 542925"/>
                <a:gd name="T73" fmla="*/ 44450 h 434975"/>
                <a:gd name="T74" fmla="*/ 177800 w 542925"/>
                <a:gd name="T75" fmla="*/ 85725 h 434975"/>
                <a:gd name="T76" fmla="*/ 184150 w 542925"/>
                <a:gd name="T77" fmla="*/ 139700 h 434975"/>
                <a:gd name="T78" fmla="*/ 190500 w 542925"/>
                <a:gd name="T79" fmla="*/ 155575 h 434975"/>
                <a:gd name="T80" fmla="*/ 215900 w 542925"/>
                <a:gd name="T81" fmla="*/ 158750 h 434975"/>
                <a:gd name="T82" fmla="*/ 222250 w 542925"/>
                <a:gd name="T83" fmla="*/ 190500 h 434975"/>
                <a:gd name="T84" fmla="*/ 184150 w 542925"/>
                <a:gd name="T85" fmla="*/ 228600 h 434975"/>
                <a:gd name="T86" fmla="*/ 111125 w 542925"/>
                <a:gd name="T87" fmla="*/ 288925 h 434975"/>
                <a:gd name="T88" fmla="*/ 85725 w 542925"/>
                <a:gd name="T89" fmla="*/ 339725 h 434975"/>
                <a:gd name="T90" fmla="*/ 88900 w 542925"/>
                <a:gd name="T91" fmla="*/ 361950 h 434975"/>
                <a:gd name="T92" fmla="*/ 76200 w 542925"/>
                <a:gd name="T93" fmla="*/ 384175 h 434975"/>
                <a:gd name="T94" fmla="*/ 15875 w 542925"/>
                <a:gd name="T95" fmla="*/ 361950 h 434975"/>
                <a:gd name="T96" fmla="*/ 22225 w 542925"/>
                <a:gd name="T97" fmla="*/ 330200 h 434975"/>
                <a:gd name="T98" fmla="*/ 25400 w 542925"/>
                <a:gd name="T99" fmla="*/ 288925 h 434975"/>
                <a:gd name="T100" fmla="*/ 3175 w 542925"/>
                <a:gd name="T101" fmla="*/ 254000 h 434975"/>
                <a:gd name="T102" fmla="*/ 0 w 542925"/>
                <a:gd name="T103" fmla="*/ 180975 h 434975"/>
                <a:gd name="T104" fmla="*/ 15875 w 542925"/>
                <a:gd name="T105" fmla="*/ 117475 h 434975"/>
                <a:gd name="T106" fmla="*/ 31750 w 542925"/>
                <a:gd name="T107" fmla="*/ 85725 h 434975"/>
                <a:gd name="T108" fmla="*/ 60325 w 542925"/>
                <a:gd name="T109" fmla="*/ 53975 h 434975"/>
                <a:gd name="T110" fmla="*/ 95250 w 542925"/>
                <a:gd name="T111" fmla="*/ 57150 h 434975"/>
                <a:gd name="T112" fmla="*/ 130175 w 542925"/>
                <a:gd name="T113" fmla="*/ 50800 h 434975"/>
                <a:gd name="T114" fmla="*/ 158750 w 542925"/>
                <a:gd name="T115" fmla="*/ 25400 h 434975"/>
                <a:gd name="T116" fmla="*/ 203200 w 542925"/>
                <a:gd name="T117" fmla="*/ 0 h 43497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42925"/>
                <a:gd name="T178" fmla="*/ 0 h 434975"/>
                <a:gd name="T179" fmla="*/ 542925 w 542925"/>
                <a:gd name="T180" fmla="*/ 434975 h 43497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42925" h="434975">
                  <a:moveTo>
                    <a:pt x="222250" y="384175"/>
                  </a:moveTo>
                  <a:lnTo>
                    <a:pt x="244475" y="406400"/>
                  </a:lnTo>
                  <a:lnTo>
                    <a:pt x="260350" y="400050"/>
                  </a:lnTo>
                  <a:lnTo>
                    <a:pt x="266700" y="428625"/>
                  </a:lnTo>
                  <a:lnTo>
                    <a:pt x="244475" y="434975"/>
                  </a:lnTo>
                  <a:lnTo>
                    <a:pt x="222250" y="425450"/>
                  </a:lnTo>
                  <a:lnTo>
                    <a:pt x="200025" y="409575"/>
                  </a:lnTo>
                  <a:lnTo>
                    <a:pt x="206375" y="387350"/>
                  </a:lnTo>
                  <a:lnTo>
                    <a:pt x="222250" y="384175"/>
                  </a:lnTo>
                  <a:close/>
                  <a:moveTo>
                    <a:pt x="514350" y="368300"/>
                  </a:moveTo>
                  <a:lnTo>
                    <a:pt x="542925" y="390525"/>
                  </a:lnTo>
                  <a:lnTo>
                    <a:pt x="530225" y="406400"/>
                  </a:lnTo>
                  <a:lnTo>
                    <a:pt x="508000" y="384175"/>
                  </a:lnTo>
                  <a:lnTo>
                    <a:pt x="514350" y="368300"/>
                  </a:lnTo>
                  <a:close/>
                  <a:moveTo>
                    <a:pt x="123825" y="288925"/>
                  </a:moveTo>
                  <a:lnTo>
                    <a:pt x="174625" y="295275"/>
                  </a:lnTo>
                  <a:lnTo>
                    <a:pt x="171450" y="307975"/>
                  </a:lnTo>
                  <a:lnTo>
                    <a:pt x="187325" y="292100"/>
                  </a:lnTo>
                  <a:lnTo>
                    <a:pt x="196850" y="330200"/>
                  </a:lnTo>
                  <a:lnTo>
                    <a:pt x="187325" y="361950"/>
                  </a:lnTo>
                  <a:lnTo>
                    <a:pt x="139700" y="355600"/>
                  </a:lnTo>
                  <a:lnTo>
                    <a:pt x="123825" y="323850"/>
                  </a:lnTo>
                  <a:lnTo>
                    <a:pt x="123825" y="288925"/>
                  </a:lnTo>
                  <a:close/>
                  <a:moveTo>
                    <a:pt x="346075" y="241300"/>
                  </a:moveTo>
                  <a:lnTo>
                    <a:pt x="339725" y="311150"/>
                  </a:lnTo>
                  <a:lnTo>
                    <a:pt x="323850" y="355600"/>
                  </a:lnTo>
                  <a:lnTo>
                    <a:pt x="301625" y="384175"/>
                  </a:lnTo>
                  <a:lnTo>
                    <a:pt x="266700" y="377825"/>
                  </a:lnTo>
                  <a:lnTo>
                    <a:pt x="266700" y="368300"/>
                  </a:lnTo>
                  <a:lnTo>
                    <a:pt x="254000" y="358775"/>
                  </a:lnTo>
                  <a:lnTo>
                    <a:pt x="231775" y="342900"/>
                  </a:lnTo>
                  <a:lnTo>
                    <a:pt x="225425" y="288925"/>
                  </a:lnTo>
                  <a:lnTo>
                    <a:pt x="263525" y="254000"/>
                  </a:lnTo>
                  <a:lnTo>
                    <a:pt x="346075" y="241300"/>
                  </a:lnTo>
                  <a:close/>
                  <a:moveTo>
                    <a:pt x="203200" y="0"/>
                  </a:moveTo>
                  <a:lnTo>
                    <a:pt x="209550" y="6350"/>
                  </a:lnTo>
                  <a:lnTo>
                    <a:pt x="212725" y="44450"/>
                  </a:lnTo>
                  <a:lnTo>
                    <a:pt x="177800" y="85725"/>
                  </a:lnTo>
                  <a:lnTo>
                    <a:pt x="184150" y="139700"/>
                  </a:lnTo>
                  <a:lnTo>
                    <a:pt x="190500" y="155575"/>
                  </a:lnTo>
                  <a:lnTo>
                    <a:pt x="215900" y="158750"/>
                  </a:lnTo>
                  <a:lnTo>
                    <a:pt x="222250" y="190500"/>
                  </a:lnTo>
                  <a:lnTo>
                    <a:pt x="184150" y="228600"/>
                  </a:lnTo>
                  <a:lnTo>
                    <a:pt x="111125" y="288925"/>
                  </a:lnTo>
                  <a:lnTo>
                    <a:pt x="85725" y="339725"/>
                  </a:lnTo>
                  <a:lnTo>
                    <a:pt x="88900" y="361950"/>
                  </a:lnTo>
                  <a:lnTo>
                    <a:pt x="76200" y="384175"/>
                  </a:lnTo>
                  <a:lnTo>
                    <a:pt x="15875" y="361950"/>
                  </a:lnTo>
                  <a:lnTo>
                    <a:pt x="22225" y="330200"/>
                  </a:lnTo>
                  <a:lnTo>
                    <a:pt x="25400" y="288925"/>
                  </a:lnTo>
                  <a:lnTo>
                    <a:pt x="3175" y="254000"/>
                  </a:lnTo>
                  <a:lnTo>
                    <a:pt x="0" y="180975"/>
                  </a:lnTo>
                  <a:lnTo>
                    <a:pt x="15875" y="117475"/>
                  </a:lnTo>
                  <a:lnTo>
                    <a:pt x="31750" y="85725"/>
                  </a:lnTo>
                  <a:lnTo>
                    <a:pt x="60325" y="53975"/>
                  </a:lnTo>
                  <a:lnTo>
                    <a:pt x="95250" y="57150"/>
                  </a:lnTo>
                  <a:lnTo>
                    <a:pt x="130175" y="50800"/>
                  </a:lnTo>
                  <a:lnTo>
                    <a:pt x="158750" y="25400"/>
                  </a:lnTo>
                  <a:lnTo>
                    <a:pt x="203200" y="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07" name="Freeform 250"/>
            <p:cNvSpPr>
              <a:spLocks/>
            </p:cNvSpPr>
            <p:nvPr/>
          </p:nvSpPr>
          <p:spPr bwMode="auto">
            <a:xfrm>
              <a:off x="2813802" y="3884423"/>
              <a:ext cx="381000" cy="365125"/>
            </a:xfrm>
            <a:custGeom>
              <a:avLst/>
              <a:gdLst>
                <a:gd name="T0" fmla="*/ 44450 w 381000"/>
                <a:gd name="T1" fmla="*/ 206375 h 365125"/>
                <a:gd name="T2" fmla="*/ 76200 w 381000"/>
                <a:gd name="T3" fmla="*/ 238125 h 365125"/>
                <a:gd name="T4" fmla="*/ 34925 w 381000"/>
                <a:gd name="T5" fmla="*/ 260350 h 365125"/>
                <a:gd name="T6" fmla="*/ 6350 w 381000"/>
                <a:gd name="T7" fmla="*/ 250825 h 365125"/>
                <a:gd name="T8" fmla="*/ 3175 w 381000"/>
                <a:gd name="T9" fmla="*/ 228600 h 365125"/>
                <a:gd name="T10" fmla="*/ 0 w 381000"/>
                <a:gd name="T11" fmla="*/ 222250 h 365125"/>
                <a:gd name="T12" fmla="*/ 44450 w 381000"/>
                <a:gd name="T13" fmla="*/ 206375 h 365125"/>
                <a:gd name="T14" fmla="*/ 276225 w 381000"/>
                <a:gd name="T15" fmla="*/ 0 h 365125"/>
                <a:gd name="T16" fmla="*/ 346075 w 381000"/>
                <a:gd name="T17" fmla="*/ 0 h 365125"/>
                <a:gd name="T18" fmla="*/ 371475 w 381000"/>
                <a:gd name="T19" fmla="*/ 9525 h 365125"/>
                <a:gd name="T20" fmla="*/ 381000 w 381000"/>
                <a:gd name="T21" fmla="*/ 38100 h 365125"/>
                <a:gd name="T22" fmla="*/ 346075 w 381000"/>
                <a:gd name="T23" fmla="*/ 161925 h 365125"/>
                <a:gd name="T24" fmla="*/ 276225 w 381000"/>
                <a:gd name="T25" fmla="*/ 222250 h 365125"/>
                <a:gd name="T26" fmla="*/ 257175 w 381000"/>
                <a:gd name="T27" fmla="*/ 219075 h 365125"/>
                <a:gd name="T28" fmla="*/ 247650 w 381000"/>
                <a:gd name="T29" fmla="*/ 212725 h 365125"/>
                <a:gd name="T30" fmla="*/ 241300 w 381000"/>
                <a:gd name="T31" fmla="*/ 231775 h 365125"/>
                <a:gd name="T32" fmla="*/ 247650 w 381000"/>
                <a:gd name="T33" fmla="*/ 260350 h 365125"/>
                <a:gd name="T34" fmla="*/ 238125 w 381000"/>
                <a:gd name="T35" fmla="*/ 298450 h 365125"/>
                <a:gd name="T36" fmla="*/ 212725 w 381000"/>
                <a:gd name="T37" fmla="*/ 365125 h 365125"/>
                <a:gd name="T38" fmla="*/ 184150 w 381000"/>
                <a:gd name="T39" fmla="*/ 358775 h 365125"/>
                <a:gd name="T40" fmla="*/ 187325 w 381000"/>
                <a:gd name="T41" fmla="*/ 342900 h 365125"/>
                <a:gd name="T42" fmla="*/ 209550 w 381000"/>
                <a:gd name="T43" fmla="*/ 307975 h 365125"/>
                <a:gd name="T44" fmla="*/ 187325 w 381000"/>
                <a:gd name="T45" fmla="*/ 292100 h 365125"/>
                <a:gd name="T46" fmla="*/ 180975 w 381000"/>
                <a:gd name="T47" fmla="*/ 282575 h 365125"/>
                <a:gd name="T48" fmla="*/ 168275 w 381000"/>
                <a:gd name="T49" fmla="*/ 282575 h 365125"/>
                <a:gd name="T50" fmla="*/ 127000 w 381000"/>
                <a:gd name="T51" fmla="*/ 244475 h 365125"/>
                <a:gd name="T52" fmla="*/ 76200 w 381000"/>
                <a:gd name="T53" fmla="*/ 238125 h 365125"/>
                <a:gd name="T54" fmla="*/ 85725 w 381000"/>
                <a:gd name="T55" fmla="*/ 161925 h 365125"/>
                <a:gd name="T56" fmla="*/ 127000 w 381000"/>
                <a:gd name="T57" fmla="*/ 120650 h 365125"/>
                <a:gd name="T58" fmla="*/ 158750 w 381000"/>
                <a:gd name="T59" fmla="*/ 69850 h 365125"/>
                <a:gd name="T60" fmla="*/ 180975 w 381000"/>
                <a:gd name="T61" fmla="*/ 44450 h 365125"/>
                <a:gd name="T62" fmla="*/ 228600 w 381000"/>
                <a:gd name="T63" fmla="*/ 22225 h 365125"/>
                <a:gd name="T64" fmla="*/ 276225 w 381000"/>
                <a:gd name="T65" fmla="*/ 0 h 36512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81000"/>
                <a:gd name="T100" fmla="*/ 0 h 365125"/>
                <a:gd name="T101" fmla="*/ 381000 w 381000"/>
                <a:gd name="T102" fmla="*/ 365125 h 36512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81000" h="365125">
                  <a:moveTo>
                    <a:pt x="44450" y="206375"/>
                  </a:moveTo>
                  <a:lnTo>
                    <a:pt x="76200" y="238125"/>
                  </a:lnTo>
                  <a:lnTo>
                    <a:pt x="34925" y="260350"/>
                  </a:lnTo>
                  <a:lnTo>
                    <a:pt x="6350" y="250825"/>
                  </a:lnTo>
                  <a:lnTo>
                    <a:pt x="3175" y="228600"/>
                  </a:lnTo>
                  <a:lnTo>
                    <a:pt x="0" y="222250"/>
                  </a:lnTo>
                  <a:lnTo>
                    <a:pt x="44450" y="206375"/>
                  </a:lnTo>
                  <a:close/>
                  <a:moveTo>
                    <a:pt x="276225" y="0"/>
                  </a:moveTo>
                  <a:lnTo>
                    <a:pt x="346075" y="0"/>
                  </a:lnTo>
                  <a:lnTo>
                    <a:pt x="371475" y="9525"/>
                  </a:lnTo>
                  <a:lnTo>
                    <a:pt x="381000" y="38100"/>
                  </a:lnTo>
                  <a:lnTo>
                    <a:pt x="346075" y="161925"/>
                  </a:lnTo>
                  <a:lnTo>
                    <a:pt x="276225" y="222250"/>
                  </a:lnTo>
                  <a:lnTo>
                    <a:pt x="257175" y="219075"/>
                  </a:lnTo>
                  <a:lnTo>
                    <a:pt x="247650" y="212725"/>
                  </a:lnTo>
                  <a:lnTo>
                    <a:pt x="241300" y="231775"/>
                  </a:lnTo>
                  <a:lnTo>
                    <a:pt x="247650" y="260350"/>
                  </a:lnTo>
                  <a:lnTo>
                    <a:pt x="238125" y="298450"/>
                  </a:lnTo>
                  <a:lnTo>
                    <a:pt x="212725" y="365125"/>
                  </a:lnTo>
                  <a:lnTo>
                    <a:pt x="184150" y="358775"/>
                  </a:lnTo>
                  <a:lnTo>
                    <a:pt x="187325" y="342900"/>
                  </a:lnTo>
                  <a:lnTo>
                    <a:pt x="209550" y="307975"/>
                  </a:lnTo>
                  <a:lnTo>
                    <a:pt x="187325" y="292100"/>
                  </a:lnTo>
                  <a:lnTo>
                    <a:pt x="180975" y="282575"/>
                  </a:lnTo>
                  <a:lnTo>
                    <a:pt x="168275" y="282575"/>
                  </a:lnTo>
                  <a:lnTo>
                    <a:pt x="127000" y="244475"/>
                  </a:lnTo>
                  <a:lnTo>
                    <a:pt x="76200" y="238125"/>
                  </a:lnTo>
                  <a:lnTo>
                    <a:pt x="85725" y="161925"/>
                  </a:lnTo>
                  <a:lnTo>
                    <a:pt x="127000" y="120650"/>
                  </a:lnTo>
                  <a:lnTo>
                    <a:pt x="158750" y="69850"/>
                  </a:lnTo>
                  <a:lnTo>
                    <a:pt x="180975" y="44450"/>
                  </a:lnTo>
                  <a:lnTo>
                    <a:pt x="228600" y="22225"/>
                  </a:lnTo>
                  <a:lnTo>
                    <a:pt x="276225" y="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08" name="Freeform 251"/>
            <p:cNvSpPr>
              <a:spLocks/>
            </p:cNvSpPr>
            <p:nvPr/>
          </p:nvSpPr>
          <p:spPr bwMode="auto">
            <a:xfrm>
              <a:off x="2734427" y="4106673"/>
              <a:ext cx="314325" cy="306387"/>
            </a:xfrm>
            <a:custGeom>
              <a:avLst/>
              <a:gdLst>
                <a:gd name="T0" fmla="*/ 388104042 w 198"/>
                <a:gd name="T1" fmla="*/ 405743671 h 193"/>
                <a:gd name="T2" fmla="*/ 453628184 w 198"/>
                <a:gd name="T3" fmla="*/ 365421250 h 193"/>
                <a:gd name="T4" fmla="*/ 498990982 w 198"/>
                <a:gd name="T5" fmla="*/ 302418260 h 193"/>
                <a:gd name="T6" fmla="*/ 463708805 w 198"/>
                <a:gd name="T7" fmla="*/ 226813720 h 193"/>
                <a:gd name="T8" fmla="*/ 418346007 w 198"/>
                <a:gd name="T9" fmla="*/ 216733114 h 193"/>
                <a:gd name="T10" fmla="*/ 423386318 w 198"/>
                <a:gd name="T11" fmla="*/ 191531551 h 193"/>
                <a:gd name="T12" fmla="*/ 458668495 w 198"/>
                <a:gd name="T13" fmla="*/ 136088222 h 193"/>
                <a:gd name="T14" fmla="*/ 423386318 w 198"/>
                <a:gd name="T15" fmla="*/ 110886709 h 193"/>
                <a:gd name="T16" fmla="*/ 413305597 w 198"/>
                <a:gd name="T17" fmla="*/ 95765776 h 193"/>
                <a:gd name="T18" fmla="*/ 393144353 w 198"/>
                <a:gd name="T19" fmla="*/ 95765776 h 193"/>
                <a:gd name="T20" fmla="*/ 327620311 w 198"/>
                <a:gd name="T21" fmla="*/ 35282131 h 193"/>
                <a:gd name="T22" fmla="*/ 246975336 w 198"/>
                <a:gd name="T23" fmla="*/ 25201520 h 193"/>
                <a:gd name="T24" fmla="*/ 181451244 w 198"/>
                <a:gd name="T25" fmla="*/ 60483657 h 193"/>
                <a:gd name="T26" fmla="*/ 136088445 w 198"/>
                <a:gd name="T27" fmla="*/ 45362737 h 193"/>
                <a:gd name="T28" fmla="*/ 131048134 w 198"/>
                <a:gd name="T29" fmla="*/ 10080608 h 193"/>
                <a:gd name="T30" fmla="*/ 126007823 w 198"/>
                <a:gd name="T31" fmla="*/ 0 h 193"/>
                <a:gd name="T32" fmla="*/ 105846579 w 198"/>
                <a:gd name="T33" fmla="*/ 5040304 h 193"/>
                <a:gd name="T34" fmla="*/ 0 w 198"/>
                <a:gd name="T35" fmla="*/ 45362737 h 193"/>
                <a:gd name="T36" fmla="*/ 30241878 w 198"/>
                <a:gd name="T37" fmla="*/ 146168827 h 193"/>
                <a:gd name="T38" fmla="*/ 60483756 w 198"/>
                <a:gd name="T39" fmla="*/ 131047919 h 193"/>
                <a:gd name="T40" fmla="*/ 131048134 w 198"/>
                <a:gd name="T41" fmla="*/ 252015233 h 193"/>
                <a:gd name="T42" fmla="*/ 181451244 w 198"/>
                <a:gd name="T43" fmla="*/ 272176444 h 193"/>
                <a:gd name="T44" fmla="*/ 171370622 w 198"/>
                <a:gd name="T45" fmla="*/ 342740682 h 193"/>
                <a:gd name="T46" fmla="*/ 246975336 w 198"/>
                <a:gd name="T47" fmla="*/ 347780984 h 193"/>
                <a:gd name="T48" fmla="*/ 262096268 w 198"/>
                <a:gd name="T49" fmla="*/ 400703369 h 193"/>
                <a:gd name="T50" fmla="*/ 317539689 w 198"/>
                <a:gd name="T51" fmla="*/ 451106495 h 193"/>
                <a:gd name="T52" fmla="*/ 367942798 w 198"/>
                <a:gd name="T53" fmla="*/ 486388613 h 193"/>
                <a:gd name="T54" fmla="*/ 383063731 w 198"/>
                <a:gd name="T55" fmla="*/ 486388613 h 193"/>
                <a:gd name="T56" fmla="*/ 398184664 w 198"/>
                <a:gd name="T57" fmla="*/ 446066192 h 193"/>
                <a:gd name="T58" fmla="*/ 388104042 w 198"/>
                <a:gd name="T59" fmla="*/ 405743671 h 19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98"/>
                <a:gd name="T91" fmla="*/ 0 h 193"/>
                <a:gd name="T92" fmla="*/ 198 w 198"/>
                <a:gd name="T93" fmla="*/ 193 h 19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98" h="193">
                  <a:moveTo>
                    <a:pt x="154" y="161"/>
                  </a:moveTo>
                  <a:lnTo>
                    <a:pt x="180" y="145"/>
                  </a:lnTo>
                  <a:lnTo>
                    <a:pt x="198" y="120"/>
                  </a:lnTo>
                  <a:lnTo>
                    <a:pt x="184" y="90"/>
                  </a:lnTo>
                  <a:lnTo>
                    <a:pt x="166" y="86"/>
                  </a:lnTo>
                  <a:lnTo>
                    <a:pt x="168" y="76"/>
                  </a:lnTo>
                  <a:lnTo>
                    <a:pt x="182" y="54"/>
                  </a:lnTo>
                  <a:lnTo>
                    <a:pt x="168" y="44"/>
                  </a:lnTo>
                  <a:lnTo>
                    <a:pt x="164" y="38"/>
                  </a:lnTo>
                  <a:lnTo>
                    <a:pt x="156" y="38"/>
                  </a:lnTo>
                  <a:lnTo>
                    <a:pt x="130" y="14"/>
                  </a:lnTo>
                  <a:lnTo>
                    <a:pt x="98" y="10"/>
                  </a:lnTo>
                  <a:lnTo>
                    <a:pt x="72" y="24"/>
                  </a:lnTo>
                  <a:lnTo>
                    <a:pt x="54" y="18"/>
                  </a:lnTo>
                  <a:lnTo>
                    <a:pt x="52" y="4"/>
                  </a:lnTo>
                  <a:lnTo>
                    <a:pt x="50" y="0"/>
                  </a:lnTo>
                  <a:lnTo>
                    <a:pt x="42" y="2"/>
                  </a:lnTo>
                  <a:lnTo>
                    <a:pt x="0" y="18"/>
                  </a:lnTo>
                  <a:lnTo>
                    <a:pt x="12" y="58"/>
                  </a:lnTo>
                  <a:lnTo>
                    <a:pt x="24" y="52"/>
                  </a:lnTo>
                  <a:lnTo>
                    <a:pt x="52" y="100"/>
                  </a:lnTo>
                  <a:lnTo>
                    <a:pt x="72" y="108"/>
                  </a:lnTo>
                  <a:lnTo>
                    <a:pt x="68" y="136"/>
                  </a:lnTo>
                  <a:lnTo>
                    <a:pt x="98" y="138"/>
                  </a:lnTo>
                  <a:lnTo>
                    <a:pt x="104" y="159"/>
                  </a:lnTo>
                  <a:lnTo>
                    <a:pt x="126" y="179"/>
                  </a:lnTo>
                  <a:lnTo>
                    <a:pt x="146" y="193"/>
                  </a:lnTo>
                  <a:lnTo>
                    <a:pt x="152" y="193"/>
                  </a:lnTo>
                  <a:lnTo>
                    <a:pt x="158" y="177"/>
                  </a:lnTo>
                  <a:lnTo>
                    <a:pt x="154" y="161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09" name="Freeform 252"/>
            <p:cNvSpPr>
              <a:spLocks/>
            </p:cNvSpPr>
            <p:nvPr/>
          </p:nvSpPr>
          <p:spPr bwMode="auto">
            <a:xfrm>
              <a:off x="2975727" y="4336860"/>
              <a:ext cx="66675" cy="98425"/>
            </a:xfrm>
            <a:custGeom>
              <a:avLst/>
              <a:gdLst>
                <a:gd name="T0" fmla="*/ 70564374 w 42"/>
                <a:gd name="T1" fmla="*/ 0 h 62"/>
                <a:gd name="T2" fmla="*/ 5040312 w 42"/>
                <a:gd name="T3" fmla="*/ 40322502 h 62"/>
                <a:gd name="T4" fmla="*/ 15120938 w 42"/>
                <a:gd name="T5" fmla="*/ 80645005 h 62"/>
                <a:gd name="T6" fmla="*/ 0 w 42"/>
                <a:gd name="T7" fmla="*/ 120967520 h 62"/>
                <a:gd name="T8" fmla="*/ 75604685 w 42"/>
                <a:gd name="T9" fmla="*/ 156249699 h 62"/>
                <a:gd name="T10" fmla="*/ 105846574 w 42"/>
                <a:gd name="T11" fmla="*/ 105846586 h 62"/>
                <a:gd name="T12" fmla="*/ 70564374 w 42"/>
                <a:gd name="T13" fmla="*/ 0 h 6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2"/>
                <a:gd name="T22" fmla="*/ 0 h 62"/>
                <a:gd name="T23" fmla="*/ 42 w 42"/>
                <a:gd name="T24" fmla="*/ 62 h 6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2" h="62">
                  <a:moveTo>
                    <a:pt x="28" y="0"/>
                  </a:moveTo>
                  <a:lnTo>
                    <a:pt x="2" y="16"/>
                  </a:lnTo>
                  <a:lnTo>
                    <a:pt x="6" y="32"/>
                  </a:lnTo>
                  <a:lnTo>
                    <a:pt x="0" y="48"/>
                  </a:lnTo>
                  <a:lnTo>
                    <a:pt x="30" y="62"/>
                  </a:lnTo>
                  <a:lnTo>
                    <a:pt x="42" y="42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10" name="Freeform 255"/>
            <p:cNvSpPr>
              <a:spLocks/>
            </p:cNvSpPr>
            <p:nvPr/>
          </p:nvSpPr>
          <p:spPr bwMode="auto">
            <a:xfrm>
              <a:off x="4237789" y="3732023"/>
              <a:ext cx="260350" cy="136525"/>
            </a:xfrm>
            <a:custGeom>
              <a:avLst/>
              <a:gdLst>
                <a:gd name="T0" fmla="*/ 221773767 w 164"/>
                <a:gd name="T1" fmla="*/ 216733460 h 86"/>
                <a:gd name="T2" fmla="*/ 327620290 w 164"/>
                <a:gd name="T3" fmla="*/ 211693149 h 86"/>
                <a:gd name="T4" fmla="*/ 413305570 w 164"/>
                <a:gd name="T5" fmla="*/ 201612478 h 86"/>
                <a:gd name="T6" fmla="*/ 403224949 w 164"/>
                <a:gd name="T7" fmla="*/ 181451235 h 86"/>
                <a:gd name="T8" fmla="*/ 408265260 w 164"/>
                <a:gd name="T9" fmla="*/ 131048128 h 86"/>
                <a:gd name="T10" fmla="*/ 388104017 w 164"/>
                <a:gd name="T11" fmla="*/ 60483753 h 86"/>
                <a:gd name="T12" fmla="*/ 383063707 w 164"/>
                <a:gd name="T13" fmla="*/ 45362809 h 86"/>
                <a:gd name="T14" fmla="*/ 307459047 w 164"/>
                <a:gd name="T15" fmla="*/ 50403120 h 86"/>
                <a:gd name="T16" fmla="*/ 226814077 w 164"/>
                <a:gd name="T17" fmla="*/ 0 h 86"/>
                <a:gd name="T18" fmla="*/ 171370611 w 164"/>
                <a:gd name="T19" fmla="*/ 5040312 h 86"/>
                <a:gd name="T20" fmla="*/ 105846573 w 164"/>
                <a:gd name="T21" fmla="*/ 75604685 h 86"/>
                <a:gd name="T22" fmla="*/ 65524063 w 164"/>
                <a:gd name="T23" fmla="*/ 80644996 h 86"/>
                <a:gd name="T24" fmla="*/ 45362808 w 164"/>
                <a:gd name="T25" fmla="*/ 80644996 h 86"/>
                <a:gd name="T26" fmla="*/ 45362808 w 164"/>
                <a:gd name="T27" fmla="*/ 110886885 h 86"/>
                <a:gd name="T28" fmla="*/ 0 w 164"/>
                <a:gd name="T29" fmla="*/ 186491546 h 86"/>
                <a:gd name="T30" fmla="*/ 25201559 w 164"/>
                <a:gd name="T31" fmla="*/ 191531857 h 86"/>
                <a:gd name="T32" fmla="*/ 221773767 w 164"/>
                <a:gd name="T33" fmla="*/ 216733460 h 8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64"/>
                <a:gd name="T52" fmla="*/ 0 h 86"/>
                <a:gd name="T53" fmla="*/ 164 w 164"/>
                <a:gd name="T54" fmla="*/ 86 h 8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64" h="86">
                  <a:moveTo>
                    <a:pt x="88" y="86"/>
                  </a:moveTo>
                  <a:lnTo>
                    <a:pt x="130" y="84"/>
                  </a:lnTo>
                  <a:lnTo>
                    <a:pt x="164" y="80"/>
                  </a:lnTo>
                  <a:lnTo>
                    <a:pt x="160" y="72"/>
                  </a:lnTo>
                  <a:lnTo>
                    <a:pt x="162" y="52"/>
                  </a:lnTo>
                  <a:lnTo>
                    <a:pt x="154" y="24"/>
                  </a:lnTo>
                  <a:lnTo>
                    <a:pt x="152" y="18"/>
                  </a:lnTo>
                  <a:lnTo>
                    <a:pt x="122" y="20"/>
                  </a:lnTo>
                  <a:lnTo>
                    <a:pt x="90" y="0"/>
                  </a:lnTo>
                  <a:lnTo>
                    <a:pt x="68" y="2"/>
                  </a:lnTo>
                  <a:lnTo>
                    <a:pt x="42" y="30"/>
                  </a:lnTo>
                  <a:lnTo>
                    <a:pt x="26" y="32"/>
                  </a:lnTo>
                  <a:lnTo>
                    <a:pt x="18" y="32"/>
                  </a:lnTo>
                  <a:lnTo>
                    <a:pt x="18" y="44"/>
                  </a:lnTo>
                  <a:lnTo>
                    <a:pt x="0" y="74"/>
                  </a:lnTo>
                  <a:lnTo>
                    <a:pt x="10" y="76"/>
                  </a:lnTo>
                  <a:lnTo>
                    <a:pt x="88" y="86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11" name="Freeform 200"/>
            <p:cNvSpPr>
              <a:spLocks/>
            </p:cNvSpPr>
            <p:nvPr/>
          </p:nvSpPr>
          <p:spPr bwMode="auto">
            <a:xfrm>
              <a:off x="4472739" y="4030473"/>
              <a:ext cx="1657350" cy="1106487"/>
            </a:xfrm>
            <a:custGeom>
              <a:avLst/>
              <a:gdLst>
                <a:gd name="T0" fmla="*/ 1169352350 w 1044"/>
                <a:gd name="T1" fmla="*/ 166330229 h 697"/>
                <a:gd name="T2" fmla="*/ 1068546147 w 1044"/>
                <a:gd name="T3" fmla="*/ 282257373 h 697"/>
                <a:gd name="T4" fmla="*/ 534273074 w 1044"/>
                <a:gd name="T5" fmla="*/ 252015522 h 697"/>
                <a:gd name="T6" fmla="*/ 277217157 w 1044"/>
                <a:gd name="T7" fmla="*/ 272176756 h 697"/>
                <a:gd name="T8" fmla="*/ 262096227 w 1044"/>
                <a:gd name="T9" fmla="*/ 551913181 h 697"/>
                <a:gd name="T10" fmla="*/ 151209354 w 1044"/>
                <a:gd name="T11" fmla="*/ 677920892 h 697"/>
                <a:gd name="T12" fmla="*/ 0 w 1044"/>
                <a:gd name="T13" fmla="*/ 1060984533 h 697"/>
                <a:gd name="T14" fmla="*/ 70564367 w 1044"/>
                <a:gd name="T15" fmla="*/ 1126508543 h 697"/>
                <a:gd name="T16" fmla="*/ 211693125 w 1044"/>
                <a:gd name="T17" fmla="*/ 1141629469 h 697"/>
                <a:gd name="T18" fmla="*/ 564514934 w 1044"/>
                <a:gd name="T19" fmla="*/ 1131548852 h 697"/>
                <a:gd name="T20" fmla="*/ 665321137 w 1044"/>
                <a:gd name="T21" fmla="*/ 1055944225 h 697"/>
                <a:gd name="T22" fmla="*/ 776207960 w 1044"/>
                <a:gd name="T23" fmla="*/ 1010581449 h 697"/>
                <a:gd name="T24" fmla="*/ 917336843 w 1044"/>
                <a:gd name="T25" fmla="*/ 1030742683 h 697"/>
                <a:gd name="T26" fmla="*/ 1048384907 w 1044"/>
                <a:gd name="T27" fmla="*/ 1071065150 h 697"/>
                <a:gd name="T28" fmla="*/ 1068546147 w 1044"/>
                <a:gd name="T29" fmla="*/ 1186992245 h 697"/>
                <a:gd name="T30" fmla="*/ 1204634521 w 1044"/>
                <a:gd name="T31" fmla="*/ 1378523966 h 697"/>
                <a:gd name="T32" fmla="*/ 1108868628 w 1044"/>
                <a:gd name="T33" fmla="*/ 1388604583 h 697"/>
                <a:gd name="T34" fmla="*/ 1078626767 w 1044"/>
                <a:gd name="T35" fmla="*/ 1509571986 h 697"/>
                <a:gd name="T36" fmla="*/ 972780254 w 1044"/>
                <a:gd name="T37" fmla="*/ 1655740931 h 697"/>
                <a:gd name="T38" fmla="*/ 1209674831 w 1044"/>
                <a:gd name="T39" fmla="*/ 1675902562 h 697"/>
                <a:gd name="T40" fmla="*/ 1184473280 w 1044"/>
                <a:gd name="T41" fmla="*/ 1585176613 h 697"/>
                <a:gd name="T42" fmla="*/ 1310481034 w 1044"/>
                <a:gd name="T43" fmla="*/ 1474289827 h 697"/>
                <a:gd name="T44" fmla="*/ 1466730648 w 1044"/>
                <a:gd name="T45" fmla="*/ 1343241807 h 697"/>
                <a:gd name="T46" fmla="*/ 1703625622 w 1044"/>
                <a:gd name="T47" fmla="*/ 1393644891 h 697"/>
                <a:gd name="T48" fmla="*/ 1759069034 w 1044"/>
                <a:gd name="T49" fmla="*/ 1464209210 h 697"/>
                <a:gd name="T50" fmla="*/ 1708665932 w 1044"/>
                <a:gd name="T51" fmla="*/ 1570055687 h 697"/>
                <a:gd name="T52" fmla="*/ 1839713996 w 1044"/>
                <a:gd name="T53" fmla="*/ 1716225030 h 697"/>
                <a:gd name="T54" fmla="*/ 2001003920 w 1044"/>
                <a:gd name="T55" fmla="*/ 1650700623 h 697"/>
                <a:gd name="T56" fmla="*/ 2147483647 w 1044"/>
                <a:gd name="T57" fmla="*/ 1549894454 h 697"/>
                <a:gd name="T58" fmla="*/ 2147483647 w 1044"/>
                <a:gd name="T59" fmla="*/ 1444047976 h 697"/>
                <a:gd name="T60" fmla="*/ 2147483647 w 1044"/>
                <a:gd name="T61" fmla="*/ 1484370444 h 697"/>
                <a:gd name="T62" fmla="*/ 1980842680 w 1044"/>
                <a:gd name="T63" fmla="*/ 1358362732 h 697"/>
                <a:gd name="T64" fmla="*/ 2031245781 w 1044"/>
                <a:gd name="T65" fmla="*/ 1267637180 h 697"/>
                <a:gd name="T66" fmla="*/ 2147483647 w 1044"/>
                <a:gd name="T67" fmla="*/ 1010581449 h 697"/>
                <a:gd name="T68" fmla="*/ 2147483647 w 1044"/>
                <a:gd name="T69" fmla="*/ 829130146 h 697"/>
                <a:gd name="T70" fmla="*/ 2147483647 w 1044"/>
                <a:gd name="T71" fmla="*/ 748485211 h 697"/>
                <a:gd name="T72" fmla="*/ 2147483647 w 1044"/>
                <a:gd name="T73" fmla="*/ 627517808 h 697"/>
                <a:gd name="T74" fmla="*/ 2147483647 w 1044"/>
                <a:gd name="T75" fmla="*/ 531751947 h 697"/>
                <a:gd name="T76" fmla="*/ 2147483647 w 1044"/>
                <a:gd name="T77" fmla="*/ 448587651 h 697"/>
                <a:gd name="T78" fmla="*/ 2147483647 w 1044"/>
                <a:gd name="T79" fmla="*/ 393144159 h 697"/>
                <a:gd name="T80" fmla="*/ 2147172915 w 1044"/>
                <a:gd name="T81" fmla="*/ 312499224 h 697"/>
                <a:gd name="T82" fmla="*/ 2006044231 w 1044"/>
                <a:gd name="T83" fmla="*/ 378023233 h 697"/>
                <a:gd name="T84" fmla="*/ 1839713996 w 1044"/>
                <a:gd name="T85" fmla="*/ 267136447 h 697"/>
                <a:gd name="T86" fmla="*/ 1628020573 w 1044"/>
                <a:gd name="T87" fmla="*/ 146168995 h 697"/>
                <a:gd name="T88" fmla="*/ 1507053130 w 1044"/>
                <a:gd name="T89" fmla="*/ 10080620 h 697"/>
                <a:gd name="T90" fmla="*/ 1330642275 w 1044"/>
                <a:gd name="T91" fmla="*/ 120967453 h 69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44"/>
                <a:gd name="T139" fmla="*/ 0 h 697"/>
                <a:gd name="T140" fmla="*/ 1044 w 1044"/>
                <a:gd name="T141" fmla="*/ 697 h 697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44" h="697">
                  <a:moveTo>
                    <a:pt x="514" y="42"/>
                  </a:moveTo>
                  <a:lnTo>
                    <a:pt x="468" y="52"/>
                  </a:lnTo>
                  <a:lnTo>
                    <a:pt x="464" y="66"/>
                  </a:lnTo>
                  <a:lnTo>
                    <a:pt x="460" y="126"/>
                  </a:lnTo>
                  <a:lnTo>
                    <a:pt x="458" y="128"/>
                  </a:lnTo>
                  <a:lnTo>
                    <a:pt x="424" y="112"/>
                  </a:lnTo>
                  <a:lnTo>
                    <a:pt x="348" y="114"/>
                  </a:lnTo>
                  <a:lnTo>
                    <a:pt x="290" y="120"/>
                  </a:lnTo>
                  <a:lnTo>
                    <a:pt x="212" y="100"/>
                  </a:lnTo>
                  <a:lnTo>
                    <a:pt x="178" y="98"/>
                  </a:lnTo>
                  <a:lnTo>
                    <a:pt x="146" y="104"/>
                  </a:lnTo>
                  <a:lnTo>
                    <a:pt x="110" y="108"/>
                  </a:lnTo>
                  <a:lnTo>
                    <a:pt x="84" y="126"/>
                  </a:lnTo>
                  <a:lnTo>
                    <a:pt x="72" y="146"/>
                  </a:lnTo>
                  <a:lnTo>
                    <a:pt x="104" y="219"/>
                  </a:lnTo>
                  <a:lnTo>
                    <a:pt x="100" y="239"/>
                  </a:lnTo>
                  <a:lnTo>
                    <a:pt x="88" y="241"/>
                  </a:lnTo>
                  <a:lnTo>
                    <a:pt x="60" y="269"/>
                  </a:lnTo>
                  <a:lnTo>
                    <a:pt x="34" y="307"/>
                  </a:lnTo>
                  <a:lnTo>
                    <a:pt x="22" y="361"/>
                  </a:lnTo>
                  <a:lnTo>
                    <a:pt x="0" y="421"/>
                  </a:lnTo>
                  <a:lnTo>
                    <a:pt x="6" y="425"/>
                  </a:lnTo>
                  <a:lnTo>
                    <a:pt x="28" y="447"/>
                  </a:lnTo>
                  <a:lnTo>
                    <a:pt x="42" y="449"/>
                  </a:lnTo>
                  <a:lnTo>
                    <a:pt x="46" y="461"/>
                  </a:lnTo>
                  <a:lnTo>
                    <a:pt x="84" y="453"/>
                  </a:lnTo>
                  <a:lnTo>
                    <a:pt x="122" y="459"/>
                  </a:lnTo>
                  <a:lnTo>
                    <a:pt x="188" y="457"/>
                  </a:lnTo>
                  <a:lnTo>
                    <a:pt x="224" y="449"/>
                  </a:lnTo>
                  <a:lnTo>
                    <a:pt x="238" y="445"/>
                  </a:lnTo>
                  <a:lnTo>
                    <a:pt x="248" y="427"/>
                  </a:lnTo>
                  <a:lnTo>
                    <a:pt x="264" y="419"/>
                  </a:lnTo>
                  <a:lnTo>
                    <a:pt x="266" y="419"/>
                  </a:lnTo>
                  <a:lnTo>
                    <a:pt x="280" y="405"/>
                  </a:lnTo>
                  <a:lnTo>
                    <a:pt x="308" y="401"/>
                  </a:lnTo>
                  <a:lnTo>
                    <a:pt x="316" y="395"/>
                  </a:lnTo>
                  <a:lnTo>
                    <a:pt x="342" y="399"/>
                  </a:lnTo>
                  <a:lnTo>
                    <a:pt x="364" y="409"/>
                  </a:lnTo>
                  <a:lnTo>
                    <a:pt x="378" y="419"/>
                  </a:lnTo>
                  <a:lnTo>
                    <a:pt x="402" y="427"/>
                  </a:lnTo>
                  <a:lnTo>
                    <a:pt x="416" y="425"/>
                  </a:lnTo>
                  <a:lnTo>
                    <a:pt x="424" y="437"/>
                  </a:lnTo>
                  <a:lnTo>
                    <a:pt x="424" y="469"/>
                  </a:lnTo>
                  <a:lnTo>
                    <a:pt x="424" y="471"/>
                  </a:lnTo>
                  <a:lnTo>
                    <a:pt x="452" y="507"/>
                  </a:lnTo>
                  <a:lnTo>
                    <a:pt x="480" y="527"/>
                  </a:lnTo>
                  <a:lnTo>
                    <a:pt x="478" y="547"/>
                  </a:lnTo>
                  <a:lnTo>
                    <a:pt x="496" y="557"/>
                  </a:lnTo>
                  <a:lnTo>
                    <a:pt x="486" y="561"/>
                  </a:lnTo>
                  <a:lnTo>
                    <a:pt x="440" y="551"/>
                  </a:lnTo>
                  <a:lnTo>
                    <a:pt x="426" y="559"/>
                  </a:lnTo>
                  <a:lnTo>
                    <a:pt x="426" y="575"/>
                  </a:lnTo>
                  <a:lnTo>
                    <a:pt x="428" y="599"/>
                  </a:lnTo>
                  <a:lnTo>
                    <a:pt x="418" y="619"/>
                  </a:lnTo>
                  <a:lnTo>
                    <a:pt x="386" y="657"/>
                  </a:lnTo>
                  <a:lnTo>
                    <a:pt x="422" y="673"/>
                  </a:lnTo>
                  <a:lnTo>
                    <a:pt x="458" y="649"/>
                  </a:lnTo>
                  <a:lnTo>
                    <a:pt x="480" y="665"/>
                  </a:lnTo>
                  <a:lnTo>
                    <a:pt x="482" y="643"/>
                  </a:lnTo>
                  <a:lnTo>
                    <a:pt x="474" y="645"/>
                  </a:lnTo>
                  <a:lnTo>
                    <a:pt x="470" y="629"/>
                  </a:lnTo>
                  <a:lnTo>
                    <a:pt x="482" y="609"/>
                  </a:lnTo>
                  <a:lnTo>
                    <a:pt x="502" y="609"/>
                  </a:lnTo>
                  <a:lnTo>
                    <a:pt x="520" y="585"/>
                  </a:lnTo>
                  <a:lnTo>
                    <a:pt x="534" y="547"/>
                  </a:lnTo>
                  <a:lnTo>
                    <a:pt x="556" y="529"/>
                  </a:lnTo>
                  <a:lnTo>
                    <a:pt x="582" y="533"/>
                  </a:lnTo>
                  <a:lnTo>
                    <a:pt x="606" y="545"/>
                  </a:lnTo>
                  <a:lnTo>
                    <a:pt x="646" y="563"/>
                  </a:lnTo>
                  <a:lnTo>
                    <a:pt x="676" y="553"/>
                  </a:lnTo>
                  <a:lnTo>
                    <a:pt x="714" y="549"/>
                  </a:lnTo>
                  <a:lnTo>
                    <a:pt x="718" y="567"/>
                  </a:lnTo>
                  <a:lnTo>
                    <a:pt x="698" y="581"/>
                  </a:lnTo>
                  <a:lnTo>
                    <a:pt x="668" y="603"/>
                  </a:lnTo>
                  <a:lnTo>
                    <a:pt x="658" y="629"/>
                  </a:lnTo>
                  <a:lnTo>
                    <a:pt x="678" y="623"/>
                  </a:lnTo>
                  <a:lnTo>
                    <a:pt x="714" y="633"/>
                  </a:lnTo>
                  <a:lnTo>
                    <a:pt x="730" y="659"/>
                  </a:lnTo>
                  <a:lnTo>
                    <a:pt x="730" y="681"/>
                  </a:lnTo>
                  <a:lnTo>
                    <a:pt x="720" y="685"/>
                  </a:lnTo>
                  <a:lnTo>
                    <a:pt x="746" y="697"/>
                  </a:lnTo>
                  <a:lnTo>
                    <a:pt x="794" y="655"/>
                  </a:lnTo>
                  <a:lnTo>
                    <a:pt x="830" y="625"/>
                  </a:lnTo>
                  <a:lnTo>
                    <a:pt x="856" y="611"/>
                  </a:lnTo>
                  <a:lnTo>
                    <a:pt x="870" y="615"/>
                  </a:lnTo>
                  <a:lnTo>
                    <a:pt x="892" y="611"/>
                  </a:lnTo>
                  <a:lnTo>
                    <a:pt x="904" y="601"/>
                  </a:lnTo>
                  <a:lnTo>
                    <a:pt x="902" y="573"/>
                  </a:lnTo>
                  <a:lnTo>
                    <a:pt x="884" y="571"/>
                  </a:lnTo>
                  <a:lnTo>
                    <a:pt x="872" y="579"/>
                  </a:lnTo>
                  <a:lnTo>
                    <a:pt x="856" y="589"/>
                  </a:lnTo>
                  <a:lnTo>
                    <a:pt x="840" y="597"/>
                  </a:lnTo>
                  <a:lnTo>
                    <a:pt x="808" y="573"/>
                  </a:lnTo>
                  <a:lnTo>
                    <a:pt x="786" y="539"/>
                  </a:lnTo>
                  <a:lnTo>
                    <a:pt x="786" y="521"/>
                  </a:lnTo>
                  <a:lnTo>
                    <a:pt x="800" y="497"/>
                  </a:lnTo>
                  <a:lnTo>
                    <a:pt x="806" y="503"/>
                  </a:lnTo>
                  <a:lnTo>
                    <a:pt x="886" y="451"/>
                  </a:lnTo>
                  <a:lnTo>
                    <a:pt x="926" y="417"/>
                  </a:lnTo>
                  <a:lnTo>
                    <a:pt x="968" y="401"/>
                  </a:lnTo>
                  <a:lnTo>
                    <a:pt x="966" y="375"/>
                  </a:lnTo>
                  <a:lnTo>
                    <a:pt x="972" y="349"/>
                  </a:lnTo>
                  <a:lnTo>
                    <a:pt x="988" y="329"/>
                  </a:lnTo>
                  <a:lnTo>
                    <a:pt x="1012" y="317"/>
                  </a:lnTo>
                  <a:lnTo>
                    <a:pt x="1040" y="313"/>
                  </a:lnTo>
                  <a:lnTo>
                    <a:pt x="1040" y="297"/>
                  </a:lnTo>
                  <a:lnTo>
                    <a:pt x="1044" y="277"/>
                  </a:lnTo>
                  <a:lnTo>
                    <a:pt x="1038" y="263"/>
                  </a:lnTo>
                  <a:lnTo>
                    <a:pt x="1020" y="249"/>
                  </a:lnTo>
                  <a:lnTo>
                    <a:pt x="1018" y="235"/>
                  </a:lnTo>
                  <a:lnTo>
                    <a:pt x="1020" y="233"/>
                  </a:lnTo>
                  <a:lnTo>
                    <a:pt x="1010" y="211"/>
                  </a:lnTo>
                  <a:lnTo>
                    <a:pt x="1008" y="209"/>
                  </a:lnTo>
                  <a:lnTo>
                    <a:pt x="1024" y="195"/>
                  </a:lnTo>
                  <a:lnTo>
                    <a:pt x="1030" y="178"/>
                  </a:lnTo>
                  <a:lnTo>
                    <a:pt x="1012" y="158"/>
                  </a:lnTo>
                  <a:lnTo>
                    <a:pt x="936" y="150"/>
                  </a:lnTo>
                  <a:lnTo>
                    <a:pt x="894" y="156"/>
                  </a:lnTo>
                  <a:lnTo>
                    <a:pt x="890" y="154"/>
                  </a:lnTo>
                  <a:lnTo>
                    <a:pt x="870" y="144"/>
                  </a:lnTo>
                  <a:lnTo>
                    <a:pt x="852" y="124"/>
                  </a:lnTo>
                  <a:lnTo>
                    <a:pt x="842" y="132"/>
                  </a:lnTo>
                  <a:lnTo>
                    <a:pt x="828" y="136"/>
                  </a:lnTo>
                  <a:lnTo>
                    <a:pt x="796" y="150"/>
                  </a:lnTo>
                  <a:lnTo>
                    <a:pt x="750" y="146"/>
                  </a:lnTo>
                  <a:lnTo>
                    <a:pt x="738" y="130"/>
                  </a:lnTo>
                  <a:lnTo>
                    <a:pt x="730" y="106"/>
                  </a:lnTo>
                  <a:lnTo>
                    <a:pt x="706" y="86"/>
                  </a:lnTo>
                  <a:lnTo>
                    <a:pt x="662" y="82"/>
                  </a:lnTo>
                  <a:lnTo>
                    <a:pt x="646" y="58"/>
                  </a:lnTo>
                  <a:lnTo>
                    <a:pt x="632" y="10"/>
                  </a:lnTo>
                  <a:lnTo>
                    <a:pt x="618" y="0"/>
                  </a:lnTo>
                  <a:lnTo>
                    <a:pt x="598" y="4"/>
                  </a:lnTo>
                  <a:lnTo>
                    <a:pt x="566" y="18"/>
                  </a:lnTo>
                  <a:lnTo>
                    <a:pt x="542" y="38"/>
                  </a:lnTo>
                  <a:lnTo>
                    <a:pt x="528" y="48"/>
                  </a:lnTo>
                  <a:lnTo>
                    <a:pt x="514" y="42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12" name="Freeform 205"/>
            <p:cNvSpPr>
              <a:spLocks/>
            </p:cNvSpPr>
            <p:nvPr/>
          </p:nvSpPr>
          <p:spPr bwMode="auto">
            <a:xfrm>
              <a:off x="3896477" y="4679760"/>
              <a:ext cx="649287" cy="393700"/>
            </a:xfrm>
            <a:custGeom>
              <a:avLst/>
              <a:gdLst>
                <a:gd name="T0" fmla="*/ 1020661794 w 409"/>
                <a:gd name="T1" fmla="*/ 100806250 h 248"/>
                <a:gd name="T2" fmla="*/ 985379644 w 409"/>
                <a:gd name="T3" fmla="*/ 95765939 h 248"/>
                <a:gd name="T4" fmla="*/ 929936266 w 409"/>
                <a:gd name="T5" fmla="*/ 40322502 h 248"/>
                <a:gd name="T6" fmla="*/ 914815344 w 409"/>
                <a:gd name="T7" fmla="*/ 30241880 h 248"/>
                <a:gd name="T8" fmla="*/ 914815344 w 409"/>
                <a:gd name="T9" fmla="*/ 30241880 h 248"/>
                <a:gd name="T10" fmla="*/ 879533195 w 409"/>
                <a:gd name="T11" fmla="*/ 40322502 h 248"/>
                <a:gd name="T12" fmla="*/ 859371966 w 409"/>
                <a:gd name="T13" fmla="*/ 50403125 h 248"/>
                <a:gd name="T14" fmla="*/ 819049311 w 409"/>
                <a:gd name="T15" fmla="*/ 0 h 248"/>
                <a:gd name="T16" fmla="*/ 758565625 w 409"/>
                <a:gd name="T17" fmla="*/ 10080626 h 248"/>
                <a:gd name="T18" fmla="*/ 703122247 w 409"/>
                <a:gd name="T19" fmla="*/ 0 h 248"/>
                <a:gd name="T20" fmla="*/ 652719176 w 409"/>
                <a:gd name="T21" fmla="*/ 45362814 h 248"/>
                <a:gd name="T22" fmla="*/ 597275798 w 409"/>
                <a:gd name="T23" fmla="*/ 90725627 h 248"/>
                <a:gd name="T24" fmla="*/ 567033955 w 409"/>
                <a:gd name="T25" fmla="*/ 90725627 h 248"/>
                <a:gd name="T26" fmla="*/ 526711498 w 409"/>
                <a:gd name="T27" fmla="*/ 95765939 h 248"/>
                <a:gd name="T28" fmla="*/ 441026277 w 409"/>
                <a:gd name="T29" fmla="*/ 110886897 h 248"/>
                <a:gd name="T30" fmla="*/ 418345689 w 409"/>
                <a:gd name="T31" fmla="*/ 120967520 h 248"/>
                <a:gd name="T32" fmla="*/ 408264975 w 409"/>
                <a:gd name="T33" fmla="*/ 166330321 h 248"/>
                <a:gd name="T34" fmla="*/ 317539447 w 409"/>
                <a:gd name="T35" fmla="*/ 176410944 h 248"/>
                <a:gd name="T36" fmla="*/ 262096069 w 409"/>
                <a:gd name="T37" fmla="*/ 176410944 h 248"/>
                <a:gd name="T38" fmla="*/ 181451106 w 409"/>
                <a:gd name="T39" fmla="*/ 115927209 h 248"/>
                <a:gd name="T40" fmla="*/ 166330184 w 409"/>
                <a:gd name="T41" fmla="*/ 115927209 h 248"/>
                <a:gd name="T42" fmla="*/ 136088342 w 409"/>
                <a:gd name="T43" fmla="*/ 186491566 h 248"/>
                <a:gd name="T44" fmla="*/ 85685246 w 409"/>
                <a:gd name="T45" fmla="*/ 231854417 h 248"/>
                <a:gd name="T46" fmla="*/ 55443403 w 409"/>
                <a:gd name="T47" fmla="*/ 307459086 h 248"/>
                <a:gd name="T48" fmla="*/ 50403084 w 409"/>
                <a:gd name="T49" fmla="*/ 337700954 h 248"/>
                <a:gd name="T50" fmla="*/ 20161235 w 409"/>
                <a:gd name="T51" fmla="*/ 347781576 h 248"/>
                <a:gd name="T52" fmla="*/ 10080617 w 409"/>
                <a:gd name="T53" fmla="*/ 347781576 h 248"/>
                <a:gd name="T54" fmla="*/ 0 w 409"/>
                <a:gd name="T55" fmla="*/ 362902510 h 248"/>
                <a:gd name="T56" fmla="*/ 70564324 w 409"/>
                <a:gd name="T57" fmla="*/ 458668523 h 248"/>
                <a:gd name="T58" fmla="*/ 110886806 w 409"/>
                <a:gd name="T59" fmla="*/ 498991013 h 248"/>
                <a:gd name="T60" fmla="*/ 120967420 w 409"/>
                <a:gd name="T61" fmla="*/ 509071636 h 248"/>
                <a:gd name="T62" fmla="*/ 191531720 w 409"/>
                <a:gd name="T63" fmla="*/ 579635993 h 248"/>
                <a:gd name="T64" fmla="*/ 322579755 w 409"/>
                <a:gd name="T65" fmla="*/ 624998795 h 248"/>
                <a:gd name="T66" fmla="*/ 413305283 w 409"/>
                <a:gd name="T67" fmla="*/ 589716616 h 248"/>
                <a:gd name="T68" fmla="*/ 441026277 w 409"/>
                <a:gd name="T69" fmla="*/ 579635993 h 248"/>
                <a:gd name="T70" fmla="*/ 501509963 w 409"/>
                <a:gd name="T71" fmla="*/ 564515060 h 248"/>
                <a:gd name="T72" fmla="*/ 526711498 w 409"/>
                <a:gd name="T73" fmla="*/ 534273192 h 248"/>
                <a:gd name="T74" fmla="*/ 587195183 w 409"/>
                <a:gd name="T75" fmla="*/ 534273192 h 248"/>
                <a:gd name="T76" fmla="*/ 632557948 w 409"/>
                <a:gd name="T77" fmla="*/ 549394126 h 248"/>
                <a:gd name="T78" fmla="*/ 667840097 w 409"/>
                <a:gd name="T79" fmla="*/ 534273192 h 248"/>
                <a:gd name="T80" fmla="*/ 703122247 w 409"/>
                <a:gd name="T81" fmla="*/ 539313503 h 248"/>
                <a:gd name="T82" fmla="*/ 728323783 w 409"/>
                <a:gd name="T83" fmla="*/ 514111947 h 248"/>
                <a:gd name="T84" fmla="*/ 783767161 w 409"/>
                <a:gd name="T85" fmla="*/ 478829768 h 248"/>
                <a:gd name="T86" fmla="*/ 874492887 w 409"/>
                <a:gd name="T87" fmla="*/ 297378464 h 248"/>
                <a:gd name="T88" fmla="*/ 945057187 w 409"/>
                <a:gd name="T89" fmla="*/ 176410944 h 248"/>
                <a:gd name="T90" fmla="*/ 970258723 w 409"/>
                <a:gd name="T91" fmla="*/ 166330321 h 248"/>
                <a:gd name="T92" fmla="*/ 985379644 w 409"/>
                <a:gd name="T93" fmla="*/ 171370632 h 248"/>
                <a:gd name="T94" fmla="*/ 1030742408 w 409"/>
                <a:gd name="T95" fmla="*/ 131048142 h 248"/>
                <a:gd name="T96" fmla="*/ 1020661794 w 409"/>
                <a:gd name="T97" fmla="*/ 100806250 h 24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09"/>
                <a:gd name="T148" fmla="*/ 0 h 248"/>
                <a:gd name="T149" fmla="*/ 409 w 409"/>
                <a:gd name="T150" fmla="*/ 248 h 248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09" h="248">
                  <a:moveTo>
                    <a:pt x="405" y="40"/>
                  </a:moveTo>
                  <a:lnTo>
                    <a:pt x="391" y="38"/>
                  </a:lnTo>
                  <a:lnTo>
                    <a:pt x="369" y="16"/>
                  </a:lnTo>
                  <a:lnTo>
                    <a:pt x="363" y="12"/>
                  </a:lnTo>
                  <a:lnTo>
                    <a:pt x="349" y="16"/>
                  </a:lnTo>
                  <a:lnTo>
                    <a:pt x="341" y="20"/>
                  </a:lnTo>
                  <a:lnTo>
                    <a:pt x="325" y="0"/>
                  </a:lnTo>
                  <a:lnTo>
                    <a:pt x="301" y="4"/>
                  </a:lnTo>
                  <a:lnTo>
                    <a:pt x="279" y="0"/>
                  </a:lnTo>
                  <a:lnTo>
                    <a:pt x="259" y="18"/>
                  </a:lnTo>
                  <a:lnTo>
                    <a:pt x="237" y="36"/>
                  </a:lnTo>
                  <a:lnTo>
                    <a:pt x="225" y="36"/>
                  </a:lnTo>
                  <a:lnTo>
                    <a:pt x="209" y="38"/>
                  </a:lnTo>
                  <a:lnTo>
                    <a:pt x="175" y="44"/>
                  </a:lnTo>
                  <a:lnTo>
                    <a:pt x="166" y="48"/>
                  </a:lnTo>
                  <a:lnTo>
                    <a:pt x="162" y="66"/>
                  </a:lnTo>
                  <a:lnTo>
                    <a:pt x="126" y="70"/>
                  </a:lnTo>
                  <a:lnTo>
                    <a:pt x="104" y="70"/>
                  </a:lnTo>
                  <a:lnTo>
                    <a:pt x="72" y="46"/>
                  </a:lnTo>
                  <a:lnTo>
                    <a:pt x="66" y="46"/>
                  </a:lnTo>
                  <a:lnTo>
                    <a:pt x="54" y="74"/>
                  </a:lnTo>
                  <a:lnTo>
                    <a:pt x="34" y="92"/>
                  </a:lnTo>
                  <a:lnTo>
                    <a:pt x="22" y="122"/>
                  </a:lnTo>
                  <a:lnTo>
                    <a:pt x="20" y="134"/>
                  </a:lnTo>
                  <a:lnTo>
                    <a:pt x="8" y="138"/>
                  </a:lnTo>
                  <a:lnTo>
                    <a:pt x="4" y="138"/>
                  </a:lnTo>
                  <a:lnTo>
                    <a:pt x="0" y="144"/>
                  </a:lnTo>
                  <a:lnTo>
                    <a:pt x="28" y="182"/>
                  </a:lnTo>
                  <a:lnTo>
                    <a:pt x="44" y="198"/>
                  </a:lnTo>
                  <a:lnTo>
                    <a:pt x="48" y="202"/>
                  </a:lnTo>
                  <a:lnTo>
                    <a:pt x="76" y="230"/>
                  </a:lnTo>
                  <a:lnTo>
                    <a:pt x="128" y="248"/>
                  </a:lnTo>
                  <a:lnTo>
                    <a:pt x="164" y="234"/>
                  </a:lnTo>
                  <a:lnTo>
                    <a:pt x="175" y="230"/>
                  </a:lnTo>
                  <a:lnTo>
                    <a:pt x="199" y="224"/>
                  </a:lnTo>
                  <a:lnTo>
                    <a:pt x="209" y="212"/>
                  </a:lnTo>
                  <a:lnTo>
                    <a:pt x="233" y="212"/>
                  </a:lnTo>
                  <a:lnTo>
                    <a:pt x="251" y="218"/>
                  </a:lnTo>
                  <a:lnTo>
                    <a:pt x="265" y="212"/>
                  </a:lnTo>
                  <a:lnTo>
                    <a:pt x="279" y="214"/>
                  </a:lnTo>
                  <a:lnTo>
                    <a:pt x="289" y="204"/>
                  </a:lnTo>
                  <a:lnTo>
                    <a:pt x="311" y="190"/>
                  </a:lnTo>
                  <a:lnTo>
                    <a:pt x="347" y="118"/>
                  </a:lnTo>
                  <a:lnTo>
                    <a:pt x="375" y="70"/>
                  </a:lnTo>
                  <a:lnTo>
                    <a:pt x="385" y="66"/>
                  </a:lnTo>
                  <a:lnTo>
                    <a:pt x="391" y="68"/>
                  </a:lnTo>
                  <a:lnTo>
                    <a:pt x="409" y="52"/>
                  </a:lnTo>
                  <a:lnTo>
                    <a:pt x="405" y="4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13" name="Freeform 256"/>
            <p:cNvSpPr>
              <a:spLocks/>
            </p:cNvSpPr>
            <p:nvPr/>
          </p:nvSpPr>
          <p:spPr bwMode="auto">
            <a:xfrm>
              <a:off x="3985377" y="4533710"/>
              <a:ext cx="522287" cy="257175"/>
            </a:xfrm>
            <a:custGeom>
              <a:avLst/>
              <a:gdLst>
                <a:gd name="T0" fmla="*/ 748484817 w 329"/>
                <a:gd name="T1" fmla="*/ 85685305 h 162"/>
                <a:gd name="T2" fmla="*/ 748484817 w 329"/>
                <a:gd name="T3" fmla="*/ 70564373 h 162"/>
                <a:gd name="T4" fmla="*/ 642638395 w 329"/>
                <a:gd name="T5" fmla="*/ 30241876 h 162"/>
                <a:gd name="T6" fmla="*/ 526711361 w 329"/>
                <a:gd name="T7" fmla="*/ 45362808 h 162"/>
                <a:gd name="T8" fmla="*/ 451106774 w 329"/>
                <a:gd name="T9" fmla="*/ 85685305 h 162"/>
                <a:gd name="T10" fmla="*/ 430945551 w 329"/>
                <a:gd name="T11" fmla="*/ 90725616 h 162"/>
                <a:gd name="T12" fmla="*/ 370461782 w 329"/>
                <a:gd name="T13" fmla="*/ 0 h 162"/>
                <a:gd name="T14" fmla="*/ 345260253 w 329"/>
                <a:gd name="T15" fmla="*/ 15120938 h 162"/>
                <a:gd name="T16" fmla="*/ 335179641 w 329"/>
                <a:gd name="T17" fmla="*/ 40322497 h 162"/>
                <a:gd name="T18" fmla="*/ 284776583 w 329"/>
                <a:gd name="T19" fmla="*/ 20161249 h 162"/>
                <a:gd name="T20" fmla="*/ 216733249 w 329"/>
                <a:gd name="T21" fmla="*/ 55443441 h 162"/>
                <a:gd name="T22" fmla="*/ 196571976 w 329"/>
                <a:gd name="T23" fmla="*/ 85685305 h 162"/>
                <a:gd name="T24" fmla="*/ 166330141 w 329"/>
                <a:gd name="T25" fmla="*/ 115927193 h 162"/>
                <a:gd name="T26" fmla="*/ 100806141 w 329"/>
                <a:gd name="T27" fmla="*/ 181451231 h 162"/>
                <a:gd name="T28" fmla="*/ 35282153 w 329"/>
                <a:gd name="T29" fmla="*/ 161289989 h 162"/>
                <a:gd name="T30" fmla="*/ 0 w 329"/>
                <a:gd name="T31" fmla="*/ 211693144 h 162"/>
                <a:gd name="T32" fmla="*/ 0 w 329"/>
                <a:gd name="T33" fmla="*/ 312499356 h 162"/>
                <a:gd name="T34" fmla="*/ 15120924 w 329"/>
                <a:gd name="T35" fmla="*/ 317539667 h 162"/>
                <a:gd name="T36" fmla="*/ 25201535 w 329"/>
                <a:gd name="T37" fmla="*/ 347781531 h 162"/>
                <a:gd name="T38" fmla="*/ 40322459 w 329"/>
                <a:gd name="T39" fmla="*/ 347781531 h 162"/>
                <a:gd name="T40" fmla="*/ 120967389 w 329"/>
                <a:gd name="T41" fmla="*/ 408265258 h 162"/>
                <a:gd name="T42" fmla="*/ 176410753 w 329"/>
                <a:gd name="T43" fmla="*/ 408265258 h 162"/>
                <a:gd name="T44" fmla="*/ 267136307 w 329"/>
                <a:gd name="T45" fmla="*/ 398184637 h 162"/>
                <a:gd name="T46" fmla="*/ 277216918 w 329"/>
                <a:gd name="T47" fmla="*/ 352821841 h 162"/>
                <a:gd name="T48" fmla="*/ 299897501 w 329"/>
                <a:gd name="T49" fmla="*/ 342741220 h 162"/>
                <a:gd name="T50" fmla="*/ 385582700 w 329"/>
                <a:gd name="T51" fmla="*/ 327620288 h 162"/>
                <a:gd name="T52" fmla="*/ 425905245 w 329"/>
                <a:gd name="T53" fmla="*/ 322579978 h 162"/>
                <a:gd name="T54" fmla="*/ 456147080 w 329"/>
                <a:gd name="T55" fmla="*/ 322579978 h 162"/>
                <a:gd name="T56" fmla="*/ 511590444 w 329"/>
                <a:gd name="T57" fmla="*/ 277217182 h 162"/>
                <a:gd name="T58" fmla="*/ 561993502 w 329"/>
                <a:gd name="T59" fmla="*/ 231854387 h 162"/>
                <a:gd name="T60" fmla="*/ 617436866 w 329"/>
                <a:gd name="T61" fmla="*/ 241935008 h 162"/>
                <a:gd name="T62" fmla="*/ 677920535 w 329"/>
                <a:gd name="T63" fmla="*/ 231854387 h 162"/>
                <a:gd name="T64" fmla="*/ 718242982 w 329"/>
                <a:gd name="T65" fmla="*/ 282257493 h 162"/>
                <a:gd name="T66" fmla="*/ 738404205 w 329"/>
                <a:gd name="T67" fmla="*/ 272176872 h 162"/>
                <a:gd name="T68" fmla="*/ 773686346 w 329"/>
                <a:gd name="T69" fmla="*/ 262096250 h 162"/>
                <a:gd name="T70" fmla="*/ 829129710 w 329"/>
                <a:gd name="T71" fmla="*/ 110886883 h 162"/>
                <a:gd name="T72" fmla="*/ 773686346 w 329"/>
                <a:gd name="T73" fmla="*/ 90725616 h 162"/>
                <a:gd name="T74" fmla="*/ 748484817 w 329"/>
                <a:gd name="T75" fmla="*/ 85685305 h 16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29"/>
                <a:gd name="T115" fmla="*/ 0 h 162"/>
                <a:gd name="T116" fmla="*/ 329 w 329"/>
                <a:gd name="T117" fmla="*/ 162 h 16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29" h="162">
                  <a:moveTo>
                    <a:pt x="297" y="34"/>
                  </a:moveTo>
                  <a:lnTo>
                    <a:pt x="297" y="28"/>
                  </a:lnTo>
                  <a:lnTo>
                    <a:pt x="255" y="12"/>
                  </a:lnTo>
                  <a:lnTo>
                    <a:pt x="209" y="18"/>
                  </a:lnTo>
                  <a:lnTo>
                    <a:pt x="179" y="34"/>
                  </a:lnTo>
                  <a:lnTo>
                    <a:pt x="171" y="36"/>
                  </a:lnTo>
                  <a:lnTo>
                    <a:pt x="147" y="0"/>
                  </a:lnTo>
                  <a:lnTo>
                    <a:pt x="137" y="6"/>
                  </a:lnTo>
                  <a:lnTo>
                    <a:pt x="133" y="16"/>
                  </a:lnTo>
                  <a:lnTo>
                    <a:pt x="113" y="8"/>
                  </a:lnTo>
                  <a:lnTo>
                    <a:pt x="86" y="22"/>
                  </a:lnTo>
                  <a:lnTo>
                    <a:pt x="78" y="34"/>
                  </a:lnTo>
                  <a:lnTo>
                    <a:pt x="66" y="46"/>
                  </a:lnTo>
                  <a:lnTo>
                    <a:pt x="40" y="72"/>
                  </a:lnTo>
                  <a:lnTo>
                    <a:pt x="14" y="64"/>
                  </a:lnTo>
                  <a:lnTo>
                    <a:pt x="0" y="84"/>
                  </a:lnTo>
                  <a:lnTo>
                    <a:pt x="0" y="124"/>
                  </a:lnTo>
                  <a:lnTo>
                    <a:pt x="6" y="126"/>
                  </a:lnTo>
                  <a:lnTo>
                    <a:pt x="10" y="138"/>
                  </a:lnTo>
                  <a:lnTo>
                    <a:pt x="16" y="138"/>
                  </a:lnTo>
                  <a:lnTo>
                    <a:pt x="48" y="162"/>
                  </a:lnTo>
                  <a:lnTo>
                    <a:pt x="70" y="162"/>
                  </a:lnTo>
                  <a:lnTo>
                    <a:pt x="106" y="158"/>
                  </a:lnTo>
                  <a:lnTo>
                    <a:pt x="110" y="140"/>
                  </a:lnTo>
                  <a:lnTo>
                    <a:pt x="119" y="136"/>
                  </a:lnTo>
                  <a:lnTo>
                    <a:pt x="153" y="130"/>
                  </a:lnTo>
                  <a:lnTo>
                    <a:pt x="169" y="128"/>
                  </a:lnTo>
                  <a:lnTo>
                    <a:pt x="181" y="128"/>
                  </a:lnTo>
                  <a:lnTo>
                    <a:pt x="203" y="110"/>
                  </a:lnTo>
                  <a:lnTo>
                    <a:pt x="223" y="92"/>
                  </a:lnTo>
                  <a:lnTo>
                    <a:pt x="245" y="96"/>
                  </a:lnTo>
                  <a:lnTo>
                    <a:pt x="269" y="92"/>
                  </a:lnTo>
                  <a:lnTo>
                    <a:pt x="285" y="112"/>
                  </a:lnTo>
                  <a:lnTo>
                    <a:pt x="293" y="108"/>
                  </a:lnTo>
                  <a:lnTo>
                    <a:pt x="307" y="104"/>
                  </a:lnTo>
                  <a:lnTo>
                    <a:pt x="329" y="44"/>
                  </a:lnTo>
                  <a:lnTo>
                    <a:pt x="307" y="36"/>
                  </a:lnTo>
                  <a:lnTo>
                    <a:pt x="297" y="34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14" name="Freeform 258"/>
            <p:cNvSpPr>
              <a:spLocks/>
            </p:cNvSpPr>
            <p:nvPr/>
          </p:nvSpPr>
          <p:spPr bwMode="auto">
            <a:xfrm>
              <a:off x="4542589" y="3573273"/>
              <a:ext cx="796925" cy="688975"/>
            </a:xfrm>
            <a:custGeom>
              <a:avLst/>
              <a:gdLst>
                <a:gd name="T0" fmla="*/ 1149191367 w 502"/>
                <a:gd name="T1" fmla="*/ 761087172 h 434"/>
                <a:gd name="T2" fmla="*/ 1123989811 w 502"/>
                <a:gd name="T3" fmla="*/ 710684061 h 434"/>
                <a:gd name="T4" fmla="*/ 1098788255 w 502"/>
                <a:gd name="T5" fmla="*/ 660280950 h 434"/>
                <a:gd name="T6" fmla="*/ 1129030122 w 502"/>
                <a:gd name="T7" fmla="*/ 589716595 h 434"/>
                <a:gd name="T8" fmla="*/ 1189513858 w 502"/>
                <a:gd name="T9" fmla="*/ 609877839 h 434"/>
                <a:gd name="T10" fmla="*/ 1265118527 w 502"/>
                <a:gd name="T11" fmla="*/ 509071618 h 434"/>
                <a:gd name="T12" fmla="*/ 1118949500 w 502"/>
                <a:gd name="T13" fmla="*/ 458668507 h 434"/>
                <a:gd name="T14" fmla="*/ 1013102963 w 502"/>
                <a:gd name="T15" fmla="*/ 277217209 h 434"/>
                <a:gd name="T16" fmla="*/ 972780473 w 502"/>
                <a:gd name="T17" fmla="*/ 211693165 h 434"/>
                <a:gd name="T18" fmla="*/ 937498294 w 502"/>
                <a:gd name="T19" fmla="*/ 70564380 h 434"/>
                <a:gd name="T20" fmla="*/ 745966267 w 502"/>
                <a:gd name="T21" fmla="*/ 70564380 h 434"/>
                <a:gd name="T22" fmla="*/ 680442220 w 502"/>
                <a:gd name="T23" fmla="*/ 25201562 h 434"/>
                <a:gd name="T24" fmla="*/ 619958485 w 502"/>
                <a:gd name="T25" fmla="*/ 10080625 h 434"/>
                <a:gd name="T26" fmla="*/ 579635995 w 502"/>
                <a:gd name="T27" fmla="*/ 0 h 434"/>
                <a:gd name="T28" fmla="*/ 524192571 w 502"/>
                <a:gd name="T29" fmla="*/ 90725624 h 434"/>
                <a:gd name="T30" fmla="*/ 403225001 w 502"/>
                <a:gd name="T31" fmla="*/ 131048138 h 434"/>
                <a:gd name="T32" fmla="*/ 312499398 w 502"/>
                <a:gd name="T33" fmla="*/ 317539697 h 434"/>
                <a:gd name="T34" fmla="*/ 287297842 w 502"/>
                <a:gd name="T35" fmla="*/ 473789440 h 434"/>
                <a:gd name="T36" fmla="*/ 161290010 w 502"/>
                <a:gd name="T37" fmla="*/ 534273173 h 434"/>
                <a:gd name="T38" fmla="*/ 65524071 w 502"/>
                <a:gd name="T39" fmla="*/ 549394106 h 434"/>
                <a:gd name="T40" fmla="*/ 60483760 w 502"/>
                <a:gd name="T41" fmla="*/ 645160017 h 434"/>
                <a:gd name="T42" fmla="*/ 100806250 w 502"/>
                <a:gd name="T43" fmla="*/ 781248416 h 434"/>
                <a:gd name="T44" fmla="*/ 60483760 w 502"/>
                <a:gd name="T45" fmla="*/ 841732348 h 434"/>
                <a:gd name="T46" fmla="*/ 50403125 w 502"/>
                <a:gd name="T47" fmla="*/ 942538569 h 434"/>
                <a:gd name="T48" fmla="*/ 60483760 w 502"/>
                <a:gd name="T49" fmla="*/ 1043344791 h 434"/>
                <a:gd name="T50" fmla="*/ 70564383 w 502"/>
                <a:gd name="T51" fmla="*/ 1093747902 h 434"/>
                <a:gd name="T52" fmla="*/ 166330322 w 502"/>
                <a:gd name="T53" fmla="*/ 997981991 h 434"/>
                <a:gd name="T54" fmla="*/ 337700955 w 502"/>
                <a:gd name="T55" fmla="*/ 972780436 h 434"/>
                <a:gd name="T56" fmla="*/ 619958485 w 502"/>
                <a:gd name="T57" fmla="*/ 1028223858 h 434"/>
                <a:gd name="T58" fmla="*/ 957659539 w 502"/>
                <a:gd name="T59" fmla="*/ 1008062613 h 434"/>
                <a:gd name="T60" fmla="*/ 1048385142 w 502"/>
                <a:gd name="T61" fmla="*/ 1043344791 h 434"/>
                <a:gd name="T62" fmla="*/ 1068546387 w 502"/>
                <a:gd name="T63" fmla="*/ 856853281 h 434"/>
                <a:gd name="T64" fmla="*/ 1154231679 w 502"/>
                <a:gd name="T65" fmla="*/ 796369349 h 43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502"/>
                <a:gd name="T100" fmla="*/ 0 h 434"/>
                <a:gd name="T101" fmla="*/ 502 w 502"/>
                <a:gd name="T102" fmla="*/ 434 h 43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502" h="434">
                  <a:moveTo>
                    <a:pt x="458" y="306"/>
                  </a:moveTo>
                  <a:lnTo>
                    <a:pt x="456" y="302"/>
                  </a:lnTo>
                  <a:lnTo>
                    <a:pt x="454" y="292"/>
                  </a:lnTo>
                  <a:lnTo>
                    <a:pt x="446" y="282"/>
                  </a:lnTo>
                  <a:lnTo>
                    <a:pt x="448" y="268"/>
                  </a:lnTo>
                  <a:lnTo>
                    <a:pt x="436" y="262"/>
                  </a:lnTo>
                  <a:lnTo>
                    <a:pt x="434" y="238"/>
                  </a:lnTo>
                  <a:lnTo>
                    <a:pt x="448" y="234"/>
                  </a:lnTo>
                  <a:lnTo>
                    <a:pt x="458" y="242"/>
                  </a:lnTo>
                  <a:lnTo>
                    <a:pt x="472" y="242"/>
                  </a:lnTo>
                  <a:lnTo>
                    <a:pt x="490" y="220"/>
                  </a:lnTo>
                  <a:lnTo>
                    <a:pt x="502" y="202"/>
                  </a:lnTo>
                  <a:lnTo>
                    <a:pt x="482" y="182"/>
                  </a:lnTo>
                  <a:lnTo>
                    <a:pt x="444" y="182"/>
                  </a:lnTo>
                  <a:lnTo>
                    <a:pt x="448" y="160"/>
                  </a:lnTo>
                  <a:lnTo>
                    <a:pt x="402" y="110"/>
                  </a:lnTo>
                  <a:lnTo>
                    <a:pt x="392" y="112"/>
                  </a:lnTo>
                  <a:lnTo>
                    <a:pt x="386" y="84"/>
                  </a:lnTo>
                  <a:lnTo>
                    <a:pt x="382" y="50"/>
                  </a:lnTo>
                  <a:lnTo>
                    <a:pt x="372" y="28"/>
                  </a:lnTo>
                  <a:lnTo>
                    <a:pt x="326" y="14"/>
                  </a:lnTo>
                  <a:lnTo>
                    <a:pt x="296" y="28"/>
                  </a:lnTo>
                  <a:lnTo>
                    <a:pt x="284" y="8"/>
                  </a:lnTo>
                  <a:lnTo>
                    <a:pt x="270" y="10"/>
                  </a:lnTo>
                  <a:lnTo>
                    <a:pt x="260" y="10"/>
                  </a:lnTo>
                  <a:lnTo>
                    <a:pt x="246" y="4"/>
                  </a:lnTo>
                  <a:lnTo>
                    <a:pt x="238" y="6"/>
                  </a:lnTo>
                  <a:lnTo>
                    <a:pt x="230" y="0"/>
                  </a:lnTo>
                  <a:lnTo>
                    <a:pt x="216" y="16"/>
                  </a:lnTo>
                  <a:lnTo>
                    <a:pt x="208" y="36"/>
                  </a:lnTo>
                  <a:lnTo>
                    <a:pt x="196" y="34"/>
                  </a:lnTo>
                  <a:lnTo>
                    <a:pt x="160" y="52"/>
                  </a:lnTo>
                  <a:lnTo>
                    <a:pt x="146" y="112"/>
                  </a:lnTo>
                  <a:lnTo>
                    <a:pt x="124" y="126"/>
                  </a:lnTo>
                  <a:lnTo>
                    <a:pt x="122" y="158"/>
                  </a:lnTo>
                  <a:lnTo>
                    <a:pt x="114" y="188"/>
                  </a:lnTo>
                  <a:lnTo>
                    <a:pt x="88" y="194"/>
                  </a:lnTo>
                  <a:lnTo>
                    <a:pt x="64" y="212"/>
                  </a:lnTo>
                  <a:lnTo>
                    <a:pt x="32" y="214"/>
                  </a:lnTo>
                  <a:lnTo>
                    <a:pt x="26" y="218"/>
                  </a:lnTo>
                  <a:lnTo>
                    <a:pt x="12" y="216"/>
                  </a:lnTo>
                  <a:lnTo>
                    <a:pt x="24" y="256"/>
                  </a:lnTo>
                  <a:lnTo>
                    <a:pt x="36" y="284"/>
                  </a:lnTo>
                  <a:lnTo>
                    <a:pt x="40" y="310"/>
                  </a:lnTo>
                  <a:lnTo>
                    <a:pt x="38" y="328"/>
                  </a:lnTo>
                  <a:lnTo>
                    <a:pt x="24" y="334"/>
                  </a:lnTo>
                  <a:lnTo>
                    <a:pt x="0" y="364"/>
                  </a:lnTo>
                  <a:lnTo>
                    <a:pt x="20" y="374"/>
                  </a:lnTo>
                  <a:lnTo>
                    <a:pt x="28" y="382"/>
                  </a:lnTo>
                  <a:lnTo>
                    <a:pt x="24" y="414"/>
                  </a:lnTo>
                  <a:lnTo>
                    <a:pt x="24" y="424"/>
                  </a:lnTo>
                  <a:lnTo>
                    <a:pt x="28" y="434"/>
                  </a:lnTo>
                  <a:lnTo>
                    <a:pt x="40" y="414"/>
                  </a:lnTo>
                  <a:lnTo>
                    <a:pt x="66" y="396"/>
                  </a:lnTo>
                  <a:lnTo>
                    <a:pt x="102" y="392"/>
                  </a:lnTo>
                  <a:lnTo>
                    <a:pt x="134" y="386"/>
                  </a:lnTo>
                  <a:lnTo>
                    <a:pt x="168" y="388"/>
                  </a:lnTo>
                  <a:lnTo>
                    <a:pt x="246" y="408"/>
                  </a:lnTo>
                  <a:lnTo>
                    <a:pt x="304" y="402"/>
                  </a:lnTo>
                  <a:lnTo>
                    <a:pt x="380" y="400"/>
                  </a:lnTo>
                  <a:lnTo>
                    <a:pt x="414" y="416"/>
                  </a:lnTo>
                  <a:lnTo>
                    <a:pt x="416" y="414"/>
                  </a:lnTo>
                  <a:lnTo>
                    <a:pt x="420" y="354"/>
                  </a:lnTo>
                  <a:lnTo>
                    <a:pt x="424" y="340"/>
                  </a:lnTo>
                  <a:lnTo>
                    <a:pt x="470" y="330"/>
                  </a:lnTo>
                  <a:lnTo>
                    <a:pt x="458" y="316"/>
                  </a:lnTo>
                  <a:lnTo>
                    <a:pt x="458" y="306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15" name="Freeform 259"/>
            <p:cNvSpPr>
              <a:spLocks/>
            </p:cNvSpPr>
            <p:nvPr/>
          </p:nvSpPr>
          <p:spPr bwMode="auto">
            <a:xfrm>
              <a:off x="3556752" y="4316223"/>
              <a:ext cx="608012" cy="350837"/>
            </a:xfrm>
            <a:custGeom>
              <a:avLst/>
              <a:gdLst>
                <a:gd name="T0" fmla="*/ 317539424 w 383"/>
                <a:gd name="T1" fmla="*/ 541832077 h 221"/>
                <a:gd name="T2" fmla="*/ 372982799 w 383"/>
                <a:gd name="T3" fmla="*/ 511590253 h 221"/>
                <a:gd name="T4" fmla="*/ 398184332 w 383"/>
                <a:gd name="T5" fmla="*/ 451106606 h 221"/>
                <a:gd name="T6" fmla="*/ 519151794 w 383"/>
                <a:gd name="T7" fmla="*/ 491429037 h 221"/>
                <a:gd name="T8" fmla="*/ 534272714 w 383"/>
                <a:gd name="T9" fmla="*/ 501509645 h 221"/>
                <a:gd name="T10" fmla="*/ 589716088 w 383"/>
                <a:gd name="T11" fmla="*/ 526711165 h 221"/>
                <a:gd name="T12" fmla="*/ 670360996 w 383"/>
                <a:gd name="T13" fmla="*/ 531751469 h 221"/>
                <a:gd name="T14" fmla="*/ 680441610 w 383"/>
                <a:gd name="T15" fmla="*/ 556952988 h 221"/>
                <a:gd name="T16" fmla="*/ 715723757 w 383"/>
                <a:gd name="T17" fmla="*/ 506549949 h 221"/>
                <a:gd name="T18" fmla="*/ 781247744 w 383"/>
                <a:gd name="T19" fmla="*/ 526711165 h 221"/>
                <a:gd name="T20" fmla="*/ 846771931 w 383"/>
                <a:gd name="T21" fmla="*/ 461187214 h 221"/>
                <a:gd name="T22" fmla="*/ 877013771 w 383"/>
                <a:gd name="T23" fmla="*/ 430945390 h 221"/>
                <a:gd name="T24" fmla="*/ 897174998 w 383"/>
                <a:gd name="T25" fmla="*/ 400703467 h 221"/>
                <a:gd name="T26" fmla="*/ 965218345 w 383"/>
                <a:gd name="T27" fmla="*/ 365421340 h 221"/>
                <a:gd name="T28" fmla="*/ 897174998 w 383"/>
                <a:gd name="T29" fmla="*/ 269655565 h 221"/>
                <a:gd name="T30" fmla="*/ 892134691 w 383"/>
                <a:gd name="T31" fmla="*/ 274695869 h 221"/>
                <a:gd name="T32" fmla="*/ 816529892 w 383"/>
                <a:gd name="T33" fmla="*/ 249494350 h 221"/>
                <a:gd name="T34" fmla="*/ 811489585 w 383"/>
                <a:gd name="T35" fmla="*/ 214212222 h 221"/>
                <a:gd name="T36" fmla="*/ 811489585 w 383"/>
                <a:gd name="T37" fmla="*/ 183970349 h 221"/>
                <a:gd name="T38" fmla="*/ 791328358 w 383"/>
                <a:gd name="T39" fmla="*/ 189010653 h 221"/>
                <a:gd name="T40" fmla="*/ 751005904 w 383"/>
                <a:gd name="T41" fmla="*/ 178930045 h 221"/>
                <a:gd name="T42" fmla="*/ 756046211 w 383"/>
                <a:gd name="T43" fmla="*/ 178930045 h 221"/>
                <a:gd name="T44" fmla="*/ 685481916 w 383"/>
                <a:gd name="T45" fmla="*/ 158768829 h 221"/>
                <a:gd name="T46" fmla="*/ 700602836 w 383"/>
                <a:gd name="T47" fmla="*/ 204131565 h 221"/>
                <a:gd name="T48" fmla="*/ 665320689 w 383"/>
                <a:gd name="T49" fmla="*/ 214212222 h 221"/>
                <a:gd name="T50" fmla="*/ 624998235 w 383"/>
                <a:gd name="T51" fmla="*/ 178930045 h 221"/>
                <a:gd name="T52" fmla="*/ 599796702 w 383"/>
                <a:gd name="T53" fmla="*/ 93244854 h 221"/>
                <a:gd name="T54" fmla="*/ 519151794 w 383"/>
                <a:gd name="T55" fmla="*/ 68043334 h 221"/>
                <a:gd name="T56" fmla="*/ 463708419 w 383"/>
                <a:gd name="T57" fmla="*/ 22680580 h 221"/>
                <a:gd name="T58" fmla="*/ 433466579 w 383"/>
                <a:gd name="T59" fmla="*/ 5040305 h 221"/>
                <a:gd name="T60" fmla="*/ 428426272 w 383"/>
                <a:gd name="T61" fmla="*/ 20161222 h 221"/>
                <a:gd name="T62" fmla="*/ 403224639 w 383"/>
                <a:gd name="T63" fmla="*/ 37801498 h 221"/>
                <a:gd name="T64" fmla="*/ 403224639 w 383"/>
                <a:gd name="T65" fmla="*/ 37801498 h 221"/>
                <a:gd name="T66" fmla="*/ 403224639 w 383"/>
                <a:gd name="T67" fmla="*/ 37801498 h 221"/>
                <a:gd name="T68" fmla="*/ 398184332 w 383"/>
                <a:gd name="T69" fmla="*/ 37801498 h 221"/>
                <a:gd name="T70" fmla="*/ 357861878 w 383"/>
                <a:gd name="T71" fmla="*/ 0 h 221"/>
                <a:gd name="T72" fmla="*/ 337700651 w 383"/>
                <a:gd name="T73" fmla="*/ 20161222 h 221"/>
                <a:gd name="T74" fmla="*/ 176410786 w 383"/>
                <a:gd name="T75" fmla="*/ 78123942 h 221"/>
                <a:gd name="T76" fmla="*/ 0 w 383"/>
                <a:gd name="T77" fmla="*/ 123486702 h 221"/>
                <a:gd name="T78" fmla="*/ 35282160 w 383"/>
                <a:gd name="T79" fmla="*/ 204131565 h 221"/>
                <a:gd name="T80" fmla="*/ 70564319 w 383"/>
                <a:gd name="T81" fmla="*/ 299897389 h 221"/>
                <a:gd name="T82" fmla="*/ 115927105 w 383"/>
                <a:gd name="T83" fmla="*/ 375501948 h 221"/>
                <a:gd name="T84" fmla="*/ 161289866 w 383"/>
                <a:gd name="T85" fmla="*/ 435985694 h 221"/>
                <a:gd name="T86" fmla="*/ 221773596 w 383"/>
                <a:gd name="T87" fmla="*/ 491429037 h 221"/>
                <a:gd name="T88" fmla="*/ 267136357 w 383"/>
                <a:gd name="T89" fmla="*/ 531751469 h 221"/>
                <a:gd name="T90" fmla="*/ 317539424 w 383"/>
                <a:gd name="T91" fmla="*/ 541832077 h 22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83"/>
                <a:gd name="T139" fmla="*/ 0 h 221"/>
                <a:gd name="T140" fmla="*/ 383 w 383"/>
                <a:gd name="T141" fmla="*/ 221 h 22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83" h="221">
                  <a:moveTo>
                    <a:pt x="126" y="215"/>
                  </a:moveTo>
                  <a:lnTo>
                    <a:pt x="148" y="203"/>
                  </a:lnTo>
                  <a:lnTo>
                    <a:pt x="158" y="179"/>
                  </a:lnTo>
                  <a:lnTo>
                    <a:pt x="206" y="195"/>
                  </a:lnTo>
                  <a:lnTo>
                    <a:pt x="212" y="199"/>
                  </a:lnTo>
                  <a:lnTo>
                    <a:pt x="234" y="209"/>
                  </a:lnTo>
                  <a:lnTo>
                    <a:pt x="266" y="211"/>
                  </a:lnTo>
                  <a:lnTo>
                    <a:pt x="270" y="221"/>
                  </a:lnTo>
                  <a:lnTo>
                    <a:pt x="284" y="201"/>
                  </a:lnTo>
                  <a:lnTo>
                    <a:pt x="310" y="209"/>
                  </a:lnTo>
                  <a:lnTo>
                    <a:pt x="336" y="183"/>
                  </a:lnTo>
                  <a:lnTo>
                    <a:pt x="348" y="171"/>
                  </a:lnTo>
                  <a:lnTo>
                    <a:pt x="356" y="159"/>
                  </a:lnTo>
                  <a:lnTo>
                    <a:pt x="383" y="145"/>
                  </a:lnTo>
                  <a:lnTo>
                    <a:pt x="356" y="107"/>
                  </a:lnTo>
                  <a:lnTo>
                    <a:pt x="354" y="109"/>
                  </a:lnTo>
                  <a:lnTo>
                    <a:pt x="324" y="99"/>
                  </a:lnTo>
                  <a:lnTo>
                    <a:pt x="322" y="85"/>
                  </a:lnTo>
                  <a:lnTo>
                    <a:pt x="322" y="73"/>
                  </a:lnTo>
                  <a:lnTo>
                    <a:pt x="314" y="75"/>
                  </a:lnTo>
                  <a:lnTo>
                    <a:pt x="298" y="71"/>
                  </a:lnTo>
                  <a:lnTo>
                    <a:pt x="300" y="71"/>
                  </a:lnTo>
                  <a:lnTo>
                    <a:pt x="272" y="63"/>
                  </a:lnTo>
                  <a:lnTo>
                    <a:pt x="278" y="81"/>
                  </a:lnTo>
                  <a:lnTo>
                    <a:pt x="264" y="85"/>
                  </a:lnTo>
                  <a:lnTo>
                    <a:pt x="248" y="71"/>
                  </a:lnTo>
                  <a:lnTo>
                    <a:pt x="238" y="37"/>
                  </a:lnTo>
                  <a:lnTo>
                    <a:pt x="206" y="27"/>
                  </a:lnTo>
                  <a:lnTo>
                    <a:pt x="184" y="9"/>
                  </a:lnTo>
                  <a:lnTo>
                    <a:pt x="172" y="2"/>
                  </a:lnTo>
                  <a:lnTo>
                    <a:pt x="170" y="8"/>
                  </a:lnTo>
                  <a:lnTo>
                    <a:pt x="160" y="15"/>
                  </a:lnTo>
                  <a:lnTo>
                    <a:pt x="158" y="15"/>
                  </a:lnTo>
                  <a:lnTo>
                    <a:pt x="142" y="0"/>
                  </a:lnTo>
                  <a:lnTo>
                    <a:pt x="134" y="8"/>
                  </a:lnTo>
                  <a:lnTo>
                    <a:pt x="70" y="31"/>
                  </a:lnTo>
                  <a:lnTo>
                    <a:pt x="0" y="49"/>
                  </a:lnTo>
                  <a:lnTo>
                    <a:pt x="14" y="81"/>
                  </a:lnTo>
                  <a:lnTo>
                    <a:pt x="28" y="119"/>
                  </a:lnTo>
                  <a:lnTo>
                    <a:pt x="46" y="149"/>
                  </a:lnTo>
                  <a:lnTo>
                    <a:pt x="64" y="173"/>
                  </a:lnTo>
                  <a:lnTo>
                    <a:pt x="88" y="195"/>
                  </a:lnTo>
                  <a:lnTo>
                    <a:pt x="106" y="211"/>
                  </a:lnTo>
                  <a:lnTo>
                    <a:pt x="126" y="215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16" name="Freeform 261"/>
            <p:cNvSpPr>
              <a:spLocks/>
            </p:cNvSpPr>
            <p:nvPr/>
          </p:nvSpPr>
          <p:spPr bwMode="auto">
            <a:xfrm>
              <a:off x="3267827" y="4600385"/>
              <a:ext cx="733425" cy="361950"/>
            </a:xfrm>
            <a:custGeom>
              <a:avLst/>
              <a:gdLst>
                <a:gd name="T0" fmla="*/ 1154231654 w 462"/>
                <a:gd name="T1" fmla="*/ 211693168 h 228"/>
                <a:gd name="T2" fmla="*/ 1139110721 w 462"/>
                <a:gd name="T3" fmla="*/ 206652807 h 228"/>
                <a:gd name="T4" fmla="*/ 1139110721 w 462"/>
                <a:gd name="T5" fmla="*/ 105846584 h 228"/>
                <a:gd name="T6" fmla="*/ 1129030099 w 462"/>
                <a:gd name="T7" fmla="*/ 80645003 h 228"/>
                <a:gd name="T8" fmla="*/ 1048385120 w 462"/>
                <a:gd name="T9" fmla="*/ 75604692 h 228"/>
                <a:gd name="T10" fmla="*/ 992941697 w 462"/>
                <a:gd name="T11" fmla="*/ 50403124 h 228"/>
                <a:gd name="T12" fmla="*/ 977820764 w 462"/>
                <a:gd name="T13" fmla="*/ 40322502 h 228"/>
                <a:gd name="T14" fmla="*/ 856853295 w 462"/>
                <a:gd name="T15" fmla="*/ 0 h 228"/>
                <a:gd name="T16" fmla="*/ 831651541 w 462"/>
                <a:gd name="T17" fmla="*/ 60483759 h 228"/>
                <a:gd name="T18" fmla="*/ 776208118 w 462"/>
                <a:gd name="T19" fmla="*/ 90725626 h 228"/>
                <a:gd name="T20" fmla="*/ 725805007 w 462"/>
                <a:gd name="T21" fmla="*/ 80645003 h 228"/>
                <a:gd name="T22" fmla="*/ 680442206 w 462"/>
                <a:gd name="T23" fmla="*/ 40322502 h 228"/>
                <a:gd name="T24" fmla="*/ 660280961 w 462"/>
                <a:gd name="T25" fmla="*/ 95765937 h 228"/>
                <a:gd name="T26" fmla="*/ 630039094 w 462"/>
                <a:gd name="T27" fmla="*/ 80645003 h 228"/>
                <a:gd name="T28" fmla="*/ 619958472 w 462"/>
                <a:gd name="T29" fmla="*/ 80645003 h 228"/>
                <a:gd name="T30" fmla="*/ 534273182 w 462"/>
                <a:gd name="T31" fmla="*/ 156249695 h 228"/>
                <a:gd name="T32" fmla="*/ 539313493 w 462"/>
                <a:gd name="T33" fmla="*/ 231854412 h 228"/>
                <a:gd name="T34" fmla="*/ 534273182 w 462"/>
                <a:gd name="T35" fmla="*/ 317539702 h 228"/>
                <a:gd name="T36" fmla="*/ 504031315 w 462"/>
                <a:gd name="T37" fmla="*/ 282257524 h 228"/>
                <a:gd name="T38" fmla="*/ 413305615 w 462"/>
                <a:gd name="T39" fmla="*/ 257055968 h 228"/>
                <a:gd name="T40" fmla="*/ 317539703 w 462"/>
                <a:gd name="T41" fmla="*/ 277217213 h 228"/>
                <a:gd name="T42" fmla="*/ 262096280 w 462"/>
                <a:gd name="T43" fmla="*/ 302418768 h 228"/>
                <a:gd name="T44" fmla="*/ 221773791 w 462"/>
                <a:gd name="T45" fmla="*/ 302418768 h 228"/>
                <a:gd name="T46" fmla="*/ 211693168 w 462"/>
                <a:gd name="T47" fmla="*/ 272176901 h 228"/>
                <a:gd name="T48" fmla="*/ 176410940 w 462"/>
                <a:gd name="T49" fmla="*/ 257055968 h 228"/>
                <a:gd name="T50" fmla="*/ 136088451 w 462"/>
                <a:gd name="T51" fmla="*/ 246975346 h 228"/>
                <a:gd name="T52" fmla="*/ 60483759 w 462"/>
                <a:gd name="T53" fmla="*/ 236894723 h 228"/>
                <a:gd name="T54" fmla="*/ 35282191 w 462"/>
                <a:gd name="T55" fmla="*/ 246975346 h 228"/>
                <a:gd name="T56" fmla="*/ 15120940 w 462"/>
                <a:gd name="T57" fmla="*/ 241935034 h 228"/>
                <a:gd name="T58" fmla="*/ 10080625 w 462"/>
                <a:gd name="T59" fmla="*/ 246975346 h 228"/>
                <a:gd name="T60" fmla="*/ 0 w 462"/>
                <a:gd name="T61" fmla="*/ 302418768 h 228"/>
                <a:gd name="T62" fmla="*/ 5040313 w 462"/>
                <a:gd name="T63" fmla="*/ 347781569 h 228"/>
                <a:gd name="T64" fmla="*/ 136088451 w 462"/>
                <a:gd name="T65" fmla="*/ 398184680 h 228"/>
                <a:gd name="T66" fmla="*/ 131048140 w 462"/>
                <a:gd name="T67" fmla="*/ 408265302 h 228"/>
                <a:gd name="T68" fmla="*/ 131048140 w 462"/>
                <a:gd name="T69" fmla="*/ 408265302 h 228"/>
                <a:gd name="T70" fmla="*/ 201612496 w 462"/>
                <a:gd name="T71" fmla="*/ 438507269 h 228"/>
                <a:gd name="T72" fmla="*/ 236894724 w 462"/>
                <a:gd name="T73" fmla="*/ 403224991 h 228"/>
                <a:gd name="T74" fmla="*/ 302418769 w 462"/>
                <a:gd name="T75" fmla="*/ 398184680 h 228"/>
                <a:gd name="T76" fmla="*/ 398184682 w 462"/>
                <a:gd name="T77" fmla="*/ 393144369 h 228"/>
                <a:gd name="T78" fmla="*/ 388104059 w 462"/>
                <a:gd name="T79" fmla="*/ 423386335 h 228"/>
                <a:gd name="T80" fmla="*/ 398184682 w 462"/>
                <a:gd name="T81" fmla="*/ 438507269 h 228"/>
                <a:gd name="T82" fmla="*/ 403224993 w 462"/>
                <a:gd name="T83" fmla="*/ 438507269 h 228"/>
                <a:gd name="T84" fmla="*/ 403224993 w 462"/>
                <a:gd name="T85" fmla="*/ 458668513 h 228"/>
                <a:gd name="T86" fmla="*/ 418346025 w 462"/>
                <a:gd name="T87" fmla="*/ 463708824 h 228"/>
                <a:gd name="T88" fmla="*/ 418346025 w 462"/>
                <a:gd name="T89" fmla="*/ 478829758 h 228"/>
                <a:gd name="T90" fmla="*/ 509071626 w 462"/>
                <a:gd name="T91" fmla="*/ 509071625 h 228"/>
                <a:gd name="T92" fmla="*/ 619958472 w 462"/>
                <a:gd name="T93" fmla="*/ 539313492 h 228"/>
                <a:gd name="T94" fmla="*/ 725805007 w 462"/>
                <a:gd name="T95" fmla="*/ 574595670 h 228"/>
                <a:gd name="T96" fmla="*/ 811490297 w 462"/>
                <a:gd name="T97" fmla="*/ 529232869 h 228"/>
                <a:gd name="T98" fmla="*/ 816530608 w 462"/>
                <a:gd name="T99" fmla="*/ 539313492 h 228"/>
                <a:gd name="T100" fmla="*/ 887095162 w 462"/>
                <a:gd name="T101" fmla="*/ 534273180 h 228"/>
                <a:gd name="T102" fmla="*/ 902216096 w 462"/>
                <a:gd name="T103" fmla="*/ 539313492 h 228"/>
                <a:gd name="T104" fmla="*/ 922377341 w 462"/>
                <a:gd name="T105" fmla="*/ 524192558 h 228"/>
                <a:gd name="T106" fmla="*/ 977820764 w 462"/>
                <a:gd name="T107" fmla="*/ 534273180 h 228"/>
                <a:gd name="T108" fmla="*/ 997982008 w 462"/>
                <a:gd name="T109" fmla="*/ 488910380 h 228"/>
                <a:gd name="T110" fmla="*/ 1008062631 w 462"/>
                <a:gd name="T111" fmla="*/ 473789447 h 228"/>
                <a:gd name="T112" fmla="*/ 1018143253 w 462"/>
                <a:gd name="T113" fmla="*/ 473789447 h 228"/>
                <a:gd name="T114" fmla="*/ 1048385120 w 462"/>
                <a:gd name="T115" fmla="*/ 463708824 h 228"/>
                <a:gd name="T116" fmla="*/ 1053425431 w 462"/>
                <a:gd name="T117" fmla="*/ 433466957 h 228"/>
                <a:gd name="T118" fmla="*/ 1083667298 w 462"/>
                <a:gd name="T119" fmla="*/ 357862191 h 228"/>
                <a:gd name="T120" fmla="*/ 1134070410 w 462"/>
                <a:gd name="T121" fmla="*/ 312499391 h 228"/>
                <a:gd name="T122" fmla="*/ 1164312277 w 462"/>
                <a:gd name="T123" fmla="*/ 241935034 h 228"/>
                <a:gd name="T124" fmla="*/ 1154231654 w 462"/>
                <a:gd name="T125" fmla="*/ 211693168 h 22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2"/>
                <a:gd name="T190" fmla="*/ 0 h 228"/>
                <a:gd name="T191" fmla="*/ 462 w 462"/>
                <a:gd name="T192" fmla="*/ 228 h 22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2" h="228">
                  <a:moveTo>
                    <a:pt x="458" y="84"/>
                  </a:moveTo>
                  <a:lnTo>
                    <a:pt x="452" y="82"/>
                  </a:lnTo>
                  <a:lnTo>
                    <a:pt x="452" y="42"/>
                  </a:lnTo>
                  <a:lnTo>
                    <a:pt x="448" y="32"/>
                  </a:lnTo>
                  <a:lnTo>
                    <a:pt x="416" y="30"/>
                  </a:lnTo>
                  <a:lnTo>
                    <a:pt x="394" y="20"/>
                  </a:lnTo>
                  <a:lnTo>
                    <a:pt x="388" y="16"/>
                  </a:lnTo>
                  <a:lnTo>
                    <a:pt x="340" y="0"/>
                  </a:lnTo>
                  <a:lnTo>
                    <a:pt x="330" y="24"/>
                  </a:lnTo>
                  <a:lnTo>
                    <a:pt x="308" y="36"/>
                  </a:lnTo>
                  <a:lnTo>
                    <a:pt x="288" y="32"/>
                  </a:lnTo>
                  <a:lnTo>
                    <a:pt x="270" y="16"/>
                  </a:lnTo>
                  <a:lnTo>
                    <a:pt x="262" y="38"/>
                  </a:lnTo>
                  <a:lnTo>
                    <a:pt x="250" y="32"/>
                  </a:lnTo>
                  <a:lnTo>
                    <a:pt x="246" y="32"/>
                  </a:lnTo>
                  <a:lnTo>
                    <a:pt x="212" y="62"/>
                  </a:lnTo>
                  <a:lnTo>
                    <a:pt x="214" y="92"/>
                  </a:lnTo>
                  <a:lnTo>
                    <a:pt x="212" y="126"/>
                  </a:lnTo>
                  <a:lnTo>
                    <a:pt x="200" y="112"/>
                  </a:lnTo>
                  <a:lnTo>
                    <a:pt x="164" y="102"/>
                  </a:lnTo>
                  <a:lnTo>
                    <a:pt x="126" y="110"/>
                  </a:lnTo>
                  <a:lnTo>
                    <a:pt x="104" y="120"/>
                  </a:lnTo>
                  <a:lnTo>
                    <a:pt x="88" y="120"/>
                  </a:lnTo>
                  <a:lnTo>
                    <a:pt x="84" y="108"/>
                  </a:lnTo>
                  <a:lnTo>
                    <a:pt x="70" y="102"/>
                  </a:lnTo>
                  <a:lnTo>
                    <a:pt x="54" y="98"/>
                  </a:lnTo>
                  <a:lnTo>
                    <a:pt x="24" y="94"/>
                  </a:lnTo>
                  <a:lnTo>
                    <a:pt x="14" y="98"/>
                  </a:lnTo>
                  <a:lnTo>
                    <a:pt x="6" y="96"/>
                  </a:lnTo>
                  <a:lnTo>
                    <a:pt x="4" y="98"/>
                  </a:lnTo>
                  <a:lnTo>
                    <a:pt x="0" y="120"/>
                  </a:lnTo>
                  <a:lnTo>
                    <a:pt x="2" y="138"/>
                  </a:lnTo>
                  <a:lnTo>
                    <a:pt x="54" y="158"/>
                  </a:lnTo>
                  <a:lnTo>
                    <a:pt x="52" y="162"/>
                  </a:lnTo>
                  <a:lnTo>
                    <a:pt x="80" y="174"/>
                  </a:lnTo>
                  <a:lnTo>
                    <a:pt x="94" y="160"/>
                  </a:lnTo>
                  <a:lnTo>
                    <a:pt x="120" y="158"/>
                  </a:lnTo>
                  <a:lnTo>
                    <a:pt x="158" y="156"/>
                  </a:lnTo>
                  <a:lnTo>
                    <a:pt x="154" y="168"/>
                  </a:lnTo>
                  <a:lnTo>
                    <a:pt x="158" y="174"/>
                  </a:lnTo>
                  <a:lnTo>
                    <a:pt x="160" y="174"/>
                  </a:lnTo>
                  <a:lnTo>
                    <a:pt x="160" y="182"/>
                  </a:lnTo>
                  <a:lnTo>
                    <a:pt x="166" y="184"/>
                  </a:lnTo>
                  <a:lnTo>
                    <a:pt x="166" y="190"/>
                  </a:lnTo>
                  <a:lnTo>
                    <a:pt x="202" y="202"/>
                  </a:lnTo>
                  <a:lnTo>
                    <a:pt x="246" y="214"/>
                  </a:lnTo>
                  <a:lnTo>
                    <a:pt x="288" y="228"/>
                  </a:lnTo>
                  <a:lnTo>
                    <a:pt x="322" y="210"/>
                  </a:lnTo>
                  <a:lnTo>
                    <a:pt x="324" y="214"/>
                  </a:lnTo>
                  <a:lnTo>
                    <a:pt x="352" y="212"/>
                  </a:lnTo>
                  <a:lnTo>
                    <a:pt x="358" y="214"/>
                  </a:lnTo>
                  <a:lnTo>
                    <a:pt x="366" y="208"/>
                  </a:lnTo>
                  <a:lnTo>
                    <a:pt x="388" y="212"/>
                  </a:lnTo>
                  <a:lnTo>
                    <a:pt x="396" y="194"/>
                  </a:lnTo>
                  <a:lnTo>
                    <a:pt x="400" y="188"/>
                  </a:lnTo>
                  <a:lnTo>
                    <a:pt x="404" y="188"/>
                  </a:lnTo>
                  <a:lnTo>
                    <a:pt x="416" y="184"/>
                  </a:lnTo>
                  <a:lnTo>
                    <a:pt x="418" y="172"/>
                  </a:lnTo>
                  <a:lnTo>
                    <a:pt x="430" y="142"/>
                  </a:lnTo>
                  <a:lnTo>
                    <a:pt x="450" y="124"/>
                  </a:lnTo>
                  <a:lnTo>
                    <a:pt x="462" y="96"/>
                  </a:lnTo>
                  <a:lnTo>
                    <a:pt x="458" y="84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17" name="Freeform 273"/>
            <p:cNvSpPr>
              <a:spLocks/>
            </p:cNvSpPr>
            <p:nvPr/>
          </p:nvSpPr>
          <p:spPr bwMode="auto">
            <a:xfrm>
              <a:off x="4294939" y="4695635"/>
              <a:ext cx="939800" cy="657225"/>
            </a:xfrm>
            <a:custGeom>
              <a:avLst/>
              <a:gdLst>
                <a:gd name="T0" fmla="*/ 1255037692 w 592"/>
                <a:gd name="T1" fmla="*/ 599797209 h 414"/>
                <a:gd name="T2" fmla="*/ 1244957071 w 592"/>
                <a:gd name="T3" fmla="*/ 564515032 h 414"/>
                <a:gd name="T4" fmla="*/ 1224795829 w 592"/>
                <a:gd name="T5" fmla="*/ 458668501 h 414"/>
                <a:gd name="T6" fmla="*/ 1219755519 w 592"/>
                <a:gd name="T7" fmla="*/ 433466946 h 414"/>
                <a:gd name="T8" fmla="*/ 1234876450 w 592"/>
                <a:gd name="T9" fmla="*/ 342741248 h 414"/>
                <a:gd name="T10" fmla="*/ 1154231483 w 592"/>
                <a:gd name="T11" fmla="*/ 226814095 h 414"/>
                <a:gd name="T12" fmla="*/ 1063505896 w 592"/>
                <a:gd name="T13" fmla="*/ 115927203 h 414"/>
                <a:gd name="T14" fmla="*/ 952619067 w 592"/>
                <a:gd name="T15" fmla="*/ 0 h 414"/>
                <a:gd name="T16" fmla="*/ 907256273 w 592"/>
                <a:gd name="T17" fmla="*/ 20161250 h 414"/>
                <a:gd name="T18" fmla="*/ 846772548 w 592"/>
                <a:gd name="T19" fmla="*/ 75604690 h 414"/>
                <a:gd name="T20" fmla="*/ 589716518 w 592"/>
                <a:gd name="T21" fmla="*/ 100806245 h 414"/>
                <a:gd name="T22" fmla="*/ 398184623 w 592"/>
                <a:gd name="T23" fmla="*/ 105846581 h 414"/>
                <a:gd name="T24" fmla="*/ 337700897 w 592"/>
                <a:gd name="T25" fmla="*/ 141128758 h 414"/>
                <a:gd name="T26" fmla="*/ 241934999 w 592"/>
                <a:gd name="T27" fmla="*/ 272176894 h 414"/>
                <a:gd name="T28" fmla="*/ 95765923 w 592"/>
                <a:gd name="T29" fmla="*/ 488910367 h 414"/>
                <a:gd name="T30" fmla="*/ 35282185 w 592"/>
                <a:gd name="T31" fmla="*/ 509071611 h 414"/>
                <a:gd name="T32" fmla="*/ 70564371 w 592"/>
                <a:gd name="T33" fmla="*/ 614918142 h 414"/>
                <a:gd name="T34" fmla="*/ 176410914 w 592"/>
                <a:gd name="T35" fmla="*/ 725804984 h 414"/>
                <a:gd name="T36" fmla="*/ 176410914 w 592"/>
                <a:gd name="T37" fmla="*/ 811490272 h 414"/>
                <a:gd name="T38" fmla="*/ 241934999 w 592"/>
                <a:gd name="T39" fmla="*/ 846772647 h 414"/>
                <a:gd name="T40" fmla="*/ 287297793 w 592"/>
                <a:gd name="T41" fmla="*/ 866933891 h 414"/>
                <a:gd name="T42" fmla="*/ 362902450 w 592"/>
                <a:gd name="T43" fmla="*/ 831651516 h 414"/>
                <a:gd name="T44" fmla="*/ 378023381 w 592"/>
                <a:gd name="T45" fmla="*/ 866933891 h 414"/>
                <a:gd name="T46" fmla="*/ 393144312 w 592"/>
                <a:gd name="T47" fmla="*/ 937498245 h 414"/>
                <a:gd name="T48" fmla="*/ 529232793 w 592"/>
                <a:gd name="T49" fmla="*/ 1018143222 h 414"/>
                <a:gd name="T50" fmla="*/ 685482416 w 592"/>
                <a:gd name="T51" fmla="*/ 1033264155 h 414"/>
                <a:gd name="T52" fmla="*/ 866933789 w 592"/>
                <a:gd name="T53" fmla="*/ 1043344777 h 414"/>
                <a:gd name="T54" fmla="*/ 1033264033 w 592"/>
                <a:gd name="T55" fmla="*/ 937498245 h 414"/>
                <a:gd name="T56" fmla="*/ 1209674898 w 592"/>
                <a:gd name="T57" fmla="*/ 947578867 h 414"/>
                <a:gd name="T58" fmla="*/ 1355843900 w 592"/>
                <a:gd name="T59" fmla="*/ 972780423 h 414"/>
                <a:gd name="T60" fmla="*/ 1360884211 w 592"/>
                <a:gd name="T61" fmla="*/ 836692025 h 414"/>
                <a:gd name="T62" fmla="*/ 1411287315 w 592"/>
                <a:gd name="T63" fmla="*/ 740925917 h 414"/>
                <a:gd name="T64" fmla="*/ 1491932282 w 592"/>
                <a:gd name="T65" fmla="*/ 619958453 h 414"/>
                <a:gd name="T66" fmla="*/ 1345763279 w 592"/>
                <a:gd name="T67" fmla="*/ 640119697 h 41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592"/>
                <a:gd name="T103" fmla="*/ 0 h 414"/>
                <a:gd name="T104" fmla="*/ 592 w 592"/>
                <a:gd name="T105" fmla="*/ 414 h 41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592" h="414">
                  <a:moveTo>
                    <a:pt x="534" y="254"/>
                  </a:moveTo>
                  <a:lnTo>
                    <a:pt x="498" y="238"/>
                  </a:lnTo>
                  <a:lnTo>
                    <a:pt x="494" y="224"/>
                  </a:lnTo>
                  <a:lnTo>
                    <a:pt x="488" y="202"/>
                  </a:lnTo>
                  <a:lnTo>
                    <a:pt x="486" y="182"/>
                  </a:lnTo>
                  <a:lnTo>
                    <a:pt x="488" y="174"/>
                  </a:lnTo>
                  <a:lnTo>
                    <a:pt x="484" y="172"/>
                  </a:lnTo>
                  <a:lnTo>
                    <a:pt x="488" y="162"/>
                  </a:lnTo>
                  <a:lnTo>
                    <a:pt x="490" y="136"/>
                  </a:lnTo>
                  <a:lnTo>
                    <a:pt x="470" y="100"/>
                  </a:lnTo>
                  <a:lnTo>
                    <a:pt x="458" y="90"/>
                  </a:lnTo>
                  <a:lnTo>
                    <a:pt x="446" y="78"/>
                  </a:lnTo>
                  <a:lnTo>
                    <a:pt x="422" y="46"/>
                  </a:lnTo>
                  <a:lnTo>
                    <a:pt x="400" y="6"/>
                  </a:lnTo>
                  <a:lnTo>
                    <a:pt x="378" y="0"/>
                  </a:lnTo>
                  <a:lnTo>
                    <a:pt x="376" y="0"/>
                  </a:lnTo>
                  <a:lnTo>
                    <a:pt x="360" y="8"/>
                  </a:lnTo>
                  <a:lnTo>
                    <a:pt x="350" y="26"/>
                  </a:lnTo>
                  <a:lnTo>
                    <a:pt x="336" y="30"/>
                  </a:lnTo>
                  <a:lnTo>
                    <a:pt x="300" y="38"/>
                  </a:lnTo>
                  <a:lnTo>
                    <a:pt x="234" y="40"/>
                  </a:lnTo>
                  <a:lnTo>
                    <a:pt x="196" y="34"/>
                  </a:lnTo>
                  <a:lnTo>
                    <a:pt x="158" y="42"/>
                  </a:lnTo>
                  <a:lnTo>
                    <a:pt x="140" y="58"/>
                  </a:lnTo>
                  <a:lnTo>
                    <a:pt x="134" y="56"/>
                  </a:lnTo>
                  <a:lnTo>
                    <a:pt x="124" y="60"/>
                  </a:lnTo>
                  <a:lnTo>
                    <a:pt x="96" y="108"/>
                  </a:lnTo>
                  <a:lnTo>
                    <a:pt x="60" y="180"/>
                  </a:lnTo>
                  <a:lnTo>
                    <a:pt x="38" y="194"/>
                  </a:lnTo>
                  <a:lnTo>
                    <a:pt x="28" y="204"/>
                  </a:lnTo>
                  <a:lnTo>
                    <a:pt x="14" y="202"/>
                  </a:lnTo>
                  <a:lnTo>
                    <a:pt x="0" y="208"/>
                  </a:lnTo>
                  <a:lnTo>
                    <a:pt x="28" y="244"/>
                  </a:lnTo>
                  <a:lnTo>
                    <a:pt x="42" y="270"/>
                  </a:lnTo>
                  <a:lnTo>
                    <a:pt x="70" y="288"/>
                  </a:lnTo>
                  <a:lnTo>
                    <a:pt x="72" y="306"/>
                  </a:lnTo>
                  <a:lnTo>
                    <a:pt x="70" y="322"/>
                  </a:lnTo>
                  <a:lnTo>
                    <a:pt x="86" y="330"/>
                  </a:lnTo>
                  <a:lnTo>
                    <a:pt x="96" y="336"/>
                  </a:lnTo>
                  <a:lnTo>
                    <a:pt x="108" y="336"/>
                  </a:lnTo>
                  <a:lnTo>
                    <a:pt x="114" y="344"/>
                  </a:lnTo>
                  <a:lnTo>
                    <a:pt x="128" y="340"/>
                  </a:lnTo>
                  <a:lnTo>
                    <a:pt x="144" y="330"/>
                  </a:lnTo>
                  <a:lnTo>
                    <a:pt x="158" y="346"/>
                  </a:lnTo>
                  <a:lnTo>
                    <a:pt x="150" y="344"/>
                  </a:lnTo>
                  <a:lnTo>
                    <a:pt x="142" y="350"/>
                  </a:lnTo>
                  <a:lnTo>
                    <a:pt x="156" y="372"/>
                  </a:lnTo>
                  <a:lnTo>
                    <a:pt x="196" y="404"/>
                  </a:lnTo>
                  <a:lnTo>
                    <a:pt x="210" y="404"/>
                  </a:lnTo>
                  <a:lnTo>
                    <a:pt x="230" y="408"/>
                  </a:lnTo>
                  <a:lnTo>
                    <a:pt x="272" y="410"/>
                  </a:lnTo>
                  <a:lnTo>
                    <a:pt x="296" y="410"/>
                  </a:lnTo>
                  <a:lnTo>
                    <a:pt x="344" y="414"/>
                  </a:lnTo>
                  <a:lnTo>
                    <a:pt x="378" y="382"/>
                  </a:lnTo>
                  <a:lnTo>
                    <a:pt x="410" y="372"/>
                  </a:lnTo>
                  <a:lnTo>
                    <a:pt x="452" y="360"/>
                  </a:lnTo>
                  <a:lnTo>
                    <a:pt x="480" y="376"/>
                  </a:lnTo>
                  <a:lnTo>
                    <a:pt x="522" y="386"/>
                  </a:lnTo>
                  <a:lnTo>
                    <a:pt x="538" y="386"/>
                  </a:lnTo>
                  <a:lnTo>
                    <a:pt x="540" y="348"/>
                  </a:lnTo>
                  <a:lnTo>
                    <a:pt x="540" y="332"/>
                  </a:lnTo>
                  <a:lnTo>
                    <a:pt x="552" y="308"/>
                  </a:lnTo>
                  <a:lnTo>
                    <a:pt x="560" y="294"/>
                  </a:lnTo>
                  <a:lnTo>
                    <a:pt x="590" y="284"/>
                  </a:lnTo>
                  <a:lnTo>
                    <a:pt x="592" y="246"/>
                  </a:lnTo>
                  <a:lnTo>
                    <a:pt x="570" y="230"/>
                  </a:lnTo>
                  <a:lnTo>
                    <a:pt x="534" y="254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18" name="Freeform 275"/>
            <p:cNvSpPr>
              <a:spLocks/>
            </p:cNvSpPr>
            <p:nvPr/>
          </p:nvSpPr>
          <p:spPr bwMode="auto">
            <a:xfrm>
              <a:off x="4895014" y="4657535"/>
              <a:ext cx="365125" cy="415925"/>
            </a:xfrm>
            <a:custGeom>
              <a:avLst/>
              <a:gdLst>
                <a:gd name="T0" fmla="*/ 110886895 w 230"/>
                <a:gd name="T1" fmla="*/ 176410905 h 262"/>
                <a:gd name="T2" fmla="*/ 171370629 w 230"/>
                <a:gd name="T3" fmla="*/ 257055917 h 262"/>
                <a:gd name="T4" fmla="*/ 201612496 w 230"/>
                <a:gd name="T5" fmla="*/ 287297778 h 262"/>
                <a:gd name="T6" fmla="*/ 231854413 w 230"/>
                <a:gd name="T7" fmla="*/ 312499329 h 262"/>
                <a:gd name="T8" fmla="*/ 282257524 w 230"/>
                <a:gd name="T9" fmla="*/ 403224911 h 262"/>
                <a:gd name="T10" fmla="*/ 277217213 w 230"/>
                <a:gd name="T11" fmla="*/ 468749043 h 262"/>
                <a:gd name="T12" fmla="*/ 267136591 w 230"/>
                <a:gd name="T13" fmla="*/ 493950593 h 262"/>
                <a:gd name="T14" fmla="*/ 277217213 w 230"/>
                <a:gd name="T15" fmla="*/ 498990903 h 262"/>
                <a:gd name="T16" fmla="*/ 272176902 w 230"/>
                <a:gd name="T17" fmla="*/ 519152144 h 262"/>
                <a:gd name="T18" fmla="*/ 277217213 w 230"/>
                <a:gd name="T19" fmla="*/ 569555246 h 262"/>
                <a:gd name="T20" fmla="*/ 292338147 w 230"/>
                <a:gd name="T21" fmla="*/ 624998657 h 262"/>
                <a:gd name="T22" fmla="*/ 302418769 w 230"/>
                <a:gd name="T23" fmla="*/ 660280828 h 262"/>
                <a:gd name="T24" fmla="*/ 383063748 w 230"/>
                <a:gd name="T25" fmla="*/ 564514935 h 262"/>
                <a:gd name="T26" fmla="*/ 408265303 w 230"/>
                <a:gd name="T27" fmla="*/ 514111834 h 262"/>
                <a:gd name="T28" fmla="*/ 403224992 w 230"/>
                <a:gd name="T29" fmla="*/ 453628112 h 262"/>
                <a:gd name="T30" fmla="*/ 403224992 w 230"/>
                <a:gd name="T31" fmla="*/ 413305532 h 262"/>
                <a:gd name="T32" fmla="*/ 438507270 w 230"/>
                <a:gd name="T33" fmla="*/ 393144291 h 262"/>
                <a:gd name="T34" fmla="*/ 554434426 w 230"/>
                <a:gd name="T35" fmla="*/ 418345941 h 262"/>
                <a:gd name="T36" fmla="*/ 579635982 w 230"/>
                <a:gd name="T37" fmla="*/ 408265222 h 262"/>
                <a:gd name="T38" fmla="*/ 534273182 w 230"/>
                <a:gd name="T39" fmla="*/ 383063671 h 262"/>
                <a:gd name="T40" fmla="*/ 539313493 w 230"/>
                <a:gd name="T41" fmla="*/ 332660569 h 262"/>
                <a:gd name="T42" fmla="*/ 468749137 w 230"/>
                <a:gd name="T43" fmla="*/ 282257468 h 262"/>
                <a:gd name="T44" fmla="*/ 398184681 w 230"/>
                <a:gd name="T45" fmla="*/ 191531835 h 262"/>
                <a:gd name="T46" fmla="*/ 398184681 w 230"/>
                <a:gd name="T47" fmla="*/ 186491525 h 262"/>
                <a:gd name="T48" fmla="*/ 398184681 w 230"/>
                <a:gd name="T49" fmla="*/ 105846563 h 262"/>
                <a:gd name="T50" fmla="*/ 378023436 w 230"/>
                <a:gd name="T51" fmla="*/ 75604677 h 262"/>
                <a:gd name="T52" fmla="*/ 342741258 w 230"/>
                <a:gd name="T53" fmla="*/ 80644987 h 262"/>
                <a:gd name="T54" fmla="*/ 282257524 w 230"/>
                <a:gd name="T55" fmla="*/ 60483747 h 262"/>
                <a:gd name="T56" fmla="*/ 246975346 w 230"/>
                <a:gd name="T57" fmla="*/ 35282183 h 262"/>
                <a:gd name="T58" fmla="*/ 191531874 w 230"/>
                <a:gd name="T59" fmla="*/ 10080623 h 262"/>
                <a:gd name="T60" fmla="*/ 126007829 w 230"/>
                <a:gd name="T61" fmla="*/ 0 h 262"/>
                <a:gd name="T62" fmla="*/ 105846584 w 230"/>
                <a:gd name="T63" fmla="*/ 15120937 h 262"/>
                <a:gd name="T64" fmla="*/ 35282191 w 230"/>
                <a:gd name="T65" fmla="*/ 25201557 h 262"/>
                <a:gd name="T66" fmla="*/ 0 w 230"/>
                <a:gd name="T67" fmla="*/ 60483747 h 262"/>
                <a:gd name="T68" fmla="*/ 55443448 w 230"/>
                <a:gd name="T69" fmla="*/ 75604677 h 262"/>
                <a:gd name="T70" fmla="*/ 110886895 w 230"/>
                <a:gd name="T71" fmla="*/ 176410905 h 26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30"/>
                <a:gd name="T109" fmla="*/ 0 h 262"/>
                <a:gd name="T110" fmla="*/ 230 w 230"/>
                <a:gd name="T111" fmla="*/ 262 h 26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30" h="262">
                  <a:moveTo>
                    <a:pt x="44" y="70"/>
                  </a:moveTo>
                  <a:lnTo>
                    <a:pt x="68" y="102"/>
                  </a:lnTo>
                  <a:lnTo>
                    <a:pt x="80" y="114"/>
                  </a:lnTo>
                  <a:lnTo>
                    <a:pt x="92" y="124"/>
                  </a:lnTo>
                  <a:lnTo>
                    <a:pt x="112" y="160"/>
                  </a:lnTo>
                  <a:lnTo>
                    <a:pt x="110" y="186"/>
                  </a:lnTo>
                  <a:lnTo>
                    <a:pt x="106" y="196"/>
                  </a:lnTo>
                  <a:lnTo>
                    <a:pt x="110" y="198"/>
                  </a:lnTo>
                  <a:lnTo>
                    <a:pt x="108" y="206"/>
                  </a:lnTo>
                  <a:lnTo>
                    <a:pt x="110" y="226"/>
                  </a:lnTo>
                  <a:lnTo>
                    <a:pt x="116" y="248"/>
                  </a:lnTo>
                  <a:lnTo>
                    <a:pt x="120" y="262"/>
                  </a:lnTo>
                  <a:lnTo>
                    <a:pt x="152" y="224"/>
                  </a:lnTo>
                  <a:lnTo>
                    <a:pt x="162" y="204"/>
                  </a:lnTo>
                  <a:lnTo>
                    <a:pt x="160" y="180"/>
                  </a:lnTo>
                  <a:lnTo>
                    <a:pt x="160" y="164"/>
                  </a:lnTo>
                  <a:lnTo>
                    <a:pt x="174" y="156"/>
                  </a:lnTo>
                  <a:lnTo>
                    <a:pt x="220" y="166"/>
                  </a:lnTo>
                  <a:lnTo>
                    <a:pt x="230" y="162"/>
                  </a:lnTo>
                  <a:lnTo>
                    <a:pt x="212" y="152"/>
                  </a:lnTo>
                  <a:lnTo>
                    <a:pt x="214" y="132"/>
                  </a:lnTo>
                  <a:lnTo>
                    <a:pt x="186" y="112"/>
                  </a:lnTo>
                  <a:lnTo>
                    <a:pt x="158" y="76"/>
                  </a:lnTo>
                  <a:lnTo>
                    <a:pt x="158" y="74"/>
                  </a:lnTo>
                  <a:lnTo>
                    <a:pt x="158" y="42"/>
                  </a:lnTo>
                  <a:lnTo>
                    <a:pt x="150" y="30"/>
                  </a:lnTo>
                  <a:lnTo>
                    <a:pt x="136" y="32"/>
                  </a:lnTo>
                  <a:lnTo>
                    <a:pt x="112" y="24"/>
                  </a:lnTo>
                  <a:lnTo>
                    <a:pt x="98" y="14"/>
                  </a:lnTo>
                  <a:lnTo>
                    <a:pt x="76" y="4"/>
                  </a:lnTo>
                  <a:lnTo>
                    <a:pt x="50" y="0"/>
                  </a:lnTo>
                  <a:lnTo>
                    <a:pt x="42" y="6"/>
                  </a:lnTo>
                  <a:lnTo>
                    <a:pt x="14" y="10"/>
                  </a:lnTo>
                  <a:lnTo>
                    <a:pt x="0" y="24"/>
                  </a:lnTo>
                  <a:lnTo>
                    <a:pt x="22" y="30"/>
                  </a:lnTo>
                  <a:lnTo>
                    <a:pt x="44" y="7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19" name="Freeform 300"/>
            <p:cNvSpPr>
              <a:spLocks/>
            </p:cNvSpPr>
            <p:nvPr/>
          </p:nvSpPr>
          <p:spPr bwMode="auto">
            <a:xfrm>
              <a:off x="1972427" y="4135248"/>
              <a:ext cx="1209675" cy="1468437"/>
            </a:xfrm>
            <a:custGeom>
              <a:avLst/>
              <a:gdLst>
                <a:gd name="T0" fmla="*/ 1196975 w 1209675"/>
                <a:gd name="T1" fmla="*/ 1303337 h 1468437"/>
                <a:gd name="T2" fmla="*/ 1120775 w 1209675"/>
                <a:gd name="T3" fmla="*/ 1452562 h 1468437"/>
                <a:gd name="T4" fmla="*/ 1111250 w 1209675"/>
                <a:gd name="T5" fmla="*/ 1306512 h 1468437"/>
                <a:gd name="T6" fmla="*/ 708025 w 1209675"/>
                <a:gd name="T7" fmla="*/ 0 h 1468437"/>
                <a:gd name="T8" fmla="*/ 800100 w 1209675"/>
                <a:gd name="T9" fmla="*/ 53975 h 1468437"/>
                <a:gd name="T10" fmla="*/ 869950 w 1209675"/>
                <a:gd name="T11" fmla="*/ 187325 h 1468437"/>
                <a:gd name="T12" fmla="*/ 962025 w 1209675"/>
                <a:gd name="T13" fmla="*/ 255588 h 1468437"/>
                <a:gd name="T14" fmla="*/ 1050925 w 1209675"/>
                <a:gd name="T15" fmla="*/ 300038 h 1468437"/>
                <a:gd name="T16" fmla="*/ 1209675 w 1209675"/>
                <a:gd name="T17" fmla="*/ 398462 h 1468437"/>
                <a:gd name="T18" fmla="*/ 1114425 w 1209675"/>
                <a:gd name="T19" fmla="*/ 554037 h 1468437"/>
                <a:gd name="T20" fmla="*/ 1054100 w 1209675"/>
                <a:gd name="T21" fmla="*/ 592137 h 1468437"/>
                <a:gd name="T22" fmla="*/ 977900 w 1209675"/>
                <a:gd name="T23" fmla="*/ 681037 h 1468437"/>
                <a:gd name="T24" fmla="*/ 927100 w 1209675"/>
                <a:gd name="T25" fmla="*/ 754062 h 1468437"/>
                <a:gd name="T26" fmla="*/ 1025525 w 1209675"/>
                <a:gd name="T27" fmla="*/ 801687 h 1468437"/>
                <a:gd name="T28" fmla="*/ 1019175 w 1209675"/>
                <a:gd name="T29" fmla="*/ 893762 h 1468437"/>
                <a:gd name="T30" fmla="*/ 974725 w 1209675"/>
                <a:gd name="T31" fmla="*/ 931862 h 1468437"/>
                <a:gd name="T32" fmla="*/ 977900 w 1209675"/>
                <a:gd name="T33" fmla="*/ 989012 h 1468437"/>
                <a:gd name="T34" fmla="*/ 1019175 w 1209675"/>
                <a:gd name="T35" fmla="*/ 1062037 h 1468437"/>
                <a:gd name="T36" fmla="*/ 984250 w 1209675"/>
                <a:gd name="T37" fmla="*/ 1119187 h 1468437"/>
                <a:gd name="T38" fmla="*/ 793750 w 1209675"/>
                <a:gd name="T39" fmla="*/ 1144587 h 1468437"/>
                <a:gd name="T40" fmla="*/ 733425 w 1209675"/>
                <a:gd name="T41" fmla="*/ 1084262 h 1468437"/>
                <a:gd name="T42" fmla="*/ 650875 w 1209675"/>
                <a:gd name="T43" fmla="*/ 1071562 h 1468437"/>
                <a:gd name="T44" fmla="*/ 549275 w 1209675"/>
                <a:gd name="T45" fmla="*/ 1208087 h 1468437"/>
                <a:gd name="T46" fmla="*/ 403225 w 1209675"/>
                <a:gd name="T47" fmla="*/ 1160462 h 1468437"/>
                <a:gd name="T48" fmla="*/ 406400 w 1209675"/>
                <a:gd name="T49" fmla="*/ 1144587 h 1468437"/>
                <a:gd name="T50" fmla="*/ 377825 w 1209675"/>
                <a:gd name="T51" fmla="*/ 1141412 h 1468437"/>
                <a:gd name="T52" fmla="*/ 304800 w 1209675"/>
                <a:gd name="T53" fmla="*/ 1096962 h 1468437"/>
                <a:gd name="T54" fmla="*/ 269875 w 1209675"/>
                <a:gd name="T55" fmla="*/ 1096962 h 1468437"/>
                <a:gd name="T56" fmla="*/ 219075 w 1209675"/>
                <a:gd name="T57" fmla="*/ 1077912 h 1468437"/>
                <a:gd name="T58" fmla="*/ 146050 w 1209675"/>
                <a:gd name="T59" fmla="*/ 868362 h 1468437"/>
                <a:gd name="T60" fmla="*/ 247650 w 1209675"/>
                <a:gd name="T61" fmla="*/ 646112 h 1468437"/>
                <a:gd name="T62" fmla="*/ 190500 w 1209675"/>
                <a:gd name="T63" fmla="*/ 484187 h 1468437"/>
                <a:gd name="T64" fmla="*/ 212725 w 1209675"/>
                <a:gd name="T65" fmla="*/ 398462 h 1468437"/>
                <a:gd name="T66" fmla="*/ 88900 w 1209675"/>
                <a:gd name="T67" fmla="*/ 290513 h 1468437"/>
                <a:gd name="T68" fmla="*/ 19050 w 1209675"/>
                <a:gd name="T69" fmla="*/ 155575 h 1468437"/>
                <a:gd name="T70" fmla="*/ 120650 w 1209675"/>
                <a:gd name="T71" fmla="*/ 161925 h 1468437"/>
                <a:gd name="T72" fmla="*/ 187325 w 1209675"/>
                <a:gd name="T73" fmla="*/ 171450 h 1468437"/>
                <a:gd name="T74" fmla="*/ 244475 w 1209675"/>
                <a:gd name="T75" fmla="*/ 204788 h 1468437"/>
                <a:gd name="T76" fmla="*/ 323850 w 1209675"/>
                <a:gd name="T77" fmla="*/ 184150 h 1468437"/>
                <a:gd name="T78" fmla="*/ 327025 w 1209675"/>
                <a:gd name="T79" fmla="*/ 88900 h 1468437"/>
                <a:gd name="T80" fmla="*/ 377825 w 1209675"/>
                <a:gd name="T81" fmla="*/ 98425 h 1468437"/>
                <a:gd name="T82" fmla="*/ 454025 w 1209675"/>
                <a:gd name="T83" fmla="*/ 184150 h 1468437"/>
                <a:gd name="T84" fmla="*/ 514350 w 1209675"/>
                <a:gd name="T85" fmla="*/ 133350 h 1468437"/>
                <a:gd name="T86" fmla="*/ 650875 w 1209675"/>
                <a:gd name="T87" fmla="*/ 88900 h 146843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209675"/>
                <a:gd name="T133" fmla="*/ 0 h 1468437"/>
                <a:gd name="T134" fmla="*/ 1209675 w 1209675"/>
                <a:gd name="T135" fmla="*/ 1468437 h 146843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209675" h="1468437">
                  <a:moveTo>
                    <a:pt x="1165225" y="1284287"/>
                  </a:moveTo>
                  <a:lnTo>
                    <a:pt x="1187450" y="1284287"/>
                  </a:lnTo>
                  <a:lnTo>
                    <a:pt x="1196975" y="1303337"/>
                  </a:lnTo>
                  <a:lnTo>
                    <a:pt x="1181100" y="1414462"/>
                  </a:lnTo>
                  <a:lnTo>
                    <a:pt x="1152525" y="1468437"/>
                  </a:lnTo>
                  <a:lnTo>
                    <a:pt x="1120775" y="1452562"/>
                  </a:lnTo>
                  <a:lnTo>
                    <a:pt x="1098550" y="1392237"/>
                  </a:lnTo>
                  <a:lnTo>
                    <a:pt x="1098550" y="1344612"/>
                  </a:lnTo>
                  <a:lnTo>
                    <a:pt x="1111250" y="1306512"/>
                  </a:lnTo>
                  <a:lnTo>
                    <a:pt x="1152525" y="1293812"/>
                  </a:lnTo>
                  <a:lnTo>
                    <a:pt x="1165225" y="1284287"/>
                  </a:lnTo>
                  <a:close/>
                  <a:moveTo>
                    <a:pt x="708025" y="0"/>
                  </a:moveTo>
                  <a:lnTo>
                    <a:pt x="762000" y="0"/>
                  </a:lnTo>
                  <a:lnTo>
                    <a:pt x="781050" y="63500"/>
                  </a:lnTo>
                  <a:lnTo>
                    <a:pt x="800100" y="53975"/>
                  </a:lnTo>
                  <a:lnTo>
                    <a:pt x="844550" y="130175"/>
                  </a:lnTo>
                  <a:lnTo>
                    <a:pt x="876300" y="142875"/>
                  </a:lnTo>
                  <a:lnTo>
                    <a:pt x="869950" y="187325"/>
                  </a:lnTo>
                  <a:lnTo>
                    <a:pt x="917575" y="190500"/>
                  </a:lnTo>
                  <a:lnTo>
                    <a:pt x="927100" y="223838"/>
                  </a:lnTo>
                  <a:lnTo>
                    <a:pt x="962025" y="255588"/>
                  </a:lnTo>
                  <a:lnTo>
                    <a:pt x="993775" y="277813"/>
                  </a:lnTo>
                  <a:lnTo>
                    <a:pt x="1003300" y="277813"/>
                  </a:lnTo>
                  <a:lnTo>
                    <a:pt x="1050925" y="300038"/>
                  </a:lnTo>
                  <a:lnTo>
                    <a:pt x="1085850" y="341313"/>
                  </a:lnTo>
                  <a:lnTo>
                    <a:pt x="1120775" y="360363"/>
                  </a:lnTo>
                  <a:lnTo>
                    <a:pt x="1209675" y="398462"/>
                  </a:lnTo>
                  <a:lnTo>
                    <a:pt x="1174750" y="433387"/>
                  </a:lnTo>
                  <a:lnTo>
                    <a:pt x="1130300" y="506412"/>
                  </a:lnTo>
                  <a:lnTo>
                    <a:pt x="1114425" y="554037"/>
                  </a:lnTo>
                  <a:lnTo>
                    <a:pt x="1117600" y="582612"/>
                  </a:lnTo>
                  <a:lnTo>
                    <a:pt x="1095375" y="598487"/>
                  </a:lnTo>
                  <a:lnTo>
                    <a:pt x="1054100" y="592137"/>
                  </a:lnTo>
                  <a:lnTo>
                    <a:pt x="1057275" y="611187"/>
                  </a:lnTo>
                  <a:lnTo>
                    <a:pt x="1022350" y="636587"/>
                  </a:lnTo>
                  <a:lnTo>
                    <a:pt x="977900" y="681037"/>
                  </a:lnTo>
                  <a:lnTo>
                    <a:pt x="949325" y="719137"/>
                  </a:lnTo>
                  <a:lnTo>
                    <a:pt x="930275" y="750887"/>
                  </a:lnTo>
                  <a:lnTo>
                    <a:pt x="927100" y="754062"/>
                  </a:lnTo>
                  <a:lnTo>
                    <a:pt x="955675" y="731837"/>
                  </a:lnTo>
                  <a:lnTo>
                    <a:pt x="1016000" y="728662"/>
                  </a:lnTo>
                  <a:lnTo>
                    <a:pt x="1025525" y="801687"/>
                  </a:lnTo>
                  <a:lnTo>
                    <a:pt x="1000125" y="827087"/>
                  </a:lnTo>
                  <a:lnTo>
                    <a:pt x="1022350" y="868362"/>
                  </a:lnTo>
                  <a:lnTo>
                    <a:pt x="1019175" y="893762"/>
                  </a:lnTo>
                  <a:lnTo>
                    <a:pt x="1006475" y="903287"/>
                  </a:lnTo>
                  <a:lnTo>
                    <a:pt x="965200" y="909637"/>
                  </a:lnTo>
                  <a:lnTo>
                    <a:pt x="974725" y="931862"/>
                  </a:lnTo>
                  <a:lnTo>
                    <a:pt x="987425" y="947737"/>
                  </a:lnTo>
                  <a:lnTo>
                    <a:pt x="1000125" y="957262"/>
                  </a:lnTo>
                  <a:lnTo>
                    <a:pt x="977900" y="989012"/>
                  </a:lnTo>
                  <a:lnTo>
                    <a:pt x="971550" y="1014412"/>
                  </a:lnTo>
                  <a:lnTo>
                    <a:pt x="987425" y="1039812"/>
                  </a:lnTo>
                  <a:lnTo>
                    <a:pt x="1019175" y="1062037"/>
                  </a:lnTo>
                  <a:lnTo>
                    <a:pt x="1022350" y="1109662"/>
                  </a:lnTo>
                  <a:lnTo>
                    <a:pt x="1012825" y="1112837"/>
                  </a:lnTo>
                  <a:lnTo>
                    <a:pt x="984250" y="1119187"/>
                  </a:lnTo>
                  <a:lnTo>
                    <a:pt x="939800" y="1147762"/>
                  </a:lnTo>
                  <a:lnTo>
                    <a:pt x="873125" y="1179512"/>
                  </a:lnTo>
                  <a:lnTo>
                    <a:pt x="793750" y="1144587"/>
                  </a:lnTo>
                  <a:lnTo>
                    <a:pt x="768350" y="1116012"/>
                  </a:lnTo>
                  <a:lnTo>
                    <a:pt x="749300" y="1116012"/>
                  </a:lnTo>
                  <a:lnTo>
                    <a:pt x="733425" y="1084262"/>
                  </a:lnTo>
                  <a:lnTo>
                    <a:pt x="698500" y="1093787"/>
                  </a:lnTo>
                  <a:lnTo>
                    <a:pt x="657225" y="1068387"/>
                  </a:lnTo>
                  <a:lnTo>
                    <a:pt x="650875" y="1071562"/>
                  </a:lnTo>
                  <a:lnTo>
                    <a:pt x="612775" y="1093787"/>
                  </a:lnTo>
                  <a:lnTo>
                    <a:pt x="574675" y="1103312"/>
                  </a:lnTo>
                  <a:lnTo>
                    <a:pt x="549275" y="1208087"/>
                  </a:lnTo>
                  <a:lnTo>
                    <a:pt x="514350" y="1195387"/>
                  </a:lnTo>
                  <a:lnTo>
                    <a:pt x="479425" y="1195387"/>
                  </a:lnTo>
                  <a:lnTo>
                    <a:pt x="403225" y="1160462"/>
                  </a:lnTo>
                  <a:lnTo>
                    <a:pt x="406400" y="1154112"/>
                  </a:lnTo>
                  <a:lnTo>
                    <a:pt x="409575" y="1144587"/>
                  </a:lnTo>
                  <a:lnTo>
                    <a:pt x="406400" y="1144587"/>
                  </a:lnTo>
                  <a:lnTo>
                    <a:pt x="390525" y="1135062"/>
                  </a:lnTo>
                  <a:lnTo>
                    <a:pt x="384175" y="1135062"/>
                  </a:lnTo>
                  <a:lnTo>
                    <a:pt x="377825" y="1141412"/>
                  </a:lnTo>
                  <a:lnTo>
                    <a:pt x="339725" y="1100137"/>
                  </a:lnTo>
                  <a:lnTo>
                    <a:pt x="314325" y="1084262"/>
                  </a:lnTo>
                  <a:lnTo>
                    <a:pt x="304800" y="1096962"/>
                  </a:lnTo>
                  <a:lnTo>
                    <a:pt x="301625" y="1106487"/>
                  </a:lnTo>
                  <a:lnTo>
                    <a:pt x="282575" y="1100137"/>
                  </a:lnTo>
                  <a:lnTo>
                    <a:pt x="269875" y="1096962"/>
                  </a:lnTo>
                  <a:lnTo>
                    <a:pt x="263525" y="1096962"/>
                  </a:lnTo>
                  <a:lnTo>
                    <a:pt x="260350" y="1090612"/>
                  </a:lnTo>
                  <a:lnTo>
                    <a:pt x="219075" y="1077912"/>
                  </a:lnTo>
                  <a:lnTo>
                    <a:pt x="168275" y="1046162"/>
                  </a:lnTo>
                  <a:lnTo>
                    <a:pt x="79375" y="941387"/>
                  </a:lnTo>
                  <a:lnTo>
                    <a:pt x="146050" y="868362"/>
                  </a:lnTo>
                  <a:lnTo>
                    <a:pt x="203200" y="722312"/>
                  </a:lnTo>
                  <a:lnTo>
                    <a:pt x="222250" y="639762"/>
                  </a:lnTo>
                  <a:lnTo>
                    <a:pt x="247650" y="646112"/>
                  </a:lnTo>
                  <a:lnTo>
                    <a:pt x="254000" y="573087"/>
                  </a:lnTo>
                  <a:lnTo>
                    <a:pt x="219075" y="534987"/>
                  </a:lnTo>
                  <a:lnTo>
                    <a:pt x="190500" y="484187"/>
                  </a:lnTo>
                  <a:lnTo>
                    <a:pt x="203200" y="439737"/>
                  </a:lnTo>
                  <a:lnTo>
                    <a:pt x="234950" y="420687"/>
                  </a:lnTo>
                  <a:lnTo>
                    <a:pt x="212725" y="398462"/>
                  </a:lnTo>
                  <a:lnTo>
                    <a:pt x="177800" y="398462"/>
                  </a:lnTo>
                  <a:lnTo>
                    <a:pt x="152400" y="357188"/>
                  </a:lnTo>
                  <a:lnTo>
                    <a:pt x="88900" y="290513"/>
                  </a:lnTo>
                  <a:lnTo>
                    <a:pt x="0" y="217488"/>
                  </a:lnTo>
                  <a:lnTo>
                    <a:pt x="19050" y="180975"/>
                  </a:lnTo>
                  <a:lnTo>
                    <a:pt x="19050" y="155575"/>
                  </a:lnTo>
                  <a:lnTo>
                    <a:pt x="44450" y="146050"/>
                  </a:lnTo>
                  <a:lnTo>
                    <a:pt x="85725" y="152400"/>
                  </a:lnTo>
                  <a:lnTo>
                    <a:pt x="120650" y="161925"/>
                  </a:lnTo>
                  <a:lnTo>
                    <a:pt x="136525" y="158750"/>
                  </a:lnTo>
                  <a:lnTo>
                    <a:pt x="171450" y="155575"/>
                  </a:lnTo>
                  <a:lnTo>
                    <a:pt x="187325" y="171450"/>
                  </a:lnTo>
                  <a:lnTo>
                    <a:pt x="203200" y="211138"/>
                  </a:lnTo>
                  <a:lnTo>
                    <a:pt x="231775" y="204788"/>
                  </a:lnTo>
                  <a:lnTo>
                    <a:pt x="244475" y="204788"/>
                  </a:lnTo>
                  <a:lnTo>
                    <a:pt x="327025" y="236538"/>
                  </a:lnTo>
                  <a:lnTo>
                    <a:pt x="314325" y="217488"/>
                  </a:lnTo>
                  <a:lnTo>
                    <a:pt x="323850" y="184150"/>
                  </a:lnTo>
                  <a:lnTo>
                    <a:pt x="327025" y="146050"/>
                  </a:lnTo>
                  <a:lnTo>
                    <a:pt x="320675" y="120650"/>
                  </a:lnTo>
                  <a:lnTo>
                    <a:pt x="327025" y="88900"/>
                  </a:lnTo>
                  <a:lnTo>
                    <a:pt x="320675" y="82550"/>
                  </a:lnTo>
                  <a:lnTo>
                    <a:pt x="346075" y="92075"/>
                  </a:lnTo>
                  <a:lnTo>
                    <a:pt x="377825" y="98425"/>
                  </a:lnTo>
                  <a:lnTo>
                    <a:pt x="371475" y="114300"/>
                  </a:lnTo>
                  <a:lnTo>
                    <a:pt x="371475" y="130175"/>
                  </a:lnTo>
                  <a:lnTo>
                    <a:pt x="454025" y="184150"/>
                  </a:lnTo>
                  <a:lnTo>
                    <a:pt x="527050" y="171450"/>
                  </a:lnTo>
                  <a:lnTo>
                    <a:pt x="492125" y="161925"/>
                  </a:lnTo>
                  <a:lnTo>
                    <a:pt x="514350" y="133350"/>
                  </a:lnTo>
                  <a:lnTo>
                    <a:pt x="565150" y="123825"/>
                  </a:lnTo>
                  <a:lnTo>
                    <a:pt x="609600" y="123825"/>
                  </a:lnTo>
                  <a:lnTo>
                    <a:pt x="650875" y="88900"/>
                  </a:lnTo>
                  <a:lnTo>
                    <a:pt x="669925" y="19050"/>
                  </a:lnTo>
                  <a:lnTo>
                    <a:pt x="708025" y="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20" name="Freeform 265"/>
            <p:cNvSpPr>
              <a:spLocks/>
            </p:cNvSpPr>
            <p:nvPr/>
          </p:nvSpPr>
          <p:spPr bwMode="auto">
            <a:xfrm>
              <a:off x="2937627" y="4848035"/>
              <a:ext cx="1171575" cy="1489075"/>
            </a:xfrm>
            <a:custGeom>
              <a:avLst/>
              <a:gdLst>
                <a:gd name="T0" fmla="*/ 631825 w 1171575"/>
                <a:gd name="T1" fmla="*/ 1295400 h 1489075"/>
                <a:gd name="T2" fmla="*/ 844550 w 1171575"/>
                <a:gd name="T3" fmla="*/ 1266825 h 1489075"/>
                <a:gd name="T4" fmla="*/ 774700 w 1171575"/>
                <a:gd name="T5" fmla="*/ 1393825 h 1489075"/>
                <a:gd name="T6" fmla="*/ 765175 w 1171575"/>
                <a:gd name="T7" fmla="*/ 1489075 h 1489075"/>
                <a:gd name="T8" fmla="*/ 622300 w 1171575"/>
                <a:gd name="T9" fmla="*/ 1409700 h 1489075"/>
                <a:gd name="T10" fmla="*/ 479425 w 1171575"/>
                <a:gd name="T11" fmla="*/ 1304925 h 1489075"/>
                <a:gd name="T12" fmla="*/ 184150 w 1171575"/>
                <a:gd name="T13" fmla="*/ 781050 h 1489075"/>
                <a:gd name="T14" fmla="*/ 206375 w 1171575"/>
                <a:gd name="T15" fmla="*/ 920750 h 1489075"/>
                <a:gd name="T16" fmla="*/ 168275 w 1171575"/>
                <a:gd name="T17" fmla="*/ 1082675 h 1489075"/>
                <a:gd name="T18" fmla="*/ 76200 w 1171575"/>
                <a:gd name="T19" fmla="*/ 974725 h 1489075"/>
                <a:gd name="T20" fmla="*/ 69850 w 1171575"/>
                <a:gd name="T21" fmla="*/ 806450 h 1489075"/>
                <a:gd name="T22" fmla="*/ 184150 w 1171575"/>
                <a:gd name="T23" fmla="*/ 781050 h 1489075"/>
                <a:gd name="T24" fmla="*/ 558800 w 1171575"/>
                <a:gd name="T25" fmla="*/ 444500 h 1489075"/>
                <a:gd name="T26" fmla="*/ 565150 w 1171575"/>
                <a:gd name="T27" fmla="*/ 450850 h 1489075"/>
                <a:gd name="T28" fmla="*/ 568325 w 1171575"/>
                <a:gd name="T29" fmla="*/ 444500 h 1489075"/>
                <a:gd name="T30" fmla="*/ 561975 w 1171575"/>
                <a:gd name="T31" fmla="*/ 438150 h 1489075"/>
                <a:gd name="T32" fmla="*/ 581025 w 1171575"/>
                <a:gd name="T33" fmla="*/ 28575 h 1489075"/>
                <a:gd name="T34" fmla="*/ 593725 w 1171575"/>
                <a:gd name="T35" fmla="*/ 44450 h 1489075"/>
                <a:gd name="T36" fmla="*/ 720725 w 1171575"/>
                <a:gd name="T37" fmla="*/ 92075 h 1489075"/>
                <a:gd name="T38" fmla="*/ 711200 w 1171575"/>
                <a:gd name="T39" fmla="*/ 196850 h 1489075"/>
                <a:gd name="T40" fmla="*/ 711200 w 1171575"/>
                <a:gd name="T41" fmla="*/ 209550 h 1489075"/>
                <a:gd name="T42" fmla="*/ 565150 w 1171575"/>
                <a:gd name="T43" fmla="*/ 228600 h 1489075"/>
                <a:gd name="T44" fmla="*/ 565150 w 1171575"/>
                <a:gd name="T45" fmla="*/ 269875 h 1489075"/>
                <a:gd name="T46" fmla="*/ 574675 w 1171575"/>
                <a:gd name="T47" fmla="*/ 320675 h 1489075"/>
                <a:gd name="T48" fmla="*/ 574675 w 1171575"/>
                <a:gd name="T49" fmla="*/ 425450 h 1489075"/>
                <a:gd name="T50" fmla="*/ 669925 w 1171575"/>
                <a:gd name="T51" fmla="*/ 520700 h 1489075"/>
                <a:gd name="T52" fmla="*/ 828675 w 1171575"/>
                <a:gd name="T53" fmla="*/ 752475 h 1489075"/>
                <a:gd name="T54" fmla="*/ 898525 w 1171575"/>
                <a:gd name="T55" fmla="*/ 796925 h 1489075"/>
                <a:gd name="T56" fmla="*/ 1054100 w 1171575"/>
                <a:gd name="T57" fmla="*/ 908050 h 1489075"/>
                <a:gd name="T58" fmla="*/ 1171575 w 1171575"/>
                <a:gd name="T59" fmla="*/ 1022350 h 1489075"/>
                <a:gd name="T60" fmla="*/ 1114425 w 1171575"/>
                <a:gd name="T61" fmla="*/ 1019175 h 1489075"/>
                <a:gd name="T62" fmla="*/ 984250 w 1171575"/>
                <a:gd name="T63" fmla="*/ 987425 h 1489075"/>
                <a:gd name="T64" fmla="*/ 1016000 w 1171575"/>
                <a:gd name="T65" fmla="*/ 1127125 h 1489075"/>
                <a:gd name="T66" fmla="*/ 949325 w 1171575"/>
                <a:gd name="T67" fmla="*/ 1231900 h 1489075"/>
                <a:gd name="T68" fmla="*/ 841375 w 1171575"/>
                <a:gd name="T69" fmla="*/ 1308100 h 1489075"/>
                <a:gd name="T70" fmla="*/ 892175 w 1171575"/>
                <a:gd name="T71" fmla="*/ 1206500 h 1489075"/>
                <a:gd name="T72" fmla="*/ 869950 w 1171575"/>
                <a:gd name="T73" fmla="*/ 1041400 h 1489075"/>
                <a:gd name="T74" fmla="*/ 781050 w 1171575"/>
                <a:gd name="T75" fmla="*/ 946150 h 1489075"/>
                <a:gd name="T76" fmla="*/ 635000 w 1171575"/>
                <a:gd name="T77" fmla="*/ 831850 h 1489075"/>
                <a:gd name="T78" fmla="*/ 466725 w 1171575"/>
                <a:gd name="T79" fmla="*/ 695325 h 1489075"/>
                <a:gd name="T80" fmla="*/ 361950 w 1171575"/>
                <a:gd name="T81" fmla="*/ 542925 h 1489075"/>
                <a:gd name="T82" fmla="*/ 304800 w 1171575"/>
                <a:gd name="T83" fmla="*/ 390525 h 1489075"/>
                <a:gd name="T84" fmla="*/ 155575 w 1171575"/>
                <a:gd name="T85" fmla="*/ 349250 h 1489075"/>
                <a:gd name="T86" fmla="*/ 53975 w 1171575"/>
                <a:gd name="T87" fmla="*/ 349250 h 1489075"/>
                <a:gd name="T88" fmla="*/ 12700 w 1171575"/>
                <a:gd name="T89" fmla="*/ 276225 h 1489075"/>
                <a:gd name="T90" fmla="*/ 9525 w 1171575"/>
                <a:gd name="T91" fmla="*/ 219075 h 1489075"/>
                <a:gd name="T92" fmla="*/ 53975 w 1171575"/>
                <a:gd name="T93" fmla="*/ 180975 h 1489075"/>
                <a:gd name="T94" fmla="*/ 60325 w 1171575"/>
                <a:gd name="T95" fmla="*/ 88900 h 1489075"/>
                <a:gd name="T96" fmla="*/ 139700 w 1171575"/>
                <a:gd name="T97" fmla="*/ 104775 h 1489075"/>
                <a:gd name="T98" fmla="*/ 174625 w 1171575"/>
                <a:gd name="T99" fmla="*/ 76200 h 1489075"/>
                <a:gd name="T100" fmla="*/ 206375 w 1171575"/>
                <a:gd name="T101" fmla="*/ 73025 h 1489075"/>
                <a:gd name="T102" fmla="*/ 257175 w 1171575"/>
                <a:gd name="T103" fmla="*/ 104775 h 1489075"/>
                <a:gd name="T104" fmla="*/ 371475 w 1171575"/>
                <a:gd name="T105" fmla="*/ 85725 h 1489075"/>
                <a:gd name="T106" fmla="*/ 400050 w 1171575"/>
                <a:gd name="T107" fmla="*/ 53975 h 1489075"/>
                <a:gd name="T108" fmla="*/ 457200 w 1171575"/>
                <a:gd name="T109" fmla="*/ 28575 h 1489075"/>
                <a:gd name="T110" fmla="*/ 581025 w 1171575"/>
                <a:gd name="T111" fmla="*/ 0 h 148907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71575"/>
                <a:gd name="T169" fmla="*/ 0 h 1489075"/>
                <a:gd name="T170" fmla="*/ 1171575 w 1171575"/>
                <a:gd name="T171" fmla="*/ 1489075 h 148907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71575" h="1489075">
                  <a:moveTo>
                    <a:pt x="555625" y="1260475"/>
                  </a:moveTo>
                  <a:lnTo>
                    <a:pt x="587375" y="1270000"/>
                  </a:lnTo>
                  <a:lnTo>
                    <a:pt x="631825" y="1295400"/>
                  </a:lnTo>
                  <a:lnTo>
                    <a:pt x="701675" y="1292225"/>
                  </a:lnTo>
                  <a:lnTo>
                    <a:pt x="784225" y="1282700"/>
                  </a:lnTo>
                  <a:lnTo>
                    <a:pt x="844550" y="1266825"/>
                  </a:lnTo>
                  <a:lnTo>
                    <a:pt x="841375" y="1270000"/>
                  </a:lnTo>
                  <a:lnTo>
                    <a:pt x="784225" y="1349375"/>
                  </a:lnTo>
                  <a:lnTo>
                    <a:pt x="774700" y="1393825"/>
                  </a:lnTo>
                  <a:lnTo>
                    <a:pt x="784225" y="1419225"/>
                  </a:lnTo>
                  <a:lnTo>
                    <a:pt x="787400" y="1447800"/>
                  </a:lnTo>
                  <a:lnTo>
                    <a:pt x="765175" y="1489075"/>
                  </a:lnTo>
                  <a:lnTo>
                    <a:pt x="733425" y="1482725"/>
                  </a:lnTo>
                  <a:lnTo>
                    <a:pt x="679450" y="1450975"/>
                  </a:lnTo>
                  <a:lnTo>
                    <a:pt x="622300" y="1409700"/>
                  </a:lnTo>
                  <a:lnTo>
                    <a:pt x="561975" y="1371600"/>
                  </a:lnTo>
                  <a:lnTo>
                    <a:pt x="495300" y="1336675"/>
                  </a:lnTo>
                  <a:lnTo>
                    <a:pt x="479425" y="1304925"/>
                  </a:lnTo>
                  <a:lnTo>
                    <a:pt x="488950" y="1276350"/>
                  </a:lnTo>
                  <a:lnTo>
                    <a:pt x="555625" y="1260475"/>
                  </a:lnTo>
                  <a:close/>
                  <a:moveTo>
                    <a:pt x="184150" y="781050"/>
                  </a:moveTo>
                  <a:lnTo>
                    <a:pt x="215900" y="831850"/>
                  </a:lnTo>
                  <a:lnTo>
                    <a:pt x="231775" y="892175"/>
                  </a:lnTo>
                  <a:lnTo>
                    <a:pt x="206375" y="920750"/>
                  </a:lnTo>
                  <a:lnTo>
                    <a:pt x="209550" y="958850"/>
                  </a:lnTo>
                  <a:lnTo>
                    <a:pt x="203200" y="987425"/>
                  </a:lnTo>
                  <a:lnTo>
                    <a:pt x="168275" y="1082675"/>
                  </a:lnTo>
                  <a:lnTo>
                    <a:pt x="95250" y="1104900"/>
                  </a:lnTo>
                  <a:lnTo>
                    <a:pt x="60325" y="1069975"/>
                  </a:lnTo>
                  <a:lnTo>
                    <a:pt x="76200" y="974725"/>
                  </a:lnTo>
                  <a:lnTo>
                    <a:pt x="82550" y="904875"/>
                  </a:lnTo>
                  <a:lnTo>
                    <a:pt x="60325" y="854075"/>
                  </a:lnTo>
                  <a:lnTo>
                    <a:pt x="69850" y="806450"/>
                  </a:lnTo>
                  <a:lnTo>
                    <a:pt x="114300" y="822325"/>
                  </a:lnTo>
                  <a:lnTo>
                    <a:pt x="146050" y="803275"/>
                  </a:lnTo>
                  <a:lnTo>
                    <a:pt x="184150" y="781050"/>
                  </a:lnTo>
                  <a:close/>
                  <a:moveTo>
                    <a:pt x="561975" y="438150"/>
                  </a:moveTo>
                  <a:lnTo>
                    <a:pt x="558800" y="441325"/>
                  </a:lnTo>
                  <a:lnTo>
                    <a:pt x="558800" y="444500"/>
                  </a:lnTo>
                  <a:lnTo>
                    <a:pt x="558800" y="447675"/>
                  </a:lnTo>
                  <a:lnTo>
                    <a:pt x="561975" y="450850"/>
                  </a:lnTo>
                  <a:lnTo>
                    <a:pt x="565150" y="450850"/>
                  </a:lnTo>
                  <a:lnTo>
                    <a:pt x="565150" y="447675"/>
                  </a:lnTo>
                  <a:lnTo>
                    <a:pt x="568325" y="447675"/>
                  </a:lnTo>
                  <a:lnTo>
                    <a:pt x="568325" y="444500"/>
                  </a:lnTo>
                  <a:lnTo>
                    <a:pt x="568325" y="438150"/>
                  </a:lnTo>
                  <a:lnTo>
                    <a:pt x="565150" y="438150"/>
                  </a:lnTo>
                  <a:lnTo>
                    <a:pt x="561975" y="438150"/>
                  </a:lnTo>
                  <a:close/>
                  <a:moveTo>
                    <a:pt x="581025" y="0"/>
                  </a:moveTo>
                  <a:lnTo>
                    <a:pt x="574675" y="19050"/>
                  </a:lnTo>
                  <a:lnTo>
                    <a:pt x="581025" y="28575"/>
                  </a:lnTo>
                  <a:lnTo>
                    <a:pt x="584200" y="28575"/>
                  </a:lnTo>
                  <a:lnTo>
                    <a:pt x="584200" y="41275"/>
                  </a:lnTo>
                  <a:lnTo>
                    <a:pt x="593725" y="44450"/>
                  </a:lnTo>
                  <a:lnTo>
                    <a:pt x="593725" y="53975"/>
                  </a:lnTo>
                  <a:lnTo>
                    <a:pt x="650875" y="73025"/>
                  </a:lnTo>
                  <a:lnTo>
                    <a:pt x="720725" y="92075"/>
                  </a:lnTo>
                  <a:lnTo>
                    <a:pt x="695325" y="133350"/>
                  </a:lnTo>
                  <a:lnTo>
                    <a:pt x="701675" y="190500"/>
                  </a:lnTo>
                  <a:lnTo>
                    <a:pt x="711200" y="196850"/>
                  </a:lnTo>
                  <a:lnTo>
                    <a:pt x="727075" y="215900"/>
                  </a:lnTo>
                  <a:lnTo>
                    <a:pt x="711200" y="225425"/>
                  </a:lnTo>
                  <a:lnTo>
                    <a:pt x="711200" y="209550"/>
                  </a:lnTo>
                  <a:lnTo>
                    <a:pt x="692150" y="193675"/>
                  </a:lnTo>
                  <a:lnTo>
                    <a:pt x="622300" y="206375"/>
                  </a:lnTo>
                  <a:lnTo>
                    <a:pt x="565150" y="228600"/>
                  </a:lnTo>
                  <a:lnTo>
                    <a:pt x="552450" y="254000"/>
                  </a:lnTo>
                  <a:lnTo>
                    <a:pt x="565150" y="260350"/>
                  </a:lnTo>
                  <a:lnTo>
                    <a:pt x="565150" y="269875"/>
                  </a:lnTo>
                  <a:lnTo>
                    <a:pt x="574675" y="292100"/>
                  </a:lnTo>
                  <a:lnTo>
                    <a:pt x="584200" y="298450"/>
                  </a:lnTo>
                  <a:lnTo>
                    <a:pt x="574675" y="320675"/>
                  </a:lnTo>
                  <a:lnTo>
                    <a:pt x="555625" y="317500"/>
                  </a:lnTo>
                  <a:lnTo>
                    <a:pt x="552450" y="358775"/>
                  </a:lnTo>
                  <a:lnTo>
                    <a:pt x="574675" y="425450"/>
                  </a:lnTo>
                  <a:lnTo>
                    <a:pt x="635000" y="482600"/>
                  </a:lnTo>
                  <a:lnTo>
                    <a:pt x="654050" y="495300"/>
                  </a:lnTo>
                  <a:lnTo>
                    <a:pt x="669925" y="520700"/>
                  </a:lnTo>
                  <a:lnTo>
                    <a:pt x="698500" y="603250"/>
                  </a:lnTo>
                  <a:lnTo>
                    <a:pt x="723900" y="666750"/>
                  </a:lnTo>
                  <a:lnTo>
                    <a:pt x="828675" y="752475"/>
                  </a:lnTo>
                  <a:lnTo>
                    <a:pt x="879475" y="755650"/>
                  </a:lnTo>
                  <a:lnTo>
                    <a:pt x="927100" y="765175"/>
                  </a:lnTo>
                  <a:lnTo>
                    <a:pt x="898525" y="796925"/>
                  </a:lnTo>
                  <a:lnTo>
                    <a:pt x="927100" y="838200"/>
                  </a:lnTo>
                  <a:lnTo>
                    <a:pt x="993775" y="873125"/>
                  </a:lnTo>
                  <a:lnTo>
                    <a:pt x="1054100" y="908050"/>
                  </a:lnTo>
                  <a:lnTo>
                    <a:pt x="1111250" y="946150"/>
                  </a:lnTo>
                  <a:lnTo>
                    <a:pt x="1162050" y="996950"/>
                  </a:lnTo>
                  <a:lnTo>
                    <a:pt x="1171575" y="1022350"/>
                  </a:lnTo>
                  <a:lnTo>
                    <a:pt x="1158875" y="1063625"/>
                  </a:lnTo>
                  <a:lnTo>
                    <a:pt x="1117600" y="1044575"/>
                  </a:lnTo>
                  <a:lnTo>
                    <a:pt x="1114425" y="1019175"/>
                  </a:lnTo>
                  <a:lnTo>
                    <a:pt x="1095375" y="993775"/>
                  </a:lnTo>
                  <a:lnTo>
                    <a:pt x="1025525" y="962025"/>
                  </a:lnTo>
                  <a:lnTo>
                    <a:pt x="984250" y="987425"/>
                  </a:lnTo>
                  <a:lnTo>
                    <a:pt x="949325" y="1060450"/>
                  </a:lnTo>
                  <a:lnTo>
                    <a:pt x="984250" y="1092200"/>
                  </a:lnTo>
                  <a:lnTo>
                    <a:pt x="1016000" y="1127125"/>
                  </a:lnTo>
                  <a:lnTo>
                    <a:pt x="996950" y="1181100"/>
                  </a:lnTo>
                  <a:lnTo>
                    <a:pt x="958850" y="1196975"/>
                  </a:lnTo>
                  <a:lnTo>
                    <a:pt x="949325" y="1231900"/>
                  </a:lnTo>
                  <a:lnTo>
                    <a:pt x="923925" y="1279525"/>
                  </a:lnTo>
                  <a:lnTo>
                    <a:pt x="882650" y="1320800"/>
                  </a:lnTo>
                  <a:lnTo>
                    <a:pt x="841375" y="1308100"/>
                  </a:lnTo>
                  <a:lnTo>
                    <a:pt x="850900" y="1270000"/>
                  </a:lnTo>
                  <a:lnTo>
                    <a:pt x="873125" y="1241425"/>
                  </a:lnTo>
                  <a:lnTo>
                    <a:pt x="892175" y="1206500"/>
                  </a:lnTo>
                  <a:lnTo>
                    <a:pt x="904875" y="1174750"/>
                  </a:lnTo>
                  <a:lnTo>
                    <a:pt x="892175" y="1114425"/>
                  </a:lnTo>
                  <a:lnTo>
                    <a:pt x="869950" y="1041400"/>
                  </a:lnTo>
                  <a:lnTo>
                    <a:pt x="831850" y="1006475"/>
                  </a:lnTo>
                  <a:lnTo>
                    <a:pt x="777875" y="987425"/>
                  </a:lnTo>
                  <a:lnTo>
                    <a:pt x="781050" y="946150"/>
                  </a:lnTo>
                  <a:lnTo>
                    <a:pt x="765175" y="920750"/>
                  </a:lnTo>
                  <a:lnTo>
                    <a:pt x="673100" y="863600"/>
                  </a:lnTo>
                  <a:lnTo>
                    <a:pt x="635000" y="831850"/>
                  </a:lnTo>
                  <a:lnTo>
                    <a:pt x="584200" y="815975"/>
                  </a:lnTo>
                  <a:lnTo>
                    <a:pt x="508000" y="752475"/>
                  </a:lnTo>
                  <a:lnTo>
                    <a:pt x="466725" y="695325"/>
                  </a:lnTo>
                  <a:lnTo>
                    <a:pt x="428625" y="647700"/>
                  </a:lnTo>
                  <a:lnTo>
                    <a:pt x="377825" y="574675"/>
                  </a:lnTo>
                  <a:lnTo>
                    <a:pt x="361950" y="542925"/>
                  </a:lnTo>
                  <a:lnTo>
                    <a:pt x="352425" y="511175"/>
                  </a:lnTo>
                  <a:lnTo>
                    <a:pt x="333375" y="425450"/>
                  </a:lnTo>
                  <a:lnTo>
                    <a:pt x="304800" y="390525"/>
                  </a:lnTo>
                  <a:lnTo>
                    <a:pt x="244475" y="349250"/>
                  </a:lnTo>
                  <a:lnTo>
                    <a:pt x="200025" y="327025"/>
                  </a:lnTo>
                  <a:lnTo>
                    <a:pt x="155575" y="349250"/>
                  </a:lnTo>
                  <a:lnTo>
                    <a:pt x="117475" y="390525"/>
                  </a:lnTo>
                  <a:lnTo>
                    <a:pt x="57150" y="396875"/>
                  </a:lnTo>
                  <a:lnTo>
                    <a:pt x="53975" y="349250"/>
                  </a:lnTo>
                  <a:lnTo>
                    <a:pt x="22225" y="327025"/>
                  </a:lnTo>
                  <a:lnTo>
                    <a:pt x="6350" y="301625"/>
                  </a:lnTo>
                  <a:lnTo>
                    <a:pt x="12700" y="276225"/>
                  </a:lnTo>
                  <a:lnTo>
                    <a:pt x="34925" y="244475"/>
                  </a:lnTo>
                  <a:lnTo>
                    <a:pt x="22225" y="234950"/>
                  </a:lnTo>
                  <a:lnTo>
                    <a:pt x="9525" y="219075"/>
                  </a:lnTo>
                  <a:lnTo>
                    <a:pt x="0" y="196850"/>
                  </a:lnTo>
                  <a:lnTo>
                    <a:pt x="41275" y="190500"/>
                  </a:lnTo>
                  <a:lnTo>
                    <a:pt x="53975" y="180975"/>
                  </a:lnTo>
                  <a:lnTo>
                    <a:pt x="57150" y="155575"/>
                  </a:lnTo>
                  <a:lnTo>
                    <a:pt x="34925" y="114300"/>
                  </a:lnTo>
                  <a:lnTo>
                    <a:pt x="60325" y="88900"/>
                  </a:lnTo>
                  <a:lnTo>
                    <a:pt x="114300" y="92075"/>
                  </a:lnTo>
                  <a:lnTo>
                    <a:pt x="123825" y="95250"/>
                  </a:lnTo>
                  <a:lnTo>
                    <a:pt x="139700" y="104775"/>
                  </a:lnTo>
                  <a:lnTo>
                    <a:pt x="142875" y="98425"/>
                  </a:lnTo>
                  <a:lnTo>
                    <a:pt x="155575" y="95250"/>
                  </a:lnTo>
                  <a:lnTo>
                    <a:pt x="174625" y="76200"/>
                  </a:lnTo>
                  <a:lnTo>
                    <a:pt x="180975" y="57150"/>
                  </a:lnTo>
                  <a:lnTo>
                    <a:pt x="209550" y="53975"/>
                  </a:lnTo>
                  <a:lnTo>
                    <a:pt x="206375" y="73025"/>
                  </a:lnTo>
                  <a:lnTo>
                    <a:pt x="231775" y="98425"/>
                  </a:lnTo>
                  <a:lnTo>
                    <a:pt x="250825" y="114300"/>
                  </a:lnTo>
                  <a:lnTo>
                    <a:pt x="257175" y="104775"/>
                  </a:lnTo>
                  <a:lnTo>
                    <a:pt x="282575" y="76200"/>
                  </a:lnTo>
                  <a:lnTo>
                    <a:pt x="342900" y="79375"/>
                  </a:lnTo>
                  <a:lnTo>
                    <a:pt x="371475" y="85725"/>
                  </a:lnTo>
                  <a:lnTo>
                    <a:pt x="374650" y="41275"/>
                  </a:lnTo>
                  <a:lnTo>
                    <a:pt x="384175" y="44450"/>
                  </a:lnTo>
                  <a:lnTo>
                    <a:pt x="400050" y="53975"/>
                  </a:lnTo>
                  <a:lnTo>
                    <a:pt x="409575" y="47625"/>
                  </a:lnTo>
                  <a:lnTo>
                    <a:pt x="412750" y="9525"/>
                  </a:lnTo>
                  <a:lnTo>
                    <a:pt x="457200" y="28575"/>
                  </a:lnTo>
                  <a:lnTo>
                    <a:pt x="479425" y="6350"/>
                  </a:lnTo>
                  <a:lnTo>
                    <a:pt x="520700" y="3175"/>
                  </a:lnTo>
                  <a:lnTo>
                    <a:pt x="581025" y="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21" name="Freeform 260"/>
            <p:cNvSpPr>
              <a:spLocks/>
            </p:cNvSpPr>
            <p:nvPr/>
          </p:nvSpPr>
          <p:spPr bwMode="auto">
            <a:xfrm>
              <a:off x="2899527" y="4717860"/>
              <a:ext cx="454025" cy="244475"/>
            </a:xfrm>
            <a:custGeom>
              <a:avLst/>
              <a:gdLst>
                <a:gd name="T0" fmla="*/ 190500 w 454025"/>
                <a:gd name="T1" fmla="*/ 0 h 244475"/>
                <a:gd name="T2" fmla="*/ 193675 w 454025"/>
                <a:gd name="T3" fmla="*/ 3175 h 244475"/>
                <a:gd name="T4" fmla="*/ 250825 w 454025"/>
                <a:gd name="T5" fmla="*/ 6350 h 244475"/>
                <a:gd name="T6" fmla="*/ 260350 w 454025"/>
                <a:gd name="T7" fmla="*/ 12700 h 244475"/>
                <a:gd name="T8" fmla="*/ 276225 w 454025"/>
                <a:gd name="T9" fmla="*/ 12700 h 244475"/>
                <a:gd name="T10" fmla="*/ 285750 w 454025"/>
                <a:gd name="T11" fmla="*/ 9525 h 244475"/>
                <a:gd name="T12" fmla="*/ 288925 w 454025"/>
                <a:gd name="T13" fmla="*/ 3175 h 244475"/>
                <a:gd name="T14" fmla="*/ 314325 w 454025"/>
                <a:gd name="T15" fmla="*/ 9525 h 244475"/>
                <a:gd name="T16" fmla="*/ 377825 w 454025"/>
                <a:gd name="T17" fmla="*/ 34925 h 244475"/>
                <a:gd name="T18" fmla="*/ 374650 w 454025"/>
                <a:gd name="T19" fmla="*/ 38100 h 244475"/>
                <a:gd name="T20" fmla="*/ 368300 w 454025"/>
                <a:gd name="T21" fmla="*/ 73025 h 244475"/>
                <a:gd name="T22" fmla="*/ 371475 w 454025"/>
                <a:gd name="T23" fmla="*/ 101600 h 244475"/>
                <a:gd name="T24" fmla="*/ 454025 w 454025"/>
                <a:gd name="T25" fmla="*/ 133350 h 244475"/>
                <a:gd name="T26" fmla="*/ 450850 w 454025"/>
                <a:gd name="T27" fmla="*/ 139700 h 244475"/>
                <a:gd name="T28" fmla="*/ 447675 w 454025"/>
                <a:gd name="T29" fmla="*/ 177800 h 244475"/>
                <a:gd name="T30" fmla="*/ 438150 w 454025"/>
                <a:gd name="T31" fmla="*/ 184150 h 244475"/>
                <a:gd name="T32" fmla="*/ 422275 w 454025"/>
                <a:gd name="T33" fmla="*/ 174625 h 244475"/>
                <a:gd name="T34" fmla="*/ 412750 w 454025"/>
                <a:gd name="T35" fmla="*/ 171450 h 244475"/>
                <a:gd name="T36" fmla="*/ 409575 w 454025"/>
                <a:gd name="T37" fmla="*/ 215900 h 244475"/>
                <a:gd name="T38" fmla="*/ 381000 w 454025"/>
                <a:gd name="T39" fmla="*/ 209550 h 244475"/>
                <a:gd name="T40" fmla="*/ 320675 w 454025"/>
                <a:gd name="T41" fmla="*/ 206375 h 244475"/>
                <a:gd name="T42" fmla="*/ 295275 w 454025"/>
                <a:gd name="T43" fmla="*/ 234950 h 244475"/>
                <a:gd name="T44" fmla="*/ 288925 w 454025"/>
                <a:gd name="T45" fmla="*/ 244475 h 244475"/>
                <a:gd name="T46" fmla="*/ 269875 w 454025"/>
                <a:gd name="T47" fmla="*/ 228600 h 244475"/>
                <a:gd name="T48" fmla="*/ 244475 w 454025"/>
                <a:gd name="T49" fmla="*/ 203200 h 244475"/>
                <a:gd name="T50" fmla="*/ 247650 w 454025"/>
                <a:gd name="T51" fmla="*/ 184150 h 244475"/>
                <a:gd name="T52" fmla="*/ 219075 w 454025"/>
                <a:gd name="T53" fmla="*/ 187325 h 244475"/>
                <a:gd name="T54" fmla="*/ 212725 w 454025"/>
                <a:gd name="T55" fmla="*/ 206375 h 244475"/>
                <a:gd name="T56" fmla="*/ 193675 w 454025"/>
                <a:gd name="T57" fmla="*/ 225425 h 244475"/>
                <a:gd name="T58" fmla="*/ 180975 w 454025"/>
                <a:gd name="T59" fmla="*/ 228600 h 244475"/>
                <a:gd name="T60" fmla="*/ 177800 w 454025"/>
                <a:gd name="T61" fmla="*/ 234950 h 244475"/>
                <a:gd name="T62" fmla="*/ 161925 w 454025"/>
                <a:gd name="T63" fmla="*/ 225425 h 244475"/>
                <a:gd name="T64" fmla="*/ 152400 w 454025"/>
                <a:gd name="T65" fmla="*/ 222250 h 244475"/>
                <a:gd name="T66" fmla="*/ 98425 w 454025"/>
                <a:gd name="T67" fmla="*/ 219075 h 244475"/>
                <a:gd name="T68" fmla="*/ 88900 w 454025"/>
                <a:gd name="T69" fmla="*/ 146050 h 244475"/>
                <a:gd name="T70" fmla="*/ 28575 w 454025"/>
                <a:gd name="T71" fmla="*/ 149225 h 244475"/>
                <a:gd name="T72" fmla="*/ 0 w 454025"/>
                <a:gd name="T73" fmla="*/ 171450 h 244475"/>
                <a:gd name="T74" fmla="*/ 3175 w 454025"/>
                <a:gd name="T75" fmla="*/ 168275 h 244475"/>
                <a:gd name="T76" fmla="*/ 22225 w 454025"/>
                <a:gd name="T77" fmla="*/ 136525 h 244475"/>
                <a:gd name="T78" fmla="*/ 50800 w 454025"/>
                <a:gd name="T79" fmla="*/ 98425 h 244475"/>
                <a:gd name="T80" fmla="*/ 95250 w 454025"/>
                <a:gd name="T81" fmla="*/ 53975 h 244475"/>
                <a:gd name="T82" fmla="*/ 130175 w 454025"/>
                <a:gd name="T83" fmla="*/ 28575 h 244475"/>
                <a:gd name="T84" fmla="*/ 127000 w 454025"/>
                <a:gd name="T85" fmla="*/ 9525 h 244475"/>
                <a:gd name="T86" fmla="*/ 168275 w 454025"/>
                <a:gd name="T87" fmla="*/ 15875 h 244475"/>
                <a:gd name="T88" fmla="*/ 190500 w 454025"/>
                <a:gd name="T89" fmla="*/ 0 h 24447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54025"/>
                <a:gd name="T136" fmla="*/ 0 h 244475"/>
                <a:gd name="T137" fmla="*/ 454025 w 454025"/>
                <a:gd name="T138" fmla="*/ 244475 h 24447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54025" h="244475">
                  <a:moveTo>
                    <a:pt x="190500" y="0"/>
                  </a:moveTo>
                  <a:lnTo>
                    <a:pt x="193675" y="3175"/>
                  </a:lnTo>
                  <a:lnTo>
                    <a:pt x="250825" y="6350"/>
                  </a:lnTo>
                  <a:lnTo>
                    <a:pt x="260350" y="12700"/>
                  </a:lnTo>
                  <a:lnTo>
                    <a:pt x="276225" y="12700"/>
                  </a:lnTo>
                  <a:lnTo>
                    <a:pt x="285750" y="9525"/>
                  </a:lnTo>
                  <a:lnTo>
                    <a:pt x="288925" y="3175"/>
                  </a:lnTo>
                  <a:lnTo>
                    <a:pt x="314325" y="9525"/>
                  </a:lnTo>
                  <a:lnTo>
                    <a:pt x="377825" y="34925"/>
                  </a:lnTo>
                  <a:lnTo>
                    <a:pt x="374650" y="38100"/>
                  </a:lnTo>
                  <a:lnTo>
                    <a:pt x="368300" y="73025"/>
                  </a:lnTo>
                  <a:lnTo>
                    <a:pt x="371475" y="101600"/>
                  </a:lnTo>
                  <a:lnTo>
                    <a:pt x="454025" y="133350"/>
                  </a:lnTo>
                  <a:lnTo>
                    <a:pt x="450850" y="139700"/>
                  </a:lnTo>
                  <a:lnTo>
                    <a:pt x="447675" y="177800"/>
                  </a:lnTo>
                  <a:lnTo>
                    <a:pt x="438150" y="184150"/>
                  </a:lnTo>
                  <a:lnTo>
                    <a:pt x="422275" y="174625"/>
                  </a:lnTo>
                  <a:lnTo>
                    <a:pt x="412750" y="171450"/>
                  </a:lnTo>
                  <a:lnTo>
                    <a:pt x="409575" y="215900"/>
                  </a:lnTo>
                  <a:lnTo>
                    <a:pt x="381000" y="209550"/>
                  </a:lnTo>
                  <a:lnTo>
                    <a:pt x="320675" y="206375"/>
                  </a:lnTo>
                  <a:lnTo>
                    <a:pt x="295275" y="234950"/>
                  </a:lnTo>
                  <a:lnTo>
                    <a:pt x="288925" y="244475"/>
                  </a:lnTo>
                  <a:lnTo>
                    <a:pt x="269875" y="228600"/>
                  </a:lnTo>
                  <a:lnTo>
                    <a:pt x="244475" y="203200"/>
                  </a:lnTo>
                  <a:lnTo>
                    <a:pt x="247650" y="184150"/>
                  </a:lnTo>
                  <a:lnTo>
                    <a:pt x="219075" y="187325"/>
                  </a:lnTo>
                  <a:lnTo>
                    <a:pt x="212725" y="206375"/>
                  </a:lnTo>
                  <a:lnTo>
                    <a:pt x="193675" y="225425"/>
                  </a:lnTo>
                  <a:lnTo>
                    <a:pt x="180975" y="228600"/>
                  </a:lnTo>
                  <a:lnTo>
                    <a:pt x="177800" y="234950"/>
                  </a:lnTo>
                  <a:lnTo>
                    <a:pt x="161925" y="225425"/>
                  </a:lnTo>
                  <a:lnTo>
                    <a:pt x="152400" y="222250"/>
                  </a:lnTo>
                  <a:lnTo>
                    <a:pt x="98425" y="219075"/>
                  </a:lnTo>
                  <a:lnTo>
                    <a:pt x="88900" y="146050"/>
                  </a:lnTo>
                  <a:lnTo>
                    <a:pt x="28575" y="149225"/>
                  </a:lnTo>
                  <a:lnTo>
                    <a:pt x="0" y="171450"/>
                  </a:lnTo>
                  <a:lnTo>
                    <a:pt x="3175" y="168275"/>
                  </a:lnTo>
                  <a:lnTo>
                    <a:pt x="22225" y="136525"/>
                  </a:lnTo>
                  <a:lnTo>
                    <a:pt x="50800" y="98425"/>
                  </a:lnTo>
                  <a:lnTo>
                    <a:pt x="95250" y="53975"/>
                  </a:lnTo>
                  <a:lnTo>
                    <a:pt x="130175" y="28575"/>
                  </a:lnTo>
                  <a:lnTo>
                    <a:pt x="127000" y="9525"/>
                  </a:lnTo>
                  <a:lnTo>
                    <a:pt x="168275" y="15875"/>
                  </a:lnTo>
                  <a:lnTo>
                    <a:pt x="190500" y="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22" name="Freeform 206"/>
            <p:cNvSpPr>
              <a:spLocks/>
            </p:cNvSpPr>
            <p:nvPr/>
          </p:nvSpPr>
          <p:spPr bwMode="auto">
            <a:xfrm>
              <a:off x="1048502" y="5016310"/>
              <a:ext cx="482600" cy="704850"/>
            </a:xfrm>
            <a:custGeom>
              <a:avLst/>
              <a:gdLst>
                <a:gd name="T0" fmla="*/ 241935002 w 304"/>
                <a:gd name="T1" fmla="*/ 1108868842 h 444"/>
                <a:gd name="T2" fmla="*/ 151209364 w 304"/>
                <a:gd name="T3" fmla="*/ 1118949464 h 444"/>
                <a:gd name="T4" fmla="*/ 70564371 w 304"/>
                <a:gd name="T5" fmla="*/ 1068546353 h 444"/>
                <a:gd name="T6" fmla="*/ 0 w 304"/>
                <a:gd name="T7" fmla="*/ 992941686 h 444"/>
                <a:gd name="T8" fmla="*/ 40322496 w 304"/>
                <a:gd name="T9" fmla="*/ 922377331 h 444"/>
                <a:gd name="T10" fmla="*/ 85685303 w 304"/>
                <a:gd name="T11" fmla="*/ 791329043 h 444"/>
                <a:gd name="T12" fmla="*/ 80644992 w 304"/>
                <a:gd name="T13" fmla="*/ 735885621 h 444"/>
                <a:gd name="T14" fmla="*/ 55443440 w 304"/>
                <a:gd name="T15" fmla="*/ 725804999 h 444"/>
                <a:gd name="T16" fmla="*/ 80644992 w 304"/>
                <a:gd name="T17" fmla="*/ 650200332 h 444"/>
                <a:gd name="T18" fmla="*/ 10080624 w 304"/>
                <a:gd name="T19" fmla="*/ 640119710 h 444"/>
                <a:gd name="T20" fmla="*/ 186491537 w 304"/>
                <a:gd name="T21" fmla="*/ 433466954 h 444"/>
                <a:gd name="T22" fmla="*/ 342741212 w 304"/>
                <a:gd name="T23" fmla="*/ 186491561 h 444"/>
                <a:gd name="T24" fmla="*/ 347781522 w 304"/>
                <a:gd name="T25" fmla="*/ 95765936 h 444"/>
                <a:gd name="T26" fmla="*/ 393144316 w 304"/>
                <a:gd name="T27" fmla="*/ 5040313 h 444"/>
                <a:gd name="T28" fmla="*/ 493950625 w 304"/>
                <a:gd name="T29" fmla="*/ 0 h 444"/>
                <a:gd name="T30" fmla="*/ 483870004 w 304"/>
                <a:gd name="T31" fmla="*/ 35282190 h 444"/>
                <a:gd name="T32" fmla="*/ 468749073 w 304"/>
                <a:gd name="T33" fmla="*/ 50403124 h 444"/>
                <a:gd name="T34" fmla="*/ 493950625 w 304"/>
                <a:gd name="T35" fmla="*/ 75604692 h 444"/>
                <a:gd name="T36" fmla="*/ 519152177 w 304"/>
                <a:gd name="T37" fmla="*/ 65524069 h 444"/>
                <a:gd name="T38" fmla="*/ 549394040 w 304"/>
                <a:gd name="T39" fmla="*/ 75604692 h 444"/>
                <a:gd name="T40" fmla="*/ 589716524 w 304"/>
                <a:gd name="T41" fmla="*/ 100806247 h 444"/>
                <a:gd name="T42" fmla="*/ 720764597 w 304"/>
                <a:gd name="T43" fmla="*/ 141128761 h 444"/>
                <a:gd name="T44" fmla="*/ 766127391 w 304"/>
                <a:gd name="T45" fmla="*/ 246975344 h 444"/>
                <a:gd name="T46" fmla="*/ 695563044 w 304"/>
                <a:gd name="T47" fmla="*/ 292338144 h 444"/>
                <a:gd name="T48" fmla="*/ 609877766 w 304"/>
                <a:gd name="T49" fmla="*/ 317539699 h 444"/>
                <a:gd name="T50" fmla="*/ 619958387 w 304"/>
                <a:gd name="T51" fmla="*/ 362902499 h 444"/>
                <a:gd name="T52" fmla="*/ 584676214 w 304"/>
                <a:gd name="T53" fmla="*/ 473789443 h 444"/>
                <a:gd name="T54" fmla="*/ 539313419 w 304"/>
                <a:gd name="T55" fmla="*/ 483870065 h 444"/>
                <a:gd name="T56" fmla="*/ 539313419 w 304"/>
                <a:gd name="T57" fmla="*/ 514111932 h 444"/>
                <a:gd name="T58" fmla="*/ 493950625 w 304"/>
                <a:gd name="T59" fmla="*/ 599797221 h 444"/>
                <a:gd name="T60" fmla="*/ 408265248 w 304"/>
                <a:gd name="T61" fmla="*/ 569555354 h 444"/>
                <a:gd name="T62" fmla="*/ 413305558 w 304"/>
                <a:gd name="T63" fmla="*/ 640119710 h 444"/>
                <a:gd name="T64" fmla="*/ 428426589 w 304"/>
                <a:gd name="T65" fmla="*/ 776208110 h 444"/>
                <a:gd name="T66" fmla="*/ 342741212 w 304"/>
                <a:gd name="T67" fmla="*/ 841732353 h 444"/>
                <a:gd name="T68" fmla="*/ 362902453 w 304"/>
                <a:gd name="T69" fmla="*/ 912296709 h 444"/>
                <a:gd name="T70" fmla="*/ 393144316 w 304"/>
                <a:gd name="T71" fmla="*/ 917337020 h 444"/>
                <a:gd name="T72" fmla="*/ 322579970 w 304"/>
                <a:gd name="T73" fmla="*/ 957659509 h 444"/>
                <a:gd name="T74" fmla="*/ 246975313 w 304"/>
                <a:gd name="T75" fmla="*/ 1023183553 h 444"/>
                <a:gd name="T76" fmla="*/ 241935002 w 304"/>
                <a:gd name="T77" fmla="*/ 1108868842 h 444"/>
                <a:gd name="T78" fmla="*/ 241935002 w 304"/>
                <a:gd name="T79" fmla="*/ 1108868842 h 44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04"/>
                <a:gd name="T121" fmla="*/ 0 h 444"/>
                <a:gd name="T122" fmla="*/ 304 w 304"/>
                <a:gd name="T123" fmla="*/ 444 h 44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04" h="444">
                  <a:moveTo>
                    <a:pt x="96" y="440"/>
                  </a:moveTo>
                  <a:lnTo>
                    <a:pt x="60" y="444"/>
                  </a:lnTo>
                  <a:lnTo>
                    <a:pt x="28" y="424"/>
                  </a:lnTo>
                  <a:lnTo>
                    <a:pt x="0" y="394"/>
                  </a:lnTo>
                  <a:lnTo>
                    <a:pt x="16" y="366"/>
                  </a:lnTo>
                  <a:lnTo>
                    <a:pt x="34" y="314"/>
                  </a:lnTo>
                  <a:lnTo>
                    <a:pt x="32" y="292"/>
                  </a:lnTo>
                  <a:lnTo>
                    <a:pt x="22" y="288"/>
                  </a:lnTo>
                  <a:lnTo>
                    <a:pt x="32" y="258"/>
                  </a:lnTo>
                  <a:lnTo>
                    <a:pt x="4" y="254"/>
                  </a:lnTo>
                  <a:lnTo>
                    <a:pt x="74" y="172"/>
                  </a:lnTo>
                  <a:lnTo>
                    <a:pt x="136" y="74"/>
                  </a:lnTo>
                  <a:lnTo>
                    <a:pt x="138" y="38"/>
                  </a:lnTo>
                  <a:lnTo>
                    <a:pt x="156" y="2"/>
                  </a:lnTo>
                  <a:lnTo>
                    <a:pt x="196" y="0"/>
                  </a:lnTo>
                  <a:lnTo>
                    <a:pt x="192" y="14"/>
                  </a:lnTo>
                  <a:lnTo>
                    <a:pt x="186" y="20"/>
                  </a:lnTo>
                  <a:lnTo>
                    <a:pt x="196" y="30"/>
                  </a:lnTo>
                  <a:lnTo>
                    <a:pt x="206" y="26"/>
                  </a:lnTo>
                  <a:lnTo>
                    <a:pt x="218" y="30"/>
                  </a:lnTo>
                  <a:lnTo>
                    <a:pt x="234" y="40"/>
                  </a:lnTo>
                  <a:lnTo>
                    <a:pt x="286" y="56"/>
                  </a:lnTo>
                  <a:lnTo>
                    <a:pt x="304" y="98"/>
                  </a:lnTo>
                  <a:lnTo>
                    <a:pt x="276" y="116"/>
                  </a:lnTo>
                  <a:lnTo>
                    <a:pt x="242" y="126"/>
                  </a:lnTo>
                  <a:lnTo>
                    <a:pt x="246" y="144"/>
                  </a:lnTo>
                  <a:lnTo>
                    <a:pt x="232" y="188"/>
                  </a:lnTo>
                  <a:lnTo>
                    <a:pt x="214" y="192"/>
                  </a:lnTo>
                  <a:lnTo>
                    <a:pt x="214" y="204"/>
                  </a:lnTo>
                  <a:lnTo>
                    <a:pt x="196" y="238"/>
                  </a:lnTo>
                  <a:lnTo>
                    <a:pt x="162" y="226"/>
                  </a:lnTo>
                  <a:lnTo>
                    <a:pt x="164" y="254"/>
                  </a:lnTo>
                  <a:lnTo>
                    <a:pt x="170" y="308"/>
                  </a:lnTo>
                  <a:lnTo>
                    <a:pt x="136" y="334"/>
                  </a:lnTo>
                  <a:lnTo>
                    <a:pt x="144" y="362"/>
                  </a:lnTo>
                  <a:lnTo>
                    <a:pt x="156" y="364"/>
                  </a:lnTo>
                  <a:lnTo>
                    <a:pt x="128" y="380"/>
                  </a:lnTo>
                  <a:lnTo>
                    <a:pt x="98" y="406"/>
                  </a:lnTo>
                  <a:lnTo>
                    <a:pt x="96" y="44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23" name="Freeform 268"/>
            <p:cNvSpPr>
              <a:spLocks/>
            </p:cNvSpPr>
            <p:nvPr/>
          </p:nvSpPr>
          <p:spPr bwMode="auto">
            <a:xfrm>
              <a:off x="2350252" y="5683060"/>
              <a:ext cx="117475" cy="85725"/>
            </a:xfrm>
            <a:custGeom>
              <a:avLst/>
              <a:gdLst>
                <a:gd name="T0" fmla="*/ 131048121 w 74"/>
                <a:gd name="T1" fmla="*/ 40322501 h 54"/>
                <a:gd name="T2" fmla="*/ 146169052 w 74"/>
                <a:gd name="T3" fmla="*/ 0 h 54"/>
                <a:gd name="T4" fmla="*/ 0 w 74"/>
                <a:gd name="T5" fmla="*/ 40322501 h 54"/>
                <a:gd name="T6" fmla="*/ 0 w 74"/>
                <a:gd name="T7" fmla="*/ 75604691 h 54"/>
                <a:gd name="T8" fmla="*/ 75604681 w 74"/>
                <a:gd name="T9" fmla="*/ 136088449 h 54"/>
                <a:gd name="T10" fmla="*/ 131048121 w 74"/>
                <a:gd name="T11" fmla="*/ 136088449 h 54"/>
                <a:gd name="T12" fmla="*/ 186491535 w 74"/>
                <a:gd name="T13" fmla="*/ 65524069 h 54"/>
                <a:gd name="T14" fmla="*/ 151209362 w 74"/>
                <a:gd name="T15" fmla="*/ 50403123 h 54"/>
                <a:gd name="T16" fmla="*/ 131048121 w 74"/>
                <a:gd name="T17" fmla="*/ 40322501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4"/>
                <a:gd name="T28" fmla="*/ 0 h 54"/>
                <a:gd name="T29" fmla="*/ 74 w 74"/>
                <a:gd name="T30" fmla="*/ 54 h 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4" h="54">
                  <a:moveTo>
                    <a:pt x="52" y="16"/>
                  </a:moveTo>
                  <a:lnTo>
                    <a:pt x="58" y="0"/>
                  </a:lnTo>
                  <a:lnTo>
                    <a:pt x="0" y="16"/>
                  </a:lnTo>
                  <a:lnTo>
                    <a:pt x="0" y="30"/>
                  </a:lnTo>
                  <a:lnTo>
                    <a:pt x="30" y="54"/>
                  </a:lnTo>
                  <a:lnTo>
                    <a:pt x="52" y="54"/>
                  </a:lnTo>
                  <a:lnTo>
                    <a:pt x="74" y="26"/>
                  </a:lnTo>
                  <a:lnTo>
                    <a:pt x="60" y="20"/>
                  </a:lnTo>
                  <a:lnTo>
                    <a:pt x="52" y="16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24" name="Freeform 269"/>
            <p:cNvSpPr>
              <a:spLocks/>
            </p:cNvSpPr>
            <p:nvPr/>
          </p:nvSpPr>
          <p:spPr bwMode="auto">
            <a:xfrm>
              <a:off x="2515352" y="5689410"/>
              <a:ext cx="41275" cy="34925"/>
            </a:xfrm>
            <a:custGeom>
              <a:avLst/>
              <a:gdLst>
                <a:gd name="T0" fmla="*/ 0 w 26"/>
                <a:gd name="T1" fmla="*/ 0 h 22"/>
                <a:gd name="T2" fmla="*/ 0 w 26"/>
                <a:gd name="T3" fmla="*/ 25201560 h 22"/>
                <a:gd name="T4" fmla="*/ 55443446 w 26"/>
                <a:gd name="T5" fmla="*/ 55443443 h 22"/>
                <a:gd name="T6" fmla="*/ 65524068 w 26"/>
                <a:gd name="T7" fmla="*/ 15120938 h 22"/>
                <a:gd name="T8" fmla="*/ 20161250 w 26"/>
                <a:gd name="T9" fmla="*/ 0 h 22"/>
                <a:gd name="T10" fmla="*/ 0 w 26"/>
                <a:gd name="T11" fmla="*/ 0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"/>
                <a:gd name="T19" fmla="*/ 0 h 22"/>
                <a:gd name="T20" fmla="*/ 26 w 26"/>
                <a:gd name="T21" fmla="*/ 22 h 2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" h="22">
                  <a:moveTo>
                    <a:pt x="0" y="0"/>
                  </a:moveTo>
                  <a:lnTo>
                    <a:pt x="0" y="10"/>
                  </a:lnTo>
                  <a:lnTo>
                    <a:pt x="22" y="22"/>
                  </a:lnTo>
                  <a:lnTo>
                    <a:pt x="26" y="6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25" name="Freeform 296"/>
            <p:cNvSpPr>
              <a:spLocks/>
            </p:cNvSpPr>
            <p:nvPr/>
          </p:nvSpPr>
          <p:spPr bwMode="auto">
            <a:xfrm>
              <a:off x="1200902" y="4813110"/>
              <a:ext cx="1323975" cy="1155700"/>
            </a:xfrm>
            <a:custGeom>
              <a:avLst/>
              <a:gdLst>
                <a:gd name="T0" fmla="*/ 1864915873 w 834"/>
                <a:gd name="T1" fmla="*/ 766127442 h 728"/>
                <a:gd name="T2" fmla="*/ 1864915873 w 834"/>
                <a:gd name="T3" fmla="*/ 766127442 h 728"/>
                <a:gd name="T4" fmla="*/ 1829633696 w 834"/>
                <a:gd name="T5" fmla="*/ 776208063 h 728"/>
                <a:gd name="T6" fmla="*/ 1814512763 w 834"/>
                <a:gd name="T7" fmla="*/ 771167752 h 728"/>
                <a:gd name="T8" fmla="*/ 1814512763 w 834"/>
                <a:gd name="T9" fmla="*/ 761087131 h 728"/>
                <a:gd name="T10" fmla="*/ 1814512763 w 834"/>
                <a:gd name="T11" fmla="*/ 745966198 h 728"/>
                <a:gd name="T12" fmla="*/ 1824593385 w 834"/>
                <a:gd name="T13" fmla="*/ 735885577 h 728"/>
                <a:gd name="T14" fmla="*/ 1764109652 w 834"/>
                <a:gd name="T15" fmla="*/ 670361536 h 728"/>
                <a:gd name="T16" fmla="*/ 1708666231 w 834"/>
                <a:gd name="T17" fmla="*/ 665321225 h 728"/>
                <a:gd name="T18" fmla="*/ 1673384054 w 834"/>
                <a:gd name="T19" fmla="*/ 670361536 h 728"/>
                <a:gd name="T20" fmla="*/ 1643141791 w 834"/>
                <a:gd name="T21" fmla="*/ 665321225 h 728"/>
                <a:gd name="T22" fmla="*/ 1572577437 w 834"/>
                <a:gd name="T23" fmla="*/ 635079360 h 728"/>
                <a:gd name="T24" fmla="*/ 1350803751 w 834"/>
                <a:gd name="T25" fmla="*/ 418345996 h 728"/>
                <a:gd name="T26" fmla="*/ 1129030066 w 834"/>
                <a:gd name="T27" fmla="*/ 347781545 h 728"/>
                <a:gd name="T28" fmla="*/ 1043344779 w 834"/>
                <a:gd name="T29" fmla="*/ 292338126 h 728"/>
                <a:gd name="T30" fmla="*/ 796369340 w 834"/>
                <a:gd name="T31" fmla="*/ 186491550 h 728"/>
                <a:gd name="T32" fmla="*/ 519152234 w 834"/>
                <a:gd name="T33" fmla="*/ 80644998 h 728"/>
                <a:gd name="T34" fmla="*/ 428426636 w 834"/>
                <a:gd name="T35" fmla="*/ 0 h 728"/>
                <a:gd name="T36" fmla="*/ 257055961 w 834"/>
                <a:gd name="T37" fmla="*/ 35282188 h 728"/>
                <a:gd name="T38" fmla="*/ 186491558 w 834"/>
                <a:gd name="T39" fmla="*/ 50403120 h 728"/>
                <a:gd name="T40" fmla="*/ 176410935 w 834"/>
                <a:gd name="T41" fmla="*/ 236894707 h 728"/>
                <a:gd name="T42" fmla="*/ 151209380 w 834"/>
                <a:gd name="T43" fmla="*/ 327620302 h 728"/>
                <a:gd name="T44" fmla="*/ 241935028 w 834"/>
                <a:gd name="T45" fmla="*/ 357862167 h 728"/>
                <a:gd name="T46" fmla="*/ 252015650 w 834"/>
                <a:gd name="T47" fmla="*/ 398184653 h 728"/>
                <a:gd name="T48" fmla="*/ 307459072 w 834"/>
                <a:gd name="T49" fmla="*/ 398184653 h 728"/>
                <a:gd name="T50" fmla="*/ 478829746 w 834"/>
                <a:gd name="T51" fmla="*/ 463708793 h 728"/>
                <a:gd name="T52" fmla="*/ 453628191 w 834"/>
                <a:gd name="T53" fmla="*/ 614918117 h 728"/>
                <a:gd name="T54" fmla="*/ 378023426 w 834"/>
                <a:gd name="T55" fmla="*/ 685482469 h 728"/>
                <a:gd name="T56" fmla="*/ 297378450 w 834"/>
                <a:gd name="T57" fmla="*/ 806449928 h 728"/>
                <a:gd name="T58" fmla="*/ 252015650 w 834"/>
                <a:gd name="T59" fmla="*/ 922377275 h 728"/>
                <a:gd name="T60" fmla="*/ 171370624 w 834"/>
                <a:gd name="T61" fmla="*/ 962699762 h 728"/>
                <a:gd name="T62" fmla="*/ 100806245 w 834"/>
                <a:gd name="T63" fmla="*/ 1164312194 h 728"/>
                <a:gd name="T64" fmla="*/ 151209380 w 834"/>
                <a:gd name="T65" fmla="*/ 1239916856 h 728"/>
                <a:gd name="T66" fmla="*/ 5040313 w 834"/>
                <a:gd name="T67" fmla="*/ 1345763383 h 728"/>
                <a:gd name="T68" fmla="*/ 100806245 w 834"/>
                <a:gd name="T69" fmla="*/ 1481851775 h 728"/>
                <a:gd name="T70" fmla="*/ 131048136 w 834"/>
                <a:gd name="T71" fmla="*/ 1592738613 h 728"/>
                <a:gd name="T72" fmla="*/ 206652802 w 834"/>
                <a:gd name="T73" fmla="*/ 1784270820 h 728"/>
                <a:gd name="T74" fmla="*/ 277217206 w 834"/>
                <a:gd name="T75" fmla="*/ 1784270820 h 728"/>
                <a:gd name="T76" fmla="*/ 418346013 w 834"/>
                <a:gd name="T77" fmla="*/ 1748988645 h 728"/>
                <a:gd name="T78" fmla="*/ 468749124 w 834"/>
                <a:gd name="T79" fmla="*/ 1728827401 h 728"/>
                <a:gd name="T80" fmla="*/ 740925919 w 834"/>
                <a:gd name="T81" fmla="*/ 1794351442 h 728"/>
                <a:gd name="T82" fmla="*/ 826611206 w 834"/>
                <a:gd name="T83" fmla="*/ 1804432064 h 728"/>
                <a:gd name="T84" fmla="*/ 897175759 w 834"/>
                <a:gd name="T85" fmla="*/ 1834673928 h 728"/>
                <a:gd name="T86" fmla="*/ 1179433177 w 834"/>
                <a:gd name="T87" fmla="*/ 1728827401 h 728"/>
                <a:gd name="T88" fmla="*/ 1239916909 w 834"/>
                <a:gd name="T89" fmla="*/ 1592738613 h 728"/>
                <a:gd name="T90" fmla="*/ 1350803751 w 834"/>
                <a:gd name="T91" fmla="*/ 1431448667 h 728"/>
                <a:gd name="T92" fmla="*/ 1451609972 w 834"/>
                <a:gd name="T93" fmla="*/ 1234876545 h 728"/>
                <a:gd name="T94" fmla="*/ 1491932460 w 834"/>
                <a:gd name="T95" fmla="*/ 1209674991 h 728"/>
                <a:gd name="T96" fmla="*/ 1628020858 w 834"/>
                <a:gd name="T97" fmla="*/ 1118949397 h 728"/>
                <a:gd name="T98" fmla="*/ 1693545298 w 834"/>
                <a:gd name="T99" fmla="*/ 1053425356 h 728"/>
                <a:gd name="T100" fmla="*/ 2021165515 w 834"/>
                <a:gd name="T101" fmla="*/ 987901316 h 728"/>
                <a:gd name="T102" fmla="*/ 2101810491 w 834"/>
                <a:gd name="T103" fmla="*/ 887095099 h 728"/>
                <a:gd name="T104" fmla="*/ 2041326759 w 834"/>
                <a:gd name="T105" fmla="*/ 821570860 h 72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34"/>
                <a:gd name="T160" fmla="*/ 0 h 728"/>
                <a:gd name="T161" fmla="*/ 834 w 834"/>
                <a:gd name="T162" fmla="*/ 728 h 72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34" h="728">
                  <a:moveTo>
                    <a:pt x="788" y="326"/>
                  </a:moveTo>
                  <a:lnTo>
                    <a:pt x="740" y="304"/>
                  </a:lnTo>
                  <a:lnTo>
                    <a:pt x="726" y="308"/>
                  </a:lnTo>
                  <a:lnTo>
                    <a:pt x="722" y="306"/>
                  </a:lnTo>
                  <a:lnTo>
                    <a:pt x="720" y="306"/>
                  </a:lnTo>
                  <a:lnTo>
                    <a:pt x="720" y="302"/>
                  </a:lnTo>
                  <a:lnTo>
                    <a:pt x="720" y="296"/>
                  </a:lnTo>
                  <a:lnTo>
                    <a:pt x="720" y="294"/>
                  </a:lnTo>
                  <a:lnTo>
                    <a:pt x="724" y="292"/>
                  </a:lnTo>
                  <a:lnTo>
                    <a:pt x="700" y="266"/>
                  </a:lnTo>
                  <a:lnTo>
                    <a:pt x="684" y="256"/>
                  </a:lnTo>
                  <a:lnTo>
                    <a:pt x="678" y="264"/>
                  </a:lnTo>
                  <a:lnTo>
                    <a:pt x="676" y="270"/>
                  </a:lnTo>
                  <a:lnTo>
                    <a:pt x="664" y="266"/>
                  </a:lnTo>
                  <a:lnTo>
                    <a:pt x="656" y="264"/>
                  </a:lnTo>
                  <a:lnTo>
                    <a:pt x="652" y="264"/>
                  </a:lnTo>
                  <a:lnTo>
                    <a:pt x="650" y="260"/>
                  </a:lnTo>
                  <a:lnTo>
                    <a:pt x="624" y="252"/>
                  </a:lnTo>
                  <a:lnTo>
                    <a:pt x="592" y="232"/>
                  </a:lnTo>
                  <a:lnTo>
                    <a:pt x="536" y="166"/>
                  </a:lnTo>
                  <a:lnTo>
                    <a:pt x="494" y="158"/>
                  </a:lnTo>
                  <a:lnTo>
                    <a:pt x="448" y="138"/>
                  </a:lnTo>
                  <a:lnTo>
                    <a:pt x="434" y="124"/>
                  </a:lnTo>
                  <a:lnTo>
                    <a:pt x="414" y="116"/>
                  </a:lnTo>
                  <a:lnTo>
                    <a:pt x="368" y="110"/>
                  </a:lnTo>
                  <a:lnTo>
                    <a:pt x="316" y="74"/>
                  </a:lnTo>
                  <a:lnTo>
                    <a:pt x="260" y="54"/>
                  </a:lnTo>
                  <a:lnTo>
                    <a:pt x="206" y="32"/>
                  </a:lnTo>
                  <a:lnTo>
                    <a:pt x="194" y="14"/>
                  </a:lnTo>
                  <a:lnTo>
                    <a:pt x="170" y="0"/>
                  </a:lnTo>
                  <a:lnTo>
                    <a:pt x="140" y="8"/>
                  </a:lnTo>
                  <a:lnTo>
                    <a:pt x="102" y="14"/>
                  </a:lnTo>
                  <a:lnTo>
                    <a:pt x="86" y="14"/>
                  </a:lnTo>
                  <a:lnTo>
                    <a:pt x="74" y="20"/>
                  </a:lnTo>
                  <a:lnTo>
                    <a:pt x="70" y="56"/>
                  </a:lnTo>
                  <a:lnTo>
                    <a:pt x="70" y="94"/>
                  </a:lnTo>
                  <a:lnTo>
                    <a:pt x="52" y="128"/>
                  </a:lnTo>
                  <a:lnTo>
                    <a:pt x="60" y="130"/>
                  </a:lnTo>
                  <a:lnTo>
                    <a:pt x="100" y="128"/>
                  </a:lnTo>
                  <a:lnTo>
                    <a:pt x="96" y="142"/>
                  </a:lnTo>
                  <a:lnTo>
                    <a:pt x="90" y="148"/>
                  </a:lnTo>
                  <a:lnTo>
                    <a:pt x="100" y="158"/>
                  </a:lnTo>
                  <a:lnTo>
                    <a:pt x="110" y="154"/>
                  </a:lnTo>
                  <a:lnTo>
                    <a:pt x="122" y="158"/>
                  </a:lnTo>
                  <a:lnTo>
                    <a:pt x="138" y="168"/>
                  </a:lnTo>
                  <a:lnTo>
                    <a:pt x="190" y="184"/>
                  </a:lnTo>
                  <a:lnTo>
                    <a:pt x="208" y="226"/>
                  </a:lnTo>
                  <a:lnTo>
                    <a:pt x="180" y="244"/>
                  </a:lnTo>
                  <a:lnTo>
                    <a:pt x="146" y="254"/>
                  </a:lnTo>
                  <a:lnTo>
                    <a:pt x="150" y="272"/>
                  </a:lnTo>
                  <a:lnTo>
                    <a:pt x="136" y="316"/>
                  </a:lnTo>
                  <a:lnTo>
                    <a:pt x="118" y="320"/>
                  </a:lnTo>
                  <a:lnTo>
                    <a:pt x="118" y="332"/>
                  </a:lnTo>
                  <a:lnTo>
                    <a:pt x="100" y="366"/>
                  </a:lnTo>
                  <a:lnTo>
                    <a:pt x="66" y="354"/>
                  </a:lnTo>
                  <a:lnTo>
                    <a:pt x="68" y="382"/>
                  </a:lnTo>
                  <a:lnTo>
                    <a:pt x="74" y="436"/>
                  </a:lnTo>
                  <a:lnTo>
                    <a:pt x="40" y="462"/>
                  </a:lnTo>
                  <a:lnTo>
                    <a:pt x="48" y="490"/>
                  </a:lnTo>
                  <a:lnTo>
                    <a:pt x="60" y="492"/>
                  </a:lnTo>
                  <a:lnTo>
                    <a:pt x="32" y="508"/>
                  </a:lnTo>
                  <a:lnTo>
                    <a:pt x="2" y="534"/>
                  </a:lnTo>
                  <a:lnTo>
                    <a:pt x="0" y="568"/>
                  </a:lnTo>
                  <a:lnTo>
                    <a:pt x="40" y="588"/>
                  </a:lnTo>
                  <a:lnTo>
                    <a:pt x="54" y="610"/>
                  </a:lnTo>
                  <a:lnTo>
                    <a:pt x="52" y="632"/>
                  </a:lnTo>
                  <a:lnTo>
                    <a:pt x="62" y="676"/>
                  </a:lnTo>
                  <a:lnTo>
                    <a:pt x="82" y="708"/>
                  </a:lnTo>
                  <a:lnTo>
                    <a:pt x="110" y="708"/>
                  </a:lnTo>
                  <a:lnTo>
                    <a:pt x="150" y="688"/>
                  </a:lnTo>
                  <a:lnTo>
                    <a:pt x="166" y="694"/>
                  </a:lnTo>
                  <a:lnTo>
                    <a:pt x="186" y="684"/>
                  </a:lnTo>
                  <a:lnTo>
                    <a:pt x="186" y="686"/>
                  </a:lnTo>
                  <a:lnTo>
                    <a:pt x="206" y="686"/>
                  </a:lnTo>
                  <a:lnTo>
                    <a:pt x="294" y="712"/>
                  </a:lnTo>
                  <a:lnTo>
                    <a:pt x="316" y="720"/>
                  </a:lnTo>
                  <a:lnTo>
                    <a:pt x="328" y="716"/>
                  </a:lnTo>
                  <a:lnTo>
                    <a:pt x="340" y="720"/>
                  </a:lnTo>
                  <a:lnTo>
                    <a:pt x="356" y="728"/>
                  </a:lnTo>
                  <a:lnTo>
                    <a:pt x="384" y="696"/>
                  </a:lnTo>
                  <a:lnTo>
                    <a:pt x="468" y="686"/>
                  </a:lnTo>
                  <a:lnTo>
                    <a:pt x="468" y="660"/>
                  </a:lnTo>
                  <a:lnTo>
                    <a:pt x="492" y="632"/>
                  </a:lnTo>
                  <a:lnTo>
                    <a:pt x="554" y="606"/>
                  </a:lnTo>
                  <a:lnTo>
                    <a:pt x="536" y="568"/>
                  </a:lnTo>
                  <a:lnTo>
                    <a:pt x="540" y="524"/>
                  </a:lnTo>
                  <a:lnTo>
                    <a:pt x="576" y="490"/>
                  </a:lnTo>
                  <a:lnTo>
                    <a:pt x="582" y="486"/>
                  </a:lnTo>
                  <a:lnTo>
                    <a:pt x="592" y="480"/>
                  </a:lnTo>
                  <a:lnTo>
                    <a:pt x="610" y="464"/>
                  </a:lnTo>
                  <a:lnTo>
                    <a:pt x="646" y="444"/>
                  </a:lnTo>
                  <a:lnTo>
                    <a:pt x="646" y="428"/>
                  </a:lnTo>
                  <a:lnTo>
                    <a:pt x="672" y="418"/>
                  </a:lnTo>
                  <a:lnTo>
                    <a:pt x="742" y="412"/>
                  </a:lnTo>
                  <a:lnTo>
                    <a:pt x="802" y="392"/>
                  </a:lnTo>
                  <a:lnTo>
                    <a:pt x="826" y="374"/>
                  </a:lnTo>
                  <a:lnTo>
                    <a:pt x="834" y="352"/>
                  </a:lnTo>
                  <a:lnTo>
                    <a:pt x="832" y="334"/>
                  </a:lnTo>
                  <a:lnTo>
                    <a:pt x="810" y="326"/>
                  </a:lnTo>
                  <a:lnTo>
                    <a:pt x="788" y="326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26" name="Freeform 301"/>
            <p:cNvSpPr>
              <a:spLocks/>
            </p:cNvSpPr>
            <p:nvPr/>
          </p:nvSpPr>
          <p:spPr bwMode="auto">
            <a:xfrm>
              <a:off x="2343902" y="5270310"/>
              <a:ext cx="38100" cy="31750"/>
            </a:xfrm>
            <a:custGeom>
              <a:avLst/>
              <a:gdLst>
                <a:gd name="T0" fmla="*/ 55443445 w 24"/>
                <a:gd name="T1" fmla="*/ 15120938 h 20"/>
                <a:gd name="T2" fmla="*/ 30241878 w 24"/>
                <a:gd name="T3" fmla="*/ 0 h 20"/>
                <a:gd name="T4" fmla="*/ 30241878 w 24"/>
                <a:gd name="T5" fmla="*/ 0 h 20"/>
                <a:gd name="T6" fmla="*/ 20161250 w 24"/>
                <a:gd name="T7" fmla="*/ 0 h 20"/>
                <a:gd name="T8" fmla="*/ 20161250 w 24"/>
                <a:gd name="T9" fmla="*/ 0 h 20"/>
                <a:gd name="T10" fmla="*/ 10080625 w 24"/>
                <a:gd name="T11" fmla="*/ 10080624 h 20"/>
                <a:gd name="T12" fmla="*/ 10080625 w 24"/>
                <a:gd name="T13" fmla="*/ 10080624 h 20"/>
                <a:gd name="T14" fmla="*/ 0 w 24"/>
                <a:gd name="T15" fmla="*/ 15120938 h 20"/>
                <a:gd name="T16" fmla="*/ 0 w 24"/>
                <a:gd name="T17" fmla="*/ 20161249 h 20"/>
                <a:gd name="T18" fmla="*/ 0 w 24"/>
                <a:gd name="T19" fmla="*/ 20161249 h 20"/>
                <a:gd name="T20" fmla="*/ 0 w 24"/>
                <a:gd name="T21" fmla="*/ 35282186 h 20"/>
                <a:gd name="T22" fmla="*/ 0 w 24"/>
                <a:gd name="T23" fmla="*/ 45362808 h 20"/>
                <a:gd name="T24" fmla="*/ 0 w 24"/>
                <a:gd name="T25" fmla="*/ 45362808 h 20"/>
                <a:gd name="T26" fmla="*/ 5040312 w 24"/>
                <a:gd name="T27" fmla="*/ 45362808 h 20"/>
                <a:gd name="T28" fmla="*/ 15120939 w 24"/>
                <a:gd name="T29" fmla="*/ 50403118 h 20"/>
                <a:gd name="T30" fmla="*/ 15120939 w 24"/>
                <a:gd name="T31" fmla="*/ 50403118 h 20"/>
                <a:gd name="T32" fmla="*/ 50403121 w 24"/>
                <a:gd name="T33" fmla="*/ 40322497 h 20"/>
                <a:gd name="T34" fmla="*/ 50403121 w 24"/>
                <a:gd name="T35" fmla="*/ 40322497 h 20"/>
                <a:gd name="T36" fmla="*/ 55443445 w 24"/>
                <a:gd name="T37" fmla="*/ 30241876 h 20"/>
                <a:gd name="T38" fmla="*/ 60483756 w 24"/>
                <a:gd name="T39" fmla="*/ 15120938 h 20"/>
                <a:gd name="T40" fmla="*/ 55443445 w 24"/>
                <a:gd name="T41" fmla="*/ 15120938 h 2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4"/>
                <a:gd name="T64" fmla="*/ 0 h 20"/>
                <a:gd name="T65" fmla="*/ 24 w 24"/>
                <a:gd name="T66" fmla="*/ 20 h 2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4" h="20">
                  <a:moveTo>
                    <a:pt x="22" y="6"/>
                  </a:moveTo>
                  <a:lnTo>
                    <a:pt x="12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6" y="20"/>
                  </a:lnTo>
                  <a:lnTo>
                    <a:pt x="20" y="16"/>
                  </a:lnTo>
                  <a:lnTo>
                    <a:pt x="22" y="12"/>
                  </a:lnTo>
                  <a:lnTo>
                    <a:pt x="24" y="6"/>
                  </a:lnTo>
                  <a:lnTo>
                    <a:pt x="22" y="6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27" name="Freeform 193"/>
            <p:cNvSpPr>
              <a:spLocks/>
            </p:cNvSpPr>
            <p:nvPr/>
          </p:nvSpPr>
          <p:spPr bwMode="auto">
            <a:xfrm>
              <a:off x="4156827" y="5016310"/>
              <a:ext cx="423862" cy="549275"/>
            </a:xfrm>
            <a:custGeom>
              <a:avLst/>
              <a:gdLst>
                <a:gd name="T0" fmla="*/ 607356067 w 267"/>
                <a:gd name="T1" fmla="*/ 604837485 h 346"/>
                <a:gd name="T2" fmla="*/ 612396371 w 267"/>
                <a:gd name="T3" fmla="*/ 428426610 h 346"/>
                <a:gd name="T4" fmla="*/ 597275458 w 267"/>
                <a:gd name="T5" fmla="*/ 357862160 h 346"/>
                <a:gd name="T6" fmla="*/ 582154546 w 267"/>
                <a:gd name="T7" fmla="*/ 322579985 h 346"/>
                <a:gd name="T8" fmla="*/ 506549982 w 267"/>
                <a:gd name="T9" fmla="*/ 357862160 h 346"/>
                <a:gd name="T10" fmla="*/ 461187244 w 267"/>
                <a:gd name="T11" fmla="*/ 337700918 h 346"/>
                <a:gd name="T12" fmla="*/ 395663189 w 267"/>
                <a:gd name="T13" fmla="*/ 302418743 h 346"/>
                <a:gd name="T14" fmla="*/ 395663189 w 267"/>
                <a:gd name="T15" fmla="*/ 216733460 h 346"/>
                <a:gd name="T16" fmla="*/ 289816800 w 267"/>
                <a:gd name="T17" fmla="*/ 105846575 h 346"/>
                <a:gd name="T18" fmla="*/ 173889752 w 267"/>
                <a:gd name="T19" fmla="*/ 0 h 346"/>
                <a:gd name="T20" fmla="*/ 88204555 w 267"/>
                <a:gd name="T21" fmla="*/ 30241877 h 346"/>
                <a:gd name="T22" fmla="*/ 0 w 267"/>
                <a:gd name="T23" fmla="*/ 55443443 h 346"/>
                <a:gd name="T24" fmla="*/ 7559666 w 267"/>
                <a:gd name="T25" fmla="*/ 141128750 h 346"/>
                <a:gd name="T26" fmla="*/ 27720892 w 267"/>
                <a:gd name="T27" fmla="*/ 292338121 h 346"/>
                <a:gd name="T28" fmla="*/ 68043338 w 267"/>
                <a:gd name="T29" fmla="*/ 332660607 h 346"/>
                <a:gd name="T30" fmla="*/ 42841805 w 267"/>
                <a:gd name="T31" fmla="*/ 367942782 h 346"/>
                <a:gd name="T32" fmla="*/ 37801501 w 267"/>
                <a:gd name="T33" fmla="*/ 418345988 h 346"/>
                <a:gd name="T34" fmla="*/ 108365797 w 267"/>
                <a:gd name="T35" fmla="*/ 468749096 h 346"/>
                <a:gd name="T36" fmla="*/ 98285164 w 267"/>
                <a:gd name="T37" fmla="*/ 574595621 h 346"/>
                <a:gd name="T38" fmla="*/ 78123947 w 267"/>
                <a:gd name="T39" fmla="*/ 619958417 h 346"/>
                <a:gd name="T40" fmla="*/ 118446406 w 267"/>
                <a:gd name="T41" fmla="*/ 670361524 h 346"/>
                <a:gd name="T42" fmla="*/ 163809144 w 267"/>
                <a:gd name="T43" fmla="*/ 690522767 h 346"/>
                <a:gd name="T44" fmla="*/ 214212236 w 267"/>
                <a:gd name="T45" fmla="*/ 720764632 h 346"/>
                <a:gd name="T46" fmla="*/ 234373453 w 267"/>
                <a:gd name="T47" fmla="*/ 745966185 h 346"/>
                <a:gd name="T48" fmla="*/ 269655583 w 267"/>
                <a:gd name="T49" fmla="*/ 710684010 h 346"/>
                <a:gd name="T50" fmla="*/ 289816800 w 267"/>
                <a:gd name="T51" fmla="*/ 690522767 h 346"/>
                <a:gd name="T52" fmla="*/ 309978017 w 267"/>
                <a:gd name="T53" fmla="*/ 655240592 h 346"/>
                <a:gd name="T54" fmla="*/ 365421364 w 267"/>
                <a:gd name="T55" fmla="*/ 685482457 h 346"/>
                <a:gd name="T56" fmla="*/ 420864810 w 267"/>
                <a:gd name="T57" fmla="*/ 745966185 h 346"/>
                <a:gd name="T58" fmla="*/ 446066331 w 267"/>
                <a:gd name="T59" fmla="*/ 771167739 h 346"/>
                <a:gd name="T60" fmla="*/ 471267852 w 267"/>
                <a:gd name="T61" fmla="*/ 801409603 h 346"/>
                <a:gd name="T62" fmla="*/ 446066331 w 267"/>
                <a:gd name="T63" fmla="*/ 846772598 h 346"/>
                <a:gd name="T64" fmla="*/ 501509678 w 267"/>
                <a:gd name="T65" fmla="*/ 856853220 h 346"/>
                <a:gd name="T66" fmla="*/ 647678501 w 267"/>
                <a:gd name="T67" fmla="*/ 725804942 h 346"/>
                <a:gd name="T68" fmla="*/ 637597892 w 267"/>
                <a:gd name="T69" fmla="*/ 619958417 h 34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67"/>
                <a:gd name="T106" fmla="*/ 0 h 346"/>
                <a:gd name="T107" fmla="*/ 267 w 267"/>
                <a:gd name="T108" fmla="*/ 346 h 34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67" h="346">
                  <a:moveTo>
                    <a:pt x="253" y="246"/>
                  </a:moveTo>
                  <a:lnTo>
                    <a:pt x="241" y="240"/>
                  </a:lnTo>
                  <a:lnTo>
                    <a:pt x="227" y="218"/>
                  </a:lnTo>
                  <a:lnTo>
                    <a:pt x="243" y="170"/>
                  </a:lnTo>
                  <a:lnTo>
                    <a:pt x="229" y="148"/>
                  </a:lnTo>
                  <a:lnTo>
                    <a:pt x="237" y="142"/>
                  </a:lnTo>
                  <a:lnTo>
                    <a:pt x="245" y="144"/>
                  </a:lnTo>
                  <a:lnTo>
                    <a:pt x="231" y="128"/>
                  </a:lnTo>
                  <a:lnTo>
                    <a:pt x="215" y="138"/>
                  </a:lnTo>
                  <a:lnTo>
                    <a:pt x="201" y="142"/>
                  </a:lnTo>
                  <a:lnTo>
                    <a:pt x="195" y="134"/>
                  </a:lnTo>
                  <a:lnTo>
                    <a:pt x="183" y="134"/>
                  </a:lnTo>
                  <a:lnTo>
                    <a:pt x="173" y="128"/>
                  </a:lnTo>
                  <a:lnTo>
                    <a:pt x="157" y="120"/>
                  </a:lnTo>
                  <a:lnTo>
                    <a:pt x="159" y="104"/>
                  </a:lnTo>
                  <a:lnTo>
                    <a:pt x="157" y="86"/>
                  </a:lnTo>
                  <a:lnTo>
                    <a:pt x="129" y="68"/>
                  </a:lnTo>
                  <a:lnTo>
                    <a:pt x="115" y="42"/>
                  </a:lnTo>
                  <a:lnTo>
                    <a:pt x="87" y="6"/>
                  </a:lnTo>
                  <a:lnTo>
                    <a:pt x="69" y="0"/>
                  </a:lnTo>
                  <a:lnTo>
                    <a:pt x="45" y="0"/>
                  </a:lnTo>
                  <a:lnTo>
                    <a:pt x="35" y="12"/>
                  </a:lnTo>
                  <a:lnTo>
                    <a:pt x="11" y="18"/>
                  </a:lnTo>
                  <a:lnTo>
                    <a:pt x="0" y="22"/>
                  </a:lnTo>
                  <a:lnTo>
                    <a:pt x="0" y="28"/>
                  </a:lnTo>
                  <a:lnTo>
                    <a:pt x="3" y="56"/>
                  </a:lnTo>
                  <a:lnTo>
                    <a:pt x="35" y="84"/>
                  </a:lnTo>
                  <a:lnTo>
                    <a:pt x="11" y="116"/>
                  </a:lnTo>
                  <a:lnTo>
                    <a:pt x="31" y="114"/>
                  </a:lnTo>
                  <a:lnTo>
                    <a:pt x="27" y="132"/>
                  </a:lnTo>
                  <a:lnTo>
                    <a:pt x="19" y="144"/>
                  </a:lnTo>
                  <a:lnTo>
                    <a:pt x="17" y="146"/>
                  </a:lnTo>
                  <a:lnTo>
                    <a:pt x="15" y="162"/>
                  </a:lnTo>
                  <a:lnTo>
                    <a:pt x="15" y="166"/>
                  </a:lnTo>
                  <a:lnTo>
                    <a:pt x="23" y="170"/>
                  </a:lnTo>
                  <a:lnTo>
                    <a:pt x="43" y="186"/>
                  </a:lnTo>
                  <a:lnTo>
                    <a:pt x="23" y="198"/>
                  </a:lnTo>
                  <a:lnTo>
                    <a:pt x="39" y="228"/>
                  </a:lnTo>
                  <a:lnTo>
                    <a:pt x="25" y="240"/>
                  </a:lnTo>
                  <a:lnTo>
                    <a:pt x="31" y="246"/>
                  </a:lnTo>
                  <a:lnTo>
                    <a:pt x="39" y="254"/>
                  </a:lnTo>
                  <a:lnTo>
                    <a:pt x="47" y="266"/>
                  </a:lnTo>
                  <a:lnTo>
                    <a:pt x="57" y="266"/>
                  </a:lnTo>
                  <a:lnTo>
                    <a:pt x="65" y="274"/>
                  </a:lnTo>
                  <a:lnTo>
                    <a:pt x="75" y="280"/>
                  </a:lnTo>
                  <a:lnTo>
                    <a:pt x="85" y="286"/>
                  </a:lnTo>
                  <a:lnTo>
                    <a:pt x="91" y="288"/>
                  </a:lnTo>
                  <a:lnTo>
                    <a:pt x="93" y="296"/>
                  </a:lnTo>
                  <a:lnTo>
                    <a:pt x="107" y="292"/>
                  </a:lnTo>
                  <a:lnTo>
                    <a:pt x="107" y="282"/>
                  </a:lnTo>
                  <a:lnTo>
                    <a:pt x="111" y="282"/>
                  </a:lnTo>
                  <a:lnTo>
                    <a:pt x="115" y="274"/>
                  </a:lnTo>
                  <a:lnTo>
                    <a:pt x="115" y="266"/>
                  </a:lnTo>
                  <a:lnTo>
                    <a:pt x="123" y="260"/>
                  </a:lnTo>
                  <a:lnTo>
                    <a:pt x="133" y="266"/>
                  </a:lnTo>
                  <a:lnTo>
                    <a:pt x="145" y="272"/>
                  </a:lnTo>
                  <a:lnTo>
                    <a:pt x="155" y="288"/>
                  </a:lnTo>
                  <a:lnTo>
                    <a:pt x="167" y="296"/>
                  </a:lnTo>
                  <a:lnTo>
                    <a:pt x="169" y="304"/>
                  </a:lnTo>
                  <a:lnTo>
                    <a:pt x="177" y="306"/>
                  </a:lnTo>
                  <a:lnTo>
                    <a:pt x="187" y="310"/>
                  </a:lnTo>
                  <a:lnTo>
                    <a:pt x="187" y="318"/>
                  </a:lnTo>
                  <a:lnTo>
                    <a:pt x="183" y="326"/>
                  </a:lnTo>
                  <a:lnTo>
                    <a:pt x="177" y="336"/>
                  </a:lnTo>
                  <a:lnTo>
                    <a:pt x="177" y="346"/>
                  </a:lnTo>
                  <a:lnTo>
                    <a:pt x="199" y="340"/>
                  </a:lnTo>
                  <a:lnTo>
                    <a:pt x="227" y="340"/>
                  </a:lnTo>
                  <a:lnTo>
                    <a:pt x="257" y="288"/>
                  </a:lnTo>
                  <a:lnTo>
                    <a:pt x="267" y="264"/>
                  </a:lnTo>
                  <a:lnTo>
                    <a:pt x="253" y="246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28" name="Freeform 194"/>
            <p:cNvSpPr>
              <a:spLocks/>
            </p:cNvSpPr>
            <p:nvPr/>
          </p:nvSpPr>
          <p:spPr bwMode="auto">
            <a:xfrm>
              <a:off x="4109202" y="5397310"/>
              <a:ext cx="195262" cy="228600"/>
            </a:xfrm>
            <a:custGeom>
              <a:avLst/>
              <a:gdLst>
                <a:gd name="T0" fmla="*/ 254534372 w 123"/>
                <a:gd name="T1" fmla="*/ 166330292 h 144"/>
                <a:gd name="T2" fmla="*/ 264614968 w 123"/>
                <a:gd name="T3" fmla="*/ 161289981 h 144"/>
                <a:gd name="T4" fmla="*/ 279735864 w 123"/>
                <a:gd name="T5" fmla="*/ 161289981 h 144"/>
                <a:gd name="T6" fmla="*/ 294856759 w 123"/>
                <a:gd name="T7" fmla="*/ 151209361 h 144"/>
                <a:gd name="T8" fmla="*/ 309977654 w 123"/>
                <a:gd name="T9" fmla="*/ 141128740 h 144"/>
                <a:gd name="T10" fmla="*/ 304937355 w 123"/>
                <a:gd name="T11" fmla="*/ 120967498 h 144"/>
                <a:gd name="T12" fmla="*/ 289816460 w 123"/>
                <a:gd name="T13" fmla="*/ 115927188 h 144"/>
                <a:gd name="T14" fmla="*/ 264614968 w 123"/>
                <a:gd name="T15" fmla="*/ 100806232 h 144"/>
                <a:gd name="T16" fmla="*/ 239413477 w 123"/>
                <a:gd name="T17" fmla="*/ 85685301 h 144"/>
                <a:gd name="T18" fmla="*/ 219252283 w 123"/>
                <a:gd name="T19" fmla="*/ 65524060 h 144"/>
                <a:gd name="T20" fmla="*/ 194050742 w 123"/>
                <a:gd name="T21" fmla="*/ 65524060 h 144"/>
                <a:gd name="T22" fmla="*/ 173889549 w 123"/>
                <a:gd name="T23" fmla="*/ 35282185 h 144"/>
                <a:gd name="T24" fmla="*/ 153728355 w 123"/>
                <a:gd name="T25" fmla="*/ 15120937 h 144"/>
                <a:gd name="T26" fmla="*/ 138607460 w 123"/>
                <a:gd name="T27" fmla="*/ 0 h 144"/>
                <a:gd name="T28" fmla="*/ 138607460 w 123"/>
                <a:gd name="T29" fmla="*/ 5040312 h 144"/>
                <a:gd name="T30" fmla="*/ 98285049 w 123"/>
                <a:gd name="T31" fmla="*/ 50403116 h 144"/>
                <a:gd name="T32" fmla="*/ 65523903 w 123"/>
                <a:gd name="T33" fmla="*/ 25201558 h 144"/>
                <a:gd name="T34" fmla="*/ 10080600 w 123"/>
                <a:gd name="T35" fmla="*/ 105846567 h 144"/>
                <a:gd name="T36" fmla="*/ 0 w 123"/>
                <a:gd name="T37" fmla="*/ 201612464 h 144"/>
                <a:gd name="T38" fmla="*/ 5040300 w 123"/>
                <a:gd name="T39" fmla="*/ 226814066 h 144"/>
                <a:gd name="T40" fmla="*/ 25201498 w 123"/>
                <a:gd name="T41" fmla="*/ 231854376 h 144"/>
                <a:gd name="T42" fmla="*/ 25201498 w 123"/>
                <a:gd name="T43" fmla="*/ 246975307 h 144"/>
                <a:gd name="T44" fmla="*/ 70564202 w 123"/>
                <a:gd name="T45" fmla="*/ 292338100 h 144"/>
                <a:gd name="T46" fmla="*/ 148688057 w 123"/>
                <a:gd name="T47" fmla="*/ 362902445 h 144"/>
                <a:gd name="T48" fmla="*/ 153728355 w 123"/>
                <a:gd name="T49" fmla="*/ 327620273 h 144"/>
                <a:gd name="T50" fmla="*/ 138607460 w 123"/>
                <a:gd name="T51" fmla="*/ 282257480 h 144"/>
                <a:gd name="T52" fmla="*/ 178929847 w 123"/>
                <a:gd name="T53" fmla="*/ 221773755 h 144"/>
                <a:gd name="T54" fmla="*/ 264614968 w 123"/>
                <a:gd name="T55" fmla="*/ 201612464 h 144"/>
                <a:gd name="T56" fmla="*/ 264614968 w 123"/>
                <a:gd name="T57" fmla="*/ 181451223 h 144"/>
                <a:gd name="T58" fmla="*/ 254534372 w 123"/>
                <a:gd name="T59" fmla="*/ 166330292 h 14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23"/>
                <a:gd name="T91" fmla="*/ 0 h 144"/>
                <a:gd name="T92" fmla="*/ 123 w 123"/>
                <a:gd name="T93" fmla="*/ 144 h 14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23" h="144">
                  <a:moveTo>
                    <a:pt x="101" y="66"/>
                  </a:moveTo>
                  <a:lnTo>
                    <a:pt x="105" y="64"/>
                  </a:lnTo>
                  <a:lnTo>
                    <a:pt x="111" y="64"/>
                  </a:lnTo>
                  <a:lnTo>
                    <a:pt x="117" y="60"/>
                  </a:lnTo>
                  <a:lnTo>
                    <a:pt x="123" y="56"/>
                  </a:lnTo>
                  <a:lnTo>
                    <a:pt x="121" y="48"/>
                  </a:lnTo>
                  <a:lnTo>
                    <a:pt x="115" y="46"/>
                  </a:lnTo>
                  <a:lnTo>
                    <a:pt x="105" y="40"/>
                  </a:lnTo>
                  <a:lnTo>
                    <a:pt x="95" y="34"/>
                  </a:lnTo>
                  <a:lnTo>
                    <a:pt x="87" y="26"/>
                  </a:lnTo>
                  <a:lnTo>
                    <a:pt x="77" y="26"/>
                  </a:lnTo>
                  <a:lnTo>
                    <a:pt x="69" y="14"/>
                  </a:lnTo>
                  <a:lnTo>
                    <a:pt x="61" y="6"/>
                  </a:lnTo>
                  <a:lnTo>
                    <a:pt x="55" y="0"/>
                  </a:lnTo>
                  <a:lnTo>
                    <a:pt x="55" y="2"/>
                  </a:lnTo>
                  <a:lnTo>
                    <a:pt x="39" y="20"/>
                  </a:lnTo>
                  <a:lnTo>
                    <a:pt x="26" y="10"/>
                  </a:lnTo>
                  <a:lnTo>
                    <a:pt x="4" y="42"/>
                  </a:lnTo>
                  <a:lnTo>
                    <a:pt x="0" y="80"/>
                  </a:lnTo>
                  <a:lnTo>
                    <a:pt x="2" y="90"/>
                  </a:lnTo>
                  <a:lnTo>
                    <a:pt x="10" y="92"/>
                  </a:lnTo>
                  <a:lnTo>
                    <a:pt x="10" y="98"/>
                  </a:lnTo>
                  <a:lnTo>
                    <a:pt x="28" y="116"/>
                  </a:lnTo>
                  <a:lnTo>
                    <a:pt x="59" y="144"/>
                  </a:lnTo>
                  <a:lnTo>
                    <a:pt x="61" y="130"/>
                  </a:lnTo>
                  <a:lnTo>
                    <a:pt x="55" y="112"/>
                  </a:lnTo>
                  <a:lnTo>
                    <a:pt x="71" y="88"/>
                  </a:lnTo>
                  <a:lnTo>
                    <a:pt x="105" y="80"/>
                  </a:lnTo>
                  <a:lnTo>
                    <a:pt x="105" y="72"/>
                  </a:lnTo>
                  <a:lnTo>
                    <a:pt x="101" y="66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29" name="Freeform 195"/>
            <p:cNvSpPr>
              <a:spLocks/>
            </p:cNvSpPr>
            <p:nvPr/>
          </p:nvSpPr>
          <p:spPr bwMode="auto">
            <a:xfrm>
              <a:off x="4269539" y="5429060"/>
              <a:ext cx="184150" cy="193675"/>
            </a:xfrm>
            <a:custGeom>
              <a:avLst/>
              <a:gdLst>
                <a:gd name="T0" fmla="*/ 282257525 w 116"/>
                <a:gd name="T1" fmla="*/ 166330321 h 122"/>
                <a:gd name="T2" fmla="*/ 292338147 w 116"/>
                <a:gd name="T3" fmla="*/ 146169076 h 122"/>
                <a:gd name="T4" fmla="*/ 292338147 w 116"/>
                <a:gd name="T5" fmla="*/ 126007831 h 122"/>
                <a:gd name="T6" fmla="*/ 267136591 w 116"/>
                <a:gd name="T7" fmla="*/ 115927208 h 122"/>
                <a:gd name="T8" fmla="*/ 246975347 w 116"/>
                <a:gd name="T9" fmla="*/ 110886897 h 122"/>
                <a:gd name="T10" fmla="*/ 241935036 w 116"/>
                <a:gd name="T11" fmla="*/ 90725627 h 122"/>
                <a:gd name="T12" fmla="*/ 211693169 w 116"/>
                <a:gd name="T13" fmla="*/ 70564382 h 122"/>
                <a:gd name="T14" fmla="*/ 186491563 w 116"/>
                <a:gd name="T15" fmla="*/ 30241880 h 122"/>
                <a:gd name="T16" fmla="*/ 156249696 w 116"/>
                <a:gd name="T17" fmla="*/ 15120940 h 122"/>
                <a:gd name="T18" fmla="*/ 131048140 w 116"/>
                <a:gd name="T19" fmla="*/ 0 h 122"/>
                <a:gd name="T20" fmla="*/ 110886895 w 116"/>
                <a:gd name="T21" fmla="*/ 15120940 h 122"/>
                <a:gd name="T22" fmla="*/ 110886895 w 116"/>
                <a:gd name="T23" fmla="*/ 35282191 h 122"/>
                <a:gd name="T24" fmla="*/ 100806248 w 116"/>
                <a:gd name="T25" fmla="*/ 55443448 h 122"/>
                <a:gd name="T26" fmla="*/ 90725626 w 116"/>
                <a:gd name="T27" fmla="*/ 55443448 h 122"/>
                <a:gd name="T28" fmla="*/ 90725626 w 116"/>
                <a:gd name="T29" fmla="*/ 80645005 h 122"/>
                <a:gd name="T30" fmla="*/ 55443448 w 116"/>
                <a:gd name="T31" fmla="*/ 90725627 h 122"/>
                <a:gd name="T32" fmla="*/ 40322502 w 116"/>
                <a:gd name="T33" fmla="*/ 100806250 h 122"/>
                <a:gd name="T34" fmla="*/ 25201562 w 116"/>
                <a:gd name="T35" fmla="*/ 110886897 h 122"/>
                <a:gd name="T36" fmla="*/ 10080625 w 116"/>
                <a:gd name="T37" fmla="*/ 110886897 h 122"/>
                <a:gd name="T38" fmla="*/ 0 w 116"/>
                <a:gd name="T39" fmla="*/ 115927208 h 122"/>
                <a:gd name="T40" fmla="*/ 10080625 w 116"/>
                <a:gd name="T41" fmla="*/ 131048142 h 122"/>
                <a:gd name="T42" fmla="*/ 10080625 w 116"/>
                <a:gd name="T43" fmla="*/ 151209387 h 122"/>
                <a:gd name="T44" fmla="*/ 80645004 w 116"/>
                <a:gd name="T45" fmla="*/ 221773794 h 122"/>
                <a:gd name="T46" fmla="*/ 100806248 w 116"/>
                <a:gd name="T47" fmla="*/ 307459085 h 122"/>
                <a:gd name="T48" fmla="*/ 176410941 w 116"/>
                <a:gd name="T49" fmla="*/ 257055972 h 122"/>
                <a:gd name="T50" fmla="*/ 252015658 w 116"/>
                <a:gd name="T51" fmla="*/ 221773794 h 122"/>
                <a:gd name="T52" fmla="*/ 267136591 w 116"/>
                <a:gd name="T53" fmla="*/ 216733483 h 122"/>
                <a:gd name="T54" fmla="*/ 267136591 w 116"/>
                <a:gd name="T55" fmla="*/ 191531877 h 122"/>
                <a:gd name="T56" fmla="*/ 282257525 w 116"/>
                <a:gd name="T57" fmla="*/ 166330321 h 12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16"/>
                <a:gd name="T88" fmla="*/ 0 h 122"/>
                <a:gd name="T89" fmla="*/ 116 w 116"/>
                <a:gd name="T90" fmla="*/ 122 h 122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16" h="122">
                  <a:moveTo>
                    <a:pt x="112" y="66"/>
                  </a:moveTo>
                  <a:lnTo>
                    <a:pt x="116" y="58"/>
                  </a:lnTo>
                  <a:lnTo>
                    <a:pt x="116" y="50"/>
                  </a:lnTo>
                  <a:lnTo>
                    <a:pt x="106" y="46"/>
                  </a:lnTo>
                  <a:lnTo>
                    <a:pt x="98" y="44"/>
                  </a:lnTo>
                  <a:lnTo>
                    <a:pt x="96" y="36"/>
                  </a:lnTo>
                  <a:lnTo>
                    <a:pt x="84" y="28"/>
                  </a:lnTo>
                  <a:lnTo>
                    <a:pt x="74" y="12"/>
                  </a:lnTo>
                  <a:lnTo>
                    <a:pt x="62" y="6"/>
                  </a:lnTo>
                  <a:lnTo>
                    <a:pt x="52" y="0"/>
                  </a:lnTo>
                  <a:lnTo>
                    <a:pt x="44" y="6"/>
                  </a:lnTo>
                  <a:lnTo>
                    <a:pt x="44" y="14"/>
                  </a:lnTo>
                  <a:lnTo>
                    <a:pt x="40" y="22"/>
                  </a:lnTo>
                  <a:lnTo>
                    <a:pt x="36" y="22"/>
                  </a:lnTo>
                  <a:lnTo>
                    <a:pt x="36" y="32"/>
                  </a:lnTo>
                  <a:lnTo>
                    <a:pt x="22" y="36"/>
                  </a:lnTo>
                  <a:lnTo>
                    <a:pt x="16" y="40"/>
                  </a:lnTo>
                  <a:lnTo>
                    <a:pt x="10" y="44"/>
                  </a:lnTo>
                  <a:lnTo>
                    <a:pt x="4" y="44"/>
                  </a:lnTo>
                  <a:lnTo>
                    <a:pt x="0" y="46"/>
                  </a:lnTo>
                  <a:lnTo>
                    <a:pt x="4" y="52"/>
                  </a:lnTo>
                  <a:lnTo>
                    <a:pt x="4" y="60"/>
                  </a:lnTo>
                  <a:lnTo>
                    <a:pt x="32" y="88"/>
                  </a:lnTo>
                  <a:lnTo>
                    <a:pt x="40" y="122"/>
                  </a:lnTo>
                  <a:lnTo>
                    <a:pt x="70" y="102"/>
                  </a:lnTo>
                  <a:lnTo>
                    <a:pt x="100" y="88"/>
                  </a:lnTo>
                  <a:lnTo>
                    <a:pt x="106" y="86"/>
                  </a:lnTo>
                  <a:lnTo>
                    <a:pt x="106" y="76"/>
                  </a:lnTo>
                  <a:lnTo>
                    <a:pt x="112" y="66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30" name="Freeform 196"/>
            <p:cNvSpPr>
              <a:spLocks/>
            </p:cNvSpPr>
            <p:nvPr/>
          </p:nvSpPr>
          <p:spPr bwMode="auto">
            <a:xfrm>
              <a:off x="4193339" y="5524310"/>
              <a:ext cx="187325" cy="406400"/>
            </a:xfrm>
            <a:custGeom>
              <a:avLst/>
              <a:gdLst>
                <a:gd name="T0" fmla="*/ 221773792 w 118"/>
                <a:gd name="T1" fmla="*/ 156249663 h 256"/>
                <a:gd name="T2" fmla="*/ 201612497 w 118"/>
                <a:gd name="T3" fmla="*/ 70564366 h 256"/>
                <a:gd name="T4" fmla="*/ 131048141 w 118"/>
                <a:gd name="T5" fmla="*/ 0 h 256"/>
                <a:gd name="T6" fmla="*/ 45362813 w 118"/>
                <a:gd name="T7" fmla="*/ 20161247 h 256"/>
                <a:gd name="T8" fmla="*/ 5040313 w 118"/>
                <a:gd name="T9" fmla="*/ 80644986 h 256"/>
                <a:gd name="T10" fmla="*/ 20161251 w 118"/>
                <a:gd name="T11" fmla="*/ 126007802 h 256"/>
                <a:gd name="T12" fmla="*/ 15120940 w 118"/>
                <a:gd name="T13" fmla="*/ 161289973 h 256"/>
                <a:gd name="T14" fmla="*/ 45362813 w 118"/>
                <a:gd name="T15" fmla="*/ 221773743 h 256"/>
                <a:gd name="T16" fmla="*/ 0 w 118"/>
                <a:gd name="T17" fmla="*/ 478829658 h 256"/>
                <a:gd name="T18" fmla="*/ 35282191 w 118"/>
                <a:gd name="T19" fmla="*/ 529232759 h 256"/>
                <a:gd name="T20" fmla="*/ 95765938 w 118"/>
                <a:gd name="T21" fmla="*/ 564514929 h 256"/>
                <a:gd name="T22" fmla="*/ 126007830 w 118"/>
                <a:gd name="T23" fmla="*/ 645159891 h 256"/>
                <a:gd name="T24" fmla="*/ 186491564 w 118"/>
                <a:gd name="T25" fmla="*/ 624998650 h 256"/>
                <a:gd name="T26" fmla="*/ 231854414 w 118"/>
                <a:gd name="T27" fmla="*/ 554434309 h 256"/>
                <a:gd name="T28" fmla="*/ 297378460 w 118"/>
                <a:gd name="T29" fmla="*/ 453628107 h 256"/>
                <a:gd name="T30" fmla="*/ 292338149 w 118"/>
                <a:gd name="T31" fmla="*/ 383063667 h 256"/>
                <a:gd name="T32" fmla="*/ 226814103 w 118"/>
                <a:gd name="T33" fmla="*/ 337700876 h 256"/>
                <a:gd name="T34" fmla="*/ 201612497 w 118"/>
                <a:gd name="T35" fmla="*/ 241934984 h 256"/>
                <a:gd name="T36" fmla="*/ 201612497 w 118"/>
                <a:gd name="T37" fmla="*/ 226814054 h 256"/>
                <a:gd name="T38" fmla="*/ 211693169 w 118"/>
                <a:gd name="T39" fmla="*/ 201612453 h 256"/>
                <a:gd name="T40" fmla="*/ 221773792 w 118"/>
                <a:gd name="T41" fmla="*/ 156249663 h 25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18"/>
                <a:gd name="T64" fmla="*/ 0 h 256"/>
                <a:gd name="T65" fmla="*/ 118 w 118"/>
                <a:gd name="T66" fmla="*/ 256 h 25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18" h="256">
                  <a:moveTo>
                    <a:pt x="88" y="62"/>
                  </a:moveTo>
                  <a:lnTo>
                    <a:pt x="80" y="28"/>
                  </a:lnTo>
                  <a:lnTo>
                    <a:pt x="52" y="0"/>
                  </a:lnTo>
                  <a:lnTo>
                    <a:pt x="18" y="8"/>
                  </a:lnTo>
                  <a:lnTo>
                    <a:pt x="2" y="32"/>
                  </a:lnTo>
                  <a:lnTo>
                    <a:pt x="8" y="50"/>
                  </a:lnTo>
                  <a:lnTo>
                    <a:pt x="6" y="64"/>
                  </a:lnTo>
                  <a:lnTo>
                    <a:pt x="18" y="88"/>
                  </a:lnTo>
                  <a:lnTo>
                    <a:pt x="0" y="190"/>
                  </a:lnTo>
                  <a:lnTo>
                    <a:pt x="14" y="210"/>
                  </a:lnTo>
                  <a:lnTo>
                    <a:pt x="38" y="224"/>
                  </a:lnTo>
                  <a:lnTo>
                    <a:pt x="50" y="256"/>
                  </a:lnTo>
                  <a:lnTo>
                    <a:pt x="74" y="248"/>
                  </a:lnTo>
                  <a:lnTo>
                    <a:pt x="92" y="220"/>
                  </a:lnTo>
                  <a:lnTo>
                    <a:pt x="118" y="180"/>
                  </a:lnTo>
                  <a:lnTo>
                    <a:pt x="116" y="152"/>
                  </a:lnTo>
                  <a:lnTo>
                    <a:pt x="90" y="134"/>
                  </a:lnTo>
                  <a:lnTo>
                    <a:pt x="80" y="96"/>
                  </a:lnTo>
                  <a:lnTo>
                    <a:pt x="80" y="90"/>
                  </a:lnTo>
                  <a:lnTo>
                    <a:pt x="84" y="80"/>
                  </a:lnTo>
                  <a:lnTo>
                    <a:pt x="88" y="62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31" name="Freeform 204"/>
            <p:cNvSpPr>
              <a:spLocks/>
            </p:cNvSpPr>
            <p:nvPr/>
          </p:nvSpPr>
          <p:spPr bwMode="auto">
            <a:xfrm>
              <a:off x="3632952" y="4908360"/>
              <a:ext cx="307975" cy="200025"/>
            </a:xfrm>
            <a:custGeom>
              <a:avLst/>
              <a:gdLst>
                <a:gd name="T0" fmla="*/ 398184661 w 194"/>
                <a:gd name="T1" fmla="*/ 45362814 h 126"/>
                <a:gd name="T2" fmla="*/ 342741241 w 194"/>
                <a:gd name="T3" fmla="*/ 35282191 h 126"/>
                <a:gd name="T4" fmla="*/ 322579998 w 194"/>
                <a:gd name="T5" fmla="*/ 50403125 h 126"/>
                <a:gd name="T6" fmla="*/ 307459065 w 194"/>
                <a:gd name="T7" fmla="*/ 45362814 h 126"/>
                <a:gd name="T8" fmla="*/ 236894712 w 194"/>
                <a:gd name="T9" fmla="*/ 50403125 h 126"/>
                <a:gd name="T10" fmla="*/ 231854401 w 194"/>
                <a:gd name="T11" fmla="*/ 40322503 h 126"/>
                <a:gd name="T12" fmla="*/ 146169066 w 194"/>
                <a:gd name="T13" fmla="*/ 85685317 h 126"/>
                <a:gd name="T14" fmla="*/ 40322500 w 194"/>
                <a:gd name="T15" fmla="*/ 50403125 h 126"/>
                <a:gd name="T16" fmla="*/ 0 w 194"/>
                <a:gd name="T17" fmla="*/ 115927209 h 126"/>
                <a:gd name="T18" fmla="*/ 10080625 w 194"/>
                <a:gd name="T19" fmla="*/ 206652812 h 126"/>
                <a:gd name="T20" fmla="*/ 25201561 w 194"/>
                <a:gd name="T21" fmla="*/ 216733484 h 126"/>
                <a:gd name="T22" fmla="*/ 50403122 w 194"/>
                <a:gd name="T23" fmla="*/ 246975352 h 126"/>
                <a:gd name="T24" fmla="*/ 25201561 w 194"/>
                <a:gd name="T25" fmla="*/ 262096286 h 126"/>
                <a:gd name="T26" fmla="*/ 25201561 w 194"/>
                <a:gd name="T27" fmla="*/ 272176908 h 126"/>
                <a:gd name="T28" fmla="*/ 115927201 w 194"/>
                <a:gd name="T29" fmla="*/ 292338153 h 126"/>
                <a:gd name="T30" fmla="*/ 246975334 w 194"/>
                <a:gd name="T31" fmla="*/ 317539710 h 126"/>
                <a:gd name="T32" fmla="*/ 272176889 w 194"/>
                <a:gd name="T33" fmla="*/ 292338153 h 126"/>
                <a:gd name="T34" fmla="*/ 322579998 w 194"/>
                <a:gd name="T35" fmla="*/ 196572189 h 126"/>
                <a:gd name="T36" fmla="*/ 362902485 w 194"/>
                <a:gd name="T37" fmla="*/ 141128765 h 126"/>
                <a:gd name="T38" fmla="*/ 403224972 w 194"/>
                <a:gd name="T39" fmla="*/ 105846586 h 126"/>
                <a:gd name="T40" fmla="*/ 418346004 w 194"/>
                <a:gd name="T41" fmla="*/ 105846586 h 126"/>
                <a:gd name="T42" fmla="*/ 438507248 w 194"/>
                <a:gd name="T43" fmla="*/ 80645005 h 126"/>
                <a:gd name="T44" fmla="*/ 488910357 w 194"/>
                <a:gd name="T45" fmla="*/ 95765939 h 126"/>
                <a:gd name="T46" fmla="*/ 418346004 w 194"/>
                <a:gd name="T47" fmla="*/ 0 h 126"/>
                <a:gd name="T48" fmla="*/ 398184661 w 194"/>
                <a:gd name="T49" fmla="*/ 45362814 h 1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94"/>
                <a:gd name="T76" fmla="*/ 0 h 126"/>
                <a:gd name="T77" fmla="*/ 194 w 194"/>
                <a:gd name="T78" fmla="*/ 126 h 12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94" h="126">
                  <a:moveTo>
                    <a:pt x="158" y="18"/>
                  </a:moveTo>
                  <a:lnTo>
                    <a:pt x="136" y="14"/>
                  </a:lnTo>
                  <a:lnTo>
                    <a:pt x="128" y="20"/>
                  </a:lnTo>
                  <a:lnTo>
                    <a:pt x="122" y="18"/>
                  </a:lnTo>
                  <a:lnTo>
                    <a:pt x="94" y="20"/>
                  </a:lnTo>
                  <a:lnTo>
                    <a:pt x="92" y="16"/>
                  </a:lnTo>
                  <a:lnTo>
                    <a:pt x="58" y="34"/>
                  </a:lnTo>
                  <a:lnTo>
                    <a:pt x="16" y="20"/>
                  </a:lnTo>
                  <a:lnTo>
                    <a:pt x="0" y="46"/>
                  </a:lnTo>
                  <a:lnTo>
                    <a:pt x="4" y="82"/>
                  </a:lnTo>
                  <a:lnTo>
                    <a:pt x="10" y="86"/>
                  </a:lnTo>
                  <a:lnTo>
                    <a:pt x="20" y="98"/>
                  </a:lnTo>
                  <a:lnTo>
                    <a:pt x="10" y="104"/>
                  </a:lnTo>
                  <a:lnTo>
                    <a:pt x="10" y="108"/>
                  </a:lnTo>
                  <a:lnTo>
                    <a:pt x="46" y="116"/>
                  </a:lnTo>
                  <a:lnTo>
                    <a:pt x="98" y="126"/>
                  </a:lnTo>
                  <a:lnTo>
                    <a:pt x="108" y="116"/>
                  </a:lnTo>
                  <a:lnTo>
                    <a:pt x="128" y="78"/>
                  </a:lnTo>
                  <a:lnTo>
                    <a:pt x="144" y="56"/>
                  </a:lnTo>
                  <a:lnTo>
                    <a:pt x="160" y="42"/>
                  </a:lnTo>
                  <a:lnTo>
                    <a:pt x="166" y="42"/>
                  </a:lnTo>
                  <a:lnTo>
                    <a:pt x="174" y="32"/>
                  </a:lnTo>
                  <a:lnTo>
                    <a:pt x="194" y="38"/>
                  </a:lnTo>
                  <a:lnTo>
                    <a:pt x="166" y="0"/>
                  </a:lnTo>
                  <a:lnTo>
                    <a:pt x="158" y="18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32" name="Freeform 274"/>
            <p:cNvSpPr>
              <a:spLocks/>
            </p:cNvSpPr>
            <p:nvPr/>
          </p:nvSpPr>
          <p:spPr bwMode="auto">
            <a:xfrm>
              <a:off x="3636127" y="4959160"/>
              <a:ext cx="576262" cy="523875"/>
            </a:xfrm>
            <a:custGeom>
              <a:avLst/>
              <a:gdLst>
                <a:gd name="T0" fmla="*/ 604836970 w 363"/>
                <a:gd name="T1" fmla="*/ 136088437 h 330"/>
                <a:gd name="T2" fmla="*/ 534272680 w 363"/>
                <a:gd name="T3" fmla="*/ 65524063 h 330"/>
                <a:gd name="T4" fmla="*/ 524192067 w 363"/>
                <a:gd name="T5" fmla="*/ 55443442 h 330"/>
                <a:gd name="T6" fmla="*/ 483869616 w 363"/>
                <a:gd name="T7" fmla="*/ 15120938 h 330"/>
                <a:gd name="T8" fmla="*/ 433466552 w 363"/>
                <a:gd name="T9" fmla="*/ 0 h 330"/>
                <a:gd name="T10" fmla="*/ 413305227 w 363"/>
                <a:gd name="T11" fmla="*/ 25201559 h 330"/>
                <a:gd name="T12" fmla="*/ 398184307 w 363"/>
                <a:gd name="T13" fmla="*/ 25201559 h 330"/>
                <a:gd name="T14" fmla="*/ 357861856 w 363"/>
                <a:gd name="T15" fmla="*/ 60483752 h 330"/>
                <a:gd name="T16" fmla="*/ 317539404 w 363"/>
                <a:gd name="T17" fmla="*/ 115927194 h 330"/>
                <a:gd name="T18" fmla="*/ 267136340 w 363"/>
                <a:gd name="T19" fmla="*/ 211693146 h 330"/>
                <a:gd name="T20" fmla="*/ 241934808 w 363"/>
                <a:gd name="T21" fmla="*/ 236894699 h 330"/>
                <a:gd name="T22" fmla="*/ 110886791 w 363"/>
                <a:gd name="T23" fmla="*/ 211693146 h 330"/>
                <a:gd name="T24" fmla="*/ 20161232 w 363"/>
                <a:gd name="T25" fmla="*/ 191531854 h 330"/>
                <a:gd name="T26" fmla="*/ 0 w 363"/>
                <a:gd name="T27" fmla="*/ 297378427 h 330"/>
                <a:gd name="T28" fmla="*/ 30241851 w 363"/>
                <a:gd name="T29" fmla="*/ 352821844 h 330"/>
                <a:gd name="T30" fmla="*/ 65524008 w 363"/>
                <a:gd name="T31" fmla="*/ 337700912 h 330"/>
                <a:gd name="T32" fmla="*/ 100806153 w 363"/>
                <a:gd name="T33" fmla="*/ 257055942 h 330"/>
                <a:gd name="T34" fmla="*/ 166330162 w 363"/>
                <a:gd name="T35" fmla="*/ 277217184 h 330"/>
                <a:gd name="T36" fmla="*/ 191531694 w 363"/>
                <a:gd name="T37" fmla="*/ 357862154 h 330"/>
                <a:gd name="T38" fmla="*/ 206652613 w 363"/>
                <a:gd name="T39" fmla="*/ 458668466 h 330"/>
                <a:gd name="T40" fmla="*/ 252015421 w 363"/>
                <a:gd name="T41" fmla="*/ 549394058 h 330"/>
                <a:gd name="T42" fmla="*/ 383063388 w 363"/>
                <a:gd name="T43" fmla="*/ 670361513 h 330"/>
                <a:gd name="T44" fmla="*/ 619957890 w 363"/>
                <a:gd name="T45" fmla="*/ 821570832 h 330"/>
                <a:gd name="T46" fmla="*/ 630038502 w 363"/>
                <a:gd name="T47" fmla="*/ 831651453 h 330"/>
                <a:gd name="T48" fmla="*/ 619957890 w 363"/>
                <a:gd name="T49" fmla="*/ 781248347 h 330"/>
                <a:gd name="T50" fmla="*/ 579635438 w 363"/>
                <a:gd name="T51" fmla="*/ 730845241 h 330"/>
                <a:gd name="T52" fmla="*/ 519151761 w 363"/>
                <a:gd name="T53" fmla="*/ 660280892 h 330"/>
                <a:gd name="T54" fmla="*/ 388103694 w 363"/>
                <a:gd name="T55" fmla="*/ 453628156 h 330"/>
                <a:gd name="T56" fmla="*/ 357861856 w 363"/>
                <a:gd name="T57" fmla="*/ 398184639 h 330"/>
                <a:gd name="T58" fmla="*/ 337700630 w 363"/>
                <a:gd name="T59" fmla="*/ 302418737 h 330"/>
                <a:gd name="T60" fmla="*/ 372982775 w 363"/>
                <a:gd name="T61" fmla="*/ 287297805 h 330"/>
                <a:gd name="T62" fmla="*/ 418345632 w 363"/>
                <a:gd name="T63" fmla="*/ 342741222 h 330"/>
                <a:gd name="T64" fmla="*/ 519151761 w 363"/>
                <a:gd name="T65" fmla="*/ 282257495 h 330"/>
                <a:gd name="T66" fmla="*/ 579635438 w 363"/>
                <a:gd name="T67" fmla="*/ 317539669 h 330"/>
                <a:gd name="T68" fmla="*/ 685481873 w 363"/>
                <a:gd name="T69" fmla="*/ 332660601 h 330"/>
                <a:gd name="T70" fmla="*/ 781247695 w 363"/>
                <a:gd name="T71" fmla="*/ 332660601 h 330"/>
                <a:gd name="T72" fmla="*/ 854331543 w 363"/>
                <a:gd name="T73" fmla="*/ 383063708 h 330"/>
                <a:gd name="T74" fmla="*/ 914815220 w 363"/>
                <a:gd name="T75" fmla="*/ 302418737 h 330"/>
                <a:gd name="T76" fmla="*/ 834170318 w 363"/>
                <a:gd name="T77" fmla="*/ 231854388 h 330"/>
                <a:gd name="T78" fmla="*/ 826610453 w 363"/>
                <a:gd name="T79" fmla="*/ 161289990 h 330"/>
                <a:gd name="T80" fmla="*/ 826610453 w 363"/>
                <a:gd name="T81" fmla="*/ 146169058 h 330"/>
                <a:gd name="T82" fmla="*/ 735884937 w 363"/>
                <a:gd name="T83" fmla="*/ 181451232 h 330"/>
                <a:gd name="T84" fmla="*/ 604836970 w 363"/>
                <a:gd name="T85" fmla="*/ 136088437 h 33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63"/>
                <a:gd name="T130" fmla="*/ 0 h 330"/>
                <a:gd name="T131" fmla="*/ 363 w 363"/>
                <a:gd name="T132" fmla="*/ 330 h 33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63" h="330">
                  <a:moveTo>
                    <a:pt x="240" y="54"/>
                  </a:moveTo>
                  <a:lnTo>
                    <a:pt x="212" y="26"/>
                  </a:lnTo>
                  <a:lnTo>
                    <a:pt x="208" y="22"/>
                  </a:lnTo>
                  <a:lnTo>
                    <a:pt x="192" y="6"/>
                  </a:lnTo>
                  <a:lnTo>
                    <a:pt x="172" y="0"/>
                  </a:lnTo>
                  <a:lnTo>
                    <a:pt x="164" y="10"/>
                  </a:lnTo>
                  <a:lnTo>
                    <a:pt x="158" y="10"/>
                  </a:lnTo>
                  <a:lnTo>
                    <a:pt x="142" y="24"/>
                  </a:lnTo>
                  <a:lnTo>
                    <a:pt x="126" y="46"/>
                  </a:lnTo>
                  <a:lnTo>
                    <a:pt x="106" y="84"/>
                  </a:lnTo>
                  <a:lnTo>
                    <a:pt x="96" y="94"/>
                  </a:lnTo>
                  <a:lnTo>
                    <a:pt x="44" y="84"/>
                  </a:lnTo>
                  <a:lnTo>
                    <a:pt x="8" y="76"/>
                  </a:lnTo>
                  <a:lnTo>
                    <a:pt x="0" y="118"/>
                  </a:lnTo>
                  <a:lnTo>
                    <a:pt x="12" y="140"/>
                  </a:lnTo>
                  <a:lnTo>
                    <a:pt x="26" y="134"/>
                  </a:lnTo>
                  <a:lnTo>
                    <a:pt x="40" y="102"/>
                  </a:lnTo>
                  <a:lnTo>
                    <a:pt x="66" y="110"/>
                  </a:lnTo>
                  <a:lnTo>
                    <a:pt x="76" y="142"/>
                  </a:lnTo>
                  <a:lnTo>
                    <a:pt x="82" y="182"/>
                  </a:lnTo>
                  <a:lnTo>
                    <a:pt x="100" y="218"/>
                  </a:lnTo>
                  <a:lnTo>
                    <a:pt x="152" y="266"/>
                  </a:lnTo>
                  <a:lnTo>
                    <a:pt x="246" y="326"/>
                  </a:lnTo>
                  <a:lnTo>
                    <a:pt x="250" y="330"/>
                  </a:lnTo>
                  <a:lnTo>
                    <a:pt x="246" y="310"/>
                  </a:lnTo>
                  <a:lnTo>
                    <a:pt x="230" y="290"/>
                  </a:lnTo>
                  <a:lnTo>
                    <a:pt x="206" y="262"/>
                  </a:lnTo>
                  <a:lnTo>
                    <a:pt x="154" y="180"/>
                  </a:lnTo>
                  <a:lnTo>
                    <a:pt x="142" y="158"/>
                  </a:lnTo>
                  <a:lnTo>
                    <a:pt x="134" y="120"/>
                  </a:lnTo>
                  <a:lnTo>
                    <a:pt x="148" y="114"/>
                  </a:lnTo>
                  <a:lnTo>
                    <a:pt x="166" y="136"/>
                  </a:lnTo>
                  <a:lnTo>
                    <a:pt x="206" y="112"/>
                  </a:lnTo>
                  <a:lnTo>
                    <a:pt x="230" y="126"/>
                  </a:lnTo>
                  <a:lnTo>
                    <a:pt x="272" y="132"/>
                  </a:lnTo>
                  <a:lnTo>
                    <a:pt x="310" y="132"/>
                  </a:lnTo>
                  <a:lnTo>
                    <a:pt x="339" y="152"/>
                  </a:lnTo>
                  <a:lnTo>
                    <a:pt x="363" y="120"/>
                  </a:lnTo>
                  <a:lnTo>
                    <a:pt x="331" y="92"/>
                  </a:lnTo>
                  <a:lnTo>
                    <a:pt x="328" y="64"/>
                  </a:lnTo>
                  <a:lnTo>
                    <a:pt x="328" y="58"/>
                  </a:lnTo>
                  <a:lnTo>
                    <a:pt x="292" y="72"/>
                  </a:lnTo>
                  <a:lnTo>
                    <a:pt x="240" y="54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33" name="Freeform 276"/>
            <p:cNvSpPr>
              <a:spLocks/>
            </p:cNvSpPr>
            <p:nvPr/>
          </p:nvSpPr>
          <p:spPr bwMode="auto">
            <a:xfrm>
              <a:off x="3848852" y="5136960"/>
              <a:ext cx="376237" cy="387350"/>
            </a:xfrm>
            <a:custGeom>
              <a:avLst/>
              <a:gdLst>
                <a:gd name="T0" fmla="*/ 347781110 w 237"/>
                <a:gd name="T1" fmla="*/ 50403125 h 244"/>
                <a:gd name="T2" fmla="*/ 241934715 w 237"/>
                <a:gd name="T3" fmla="*/ 35282191 h 244"/>
                <a:gd name="T4" fmla="*/ 181451012 w 237"/>
                <a:gd name="T5" fmla="*/ 0 h 244"/>
                <a:gd name="T6" fmla="*/ 80644897 w 237"/>
                <a:gd name="T7" fmla="*/ 60483760 h 244"/>
                <a:gd name="T8" fmla="*/ 35282144 w 237"/>
                <a:gd name="T9" fmla="*/ 5040313 h 244"/>
                <a:gd name="T10" fmla="*/ 0 w 237"/>
                <a:gd name="T11" fmla="*/ 20161251 h 244"/>
                <a:gd name="T12" fmla="*/ 20161224 w 237"/>
                <a:gd name="T13" fmla="*/ 115927208 h 244"/>
                <a:gd name="T14" fmla="*/ 50403057 w 237"/>
                <a:gd name="T15" fmla="*/ 171370632 h 244"/>
                <a:gd name="T16" fmla="*/ 181451012 w 237"/>
                <a:gd name="T17" fmla="*/ 378023442 h 244"/>
                <a:gd name="T18" fmla="*/ 241934715 w 237"/>
                <a:gd name="T19" fmla="*/ 448587899 h 244"/>
                <a:gd name="T20" fmla="*/ 282257151 w 237"/>
                <a:gd name="T21" fmla="*/ 498991011 h 244"/>
                <a:gd name="T22" fmla="*/ 292337760 w 237"/>
                <a:gd name="T23" fmla="*/ 549394124 h 244"/>
                <a:gd name="T24" fmla="*/ 413305069 w 237"/>
                <a:gd name="T25" fmla="*/ 614918170 h 244"/>
                <a:gd name="T26" fmla="*/ 423385777 w 237"/>
                <a:gd name="T27" fmla="*/ 519152256 h 244"/>
                <a:gd name="T28" fmla="*/ 478829126 w 237"/>
                <a:gd name="T29" fmla="*/ 438507276 h 244"/>
                <a:gd name="T30" fmla="*/ 511590312 w 237"/>
                <a:gd name="T31" fmla="*/ 463708832 h 244"/>
                <a:gd name="T32" fmla="*/ 551912748 w 237"/>
                <a:gd name="T33" fmla="*/ 418346031 h 244"/>
                <a:gd name="T34" fmla="*/ 587194879 w 237"/>
                <a:gd name="T35" fmla="*/ 383063753 h 244"/>
                <a:gd name="T36" fmla="*/ 546872443 w 237"/>
                <a:gd name="T37" fmla="*/ 307459085 h 244"/>
                <a:gd name="T38" fmla="*/ 597275488 w 237"/>
                <a:gd name="T39" fmla="*/ 277217217 h 244"/>
                <a:gd name="T40" fmla="*/ 546872443 w 237"/>
                <a:gd name="T41" fmla="*/ 236894727 h 244"/>
                <a:gd name="T42" fmla="*/ 526711225 w 237"/>
                <a:gd name="T43" fmla="*/ 226814105 h 244"/>
                <a:gd name="T44" fmla="*/ 526711225 w 237"/>
                <a:gd name="T45" fmla="*/ 216733483 h 244"/>
                <a:gd name="T46" fmla="*/ 531751530 w 237"/>
                <a:gd name="T47" fmla="*/ 176410943 h 244"/>
                <a:gd name="T48" fmla="*/ 536791834 w 237"/>
                <a:gd name="T49" fmla="*/ 171370632 h 244"/>
                <a:gd name="T50" fmla="*/ 556953052 w 237"/>
                <a:gd name="T51" fmla="*/ 141128764 h 244"/>
                <a:gd name="T52" fmla="*/ 567033661 w 237"/>
                <a:gd name="T53" fmla="*/ 95765938 h 244"/>
                <a:gd name="T54" fmla="*/ 516630616 w 237"/>
                <a:gd name="T55" fmla="*/ 100806250 h 244"/>
                <a:gd name="T56" fmla="*/ 443546995 w 237"/>
                <a:gd name="T57" fmla="*/ 50403125 h 244"/>
                <a:gd name="T58" fmla="*/ 347781110 w 237"/>
                <a:gd name="T59" fmla="*/ 50403125 h 24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37"/>
                <a:gd name="T91" fmla="*/ 0 h 244"/>
                <a:gd name="T92" fmla="*/ 237 w 237"/>
                <a:gd name="T93" fmla="*/ 244 h 24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37" h="244">
                  <a:moveTo>
                    <a:pt x="138" y="20"/>
                  </a:moveTo>
                  <a:lnTo>
                    <a:pt x="96" y="14"/>
                  </a:lnTo>
                  <a:lnTo>
                    <a:pt x="72" y="0"/>
                  </a:lnTo>
                  <a:lnTo>
                    <a:pt x="32" y="24"/>
                  </a:lnTo>
                  <a:lnTo>
                    <a:pt x="14" y="2"/>
                  </a:lnTo>
                  <a:lnTo>
                    <a:pt x="0" y="8"/>
                  </a:lnTo>
                  <a:lnTo>
                    <a:pt x="8" y="46"/>
                  </a:lnTo>
                  <a:lnTo>
                    <a:pt x="20" y="68"/>
                  </a:lnTo>
                  <a:lnTo>
                    <a:pt x="72" y="150"/>
                  </a:lnTo>
                  <a:lnTo>
                    <a:pt x="96" y="178"/>
                  </a:lnTo>
                  <a:lnTo>
                    <a:pt x="112" y="198"/>
                  </a:lnTo>
                  <a:lnTo>
                    <a:pt x="116" y="218"/>
                  </a:lnTo>
                  <a:lnTo>
                    <a:pt x="164" y="244"/>
                  </a:lnTo>
                  <a:lnTo>
                    <a:pt x="168" y="206"/>
                  </a:lnTo>
                  <a:lnTo>
                    <a:pt x="190" y="174"/>
                  </a:lnTo>
                  <a:lnTo>
                    <a:pt x="203" y="184"/>
                  </a:lnTo>
                  <a:lnTo>
                    <a:pt x="219" y="166"/>
                  </a:lnTo>
                  <a:lnTo>
                    <a:pt x="233" y="152"/>
                  </a:lnTo>
                  <a:lnTo>
                    <a:pt x="217" y="122"/>
                  </a:lnTo>
                  <a:lnTo>
                    <a:pt x="237" y="110"/>
                  </a:lnTo>
                  <a:lnTo>
                    <a:pt x="217" y="94"/>
                  </a:lnTo>
                  <a:lnTo>
                    <a:pt x="209" y="90"/>
                  </a:lnTo>
                  <a:lnTo>
                    <a:pt x="209" y="86"/>
                  </a:lnTo>
                  <a:lnTo>
                    <a:pt x="211" y="70"/>
                  </a:lnTo>
                  <a:lnTo>
                    <a:pt x="213" y="68"/>
                  </a:lnTo>
                  <a:lnTo>
                    <a:pt x="221" y="56"/>
                  </a:lnTo>
                  <a:lnTo>
                    <a:pt x="225" y="38"/>
                  </a:lnTo>
                  <a:lnTo>
                    <a:pt x="205" y="40"/>
                  </a:lnTo>
                  <a:lnTo>
                    <a:pt x="176" y="20"/>
                  </a:lnTo>
                  <a:lnTo>
                    <a:pt x="138" y="2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34" name="Freeform 277"/>
            <p:cNvSpPr>
              <a:spLocks/>
            </p:cNvSpPr>
            <p:nvPr/>
          </p:nvSpPr>
          <p:spPr bwMode="auto">
            <a:xfrm>
              <a:off x="4320339" y="5556060"/>
              <a:ext cx="269875" cy="209550"/>
            </a:xfrm>
            <a:custGeom>
              <a:avLst/>
              <a:gdLst>
                <a:gd name="T0" fmla="*/ 428426607 w 170"/>
                <a:gd name="T1" fmla="*/ 136088424 h 132"/>
                <a:gd name="T2" fmla="*/ 423386296 w 170"/>
                <a:gd name="T3" fmla="*/ 120967494 h 132"/>
                <a:gd name="T4" fmla="*/ 383063712 w 170"/>
                <a:gd name="T5" fmla="*/ 60483747 h 132"/>
                <a:gd name="T6" fmla="*/ 312499362 w 170"/>
                <a:gd name="T7" fmla="*/ 0 h 132"/>
                <a:gd name="T8" fmla="*/ 241935012 w 170"/>
                <a:gd name="T9" fmla="*/ 0 h 132"/>
                <a:gd name="T10" fmla="*/ 171370613 w 170"/>
                <a:gd name="T11" fmla="*/ 20161247 h 132"/>
                <a:gd name="T12" fmla="*/ 95765928 w 170"/>
                <a:gd name="T13" fmla="*/ 55443437 h 132"/>
                <a:gd name="T14" fmla="*/ 20161249 w 170"/>
                <a:gd name="T15" fmla="*/ 105846563 h 132"/>
                <a:gd name="T16" fmla="*/ 10080624 w 170"/>
                <a:gd name="T17" fmla="*/ 151209355 h 132"/>
                <a:gd name="T18" fmla="*/ 0 w 170"/>
                <a:gd name="T19" fmla="*/ 176410906 h 132"/>
                <a:gd name="T20" fmla="*/ 0 w 170"/>
                <a:gd name="T21" fmla="*/ 191531836 h 132"/>
                <a:gd name="T22" fmla="*/ 25201560 w 170"/>
                <a:gd name="T23" fmla="*/ 287297779 h 132"/>
                <a:gd name="T24" fmla="*/ 90725617 w 170"/>
                <a:gd name="T25" fmla="*/ 332660570 h 132"/>
                <a:gd name="T26" fmla="*/ 221773770 w 170"/>
                <a:gd name="T27" fmla="*/ 312499330 h 132"/>
                <a:gd name="T28" fmla="*/ 241935012 w 170"/>
                <a:gd name="T29" fmla="*/ 287297779 h 132"/>
                <a:gd name="T30" fmla="*/ 246975323 w 170"/>
                <a:gd name="T31" fmla="*/ 277217159 h 132"/>
                <a:gd name="T32" fmla="*/ 302418741 w 170"/>
                <a:gd name="T33" fmla="*/ 257055918 h 132"/>
                <a:gd name="T34" fmla="*/ 342741226 w 170"/>
                <a:gd name="T35" fmla="*/ 267136538 h 132"/>
                <a:gd name="T36" fmla="*/ 372983090 w 170"/>
                <a:gd name="T37" fmla="*/ 262096228 h 132"/>
                <a:gd name="T38" fmla="*/ 388104022 w 170"/>
                <a:gd name="T39" fmla="*/ 226814057 h 132"/>
                <a:gd name="T40" fmla="*/ 418345986 w 170"/>
                <a:gd name="T41" fmla="*/ 216733437 h 132"/>
                <a:gd name="T42" fmla="*/ 418345986 w 170"/>
                <a:gd name="T43" fmla="*/ 156249665 h 132"/>
                <a:gd name="T44" fmla="*/ 428426607 w 170"/>
                <a:gd name="T45" fmla="*/ 136088424 h 13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70"/>
                <a:gd name="T70" fmla="*/ 0 h 132"/>
                <a:gd name="T71" fmla="*/ 170 w 170"/>
                <a:gd name="T72" fmla="*/ 132 h 13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70" h="132">
                  <a:moveTo>
                    <a:pt x="170" y="54"/>
                  </a:moveTo>
                  <a:lnTo>
                    <a:pt x="168" y="48"/>
                  </a:lnTo>
                  <a:lnTo>
                    <a:pt x="152" y="24"/>
                  </a:lnTo>
                  <a:lnTo>
                    <a:pt x="124" y="0"/>
                  </a:lnTo>
                  <a:lnTo>
                    <a:pt x="96" y="0"/>
                  </a:lnTo>
                  <a:lnTo>
                    <a:pt x="68" y="8"/>
                  </a:lnTo>
                  <a:lnTo>
                    <a:pt x="38" y="22"/>
                  </a:lnTo>
                  <a:lnTo>
                    <a:pt x="8" y="42"/>
                  </a:lnTo>
                  <a:lnTo>
                    <a:pt x="4" y="60"/>
                  </a:lnTo>
                  <a:lnTo>
                    <a:pt x="0" y="70"/>
                  </a:lnTo>
                  <a:lnTo>
                    <a:pt x="0" y="76"/>
                  </a:lnTo>
                  <a:lnTo>
                    <a:pt x="10" y="114"/>
                  </a:lnTo>
                  <a:lnTo>
                    <a:pt x="36" y="132"/>
                  </a:lnTo>
                  <a:lnTo>
                    <a:pt x="88" y="124"/>
                  </a:lnTo>
                  <a:lnTo>
                    <a:pt x="96" y="114"/>
                  </a:lnTo>
                  <a:lnTo>
                    <a:pt x="98" y="110"/>
                  </a:lnTo>
                  <a:lnTo>
                    <a:pt x="120" y="102"/>
                  </a:lnTo>
                  <a:lnTo>
                    <a:pt x="136" y="106"/>
                  </a:lnTo>
                  <a:lnTo>
                    <a:pt x="148" y="104"/>
                  </a:lnTo>
                  <a:lnTo>
                    <a:pt x="154" y="90"/>
                  </a:lnTo>
                  <a:lnTo>
                    <a:pt x="166" y="86"/>
                  </a:lnTo>
                  <a:lnTo>
                    <a:pt x="166" y="62"/>
                  </a:lnTo>
                  <a:lnTo>
                    <a:pt x="170" y="54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35" name="Freeform 278"/>
            <p:cNvSpPr>
              <a:spLocks/>
            </p:cNvSpPr>
            <p:nvPr/>
          </p:nvSpPr>
          <p:spPr bwMode="auto">
            <a:xfrm>
              <a:off x="4517189" y="5267135"/>
              <a:ext cx="631825" cy="425450"/>
            </a:xfrm>
            <a:custGeom>
              <a:avLst/>
              <a:gdLst>
                <a:gd name="T0" fmla="*/ 856853259 w 398"/>
                <a:gd name="T1" fmla="*/ 40322494 h 268"/>
                <a:gd name="T2" fmla="*/ 786288707 w 398"/>
                <a:gd name="T3" fmla="*/ 0 h 268"/>
                <a:gd name="T4" fmla="*/ 680442177 w 398"/>
                <a:gd name="T5" fmla="*/ 30241874 h 268"/>
                <a:gd name="T6" fmla="*/ 599797202 w 398"/>
                <a:gd name="T7" fmla="*/ 55443437 h 268"/>
                <a:gd name="T8" fmla="*/ 514111916 w 398"/>
                <a:gd name="T9" fmla="*/ 136088425 h 268"/>
                <a:gd name="T10" fmla="*/ 393144354 w 398"/>
                <a:gd name="T11" fmla="*/ 126007805 h 268"/>
                <a:gd name="T12" fmla="*/ 332660622 w 398"/>
                <a:gd name="T13" fmla="*/ 126007805 h 268"/>
                <a:gd name="T14" fmla="*/ 226814092 w 398"/>
                <a:gd name="T15" fmla="*/ 120967495 h 268"/>
                <a:gd name="T16" fmla="*/ 176410933 w 398"/>
                <a:gd name="T17" fmla="*/ 110886874 h 268"/>
                <a:gd name="T18" fmla="*/ 141128756 w 398"/>
                <a:gd name="T19" fmla="*/ 110886874 h 268"/>
                <a:gd name="T20" fmla="*/ 40322500 w 398"/>
                <a:gd name="T21" fmla="*/ 30241874 h 268"/>
                <a:gd name="T22" fmla="*/ 0 w 398"/>
                <a:gd name="T23" fmla="*/ 151209356 h 268"/>
                <a:gd name="T24" fmla="*/ 35282189 w 398"/>
                <a:gd name="T25" fmla="*/ 206652768 h 268"/>
                <a:gd name="T26" fmla="*/ 65524067 w 398"/>
                <a:gd name="T27" fmla="*/ 221773748 h 268"/>
                <a:gd name="T28" fmla="*/ 100806244 w 398"/>
                <a:gd name="T29" fmla="*/ 267136540 h 268"/>
                <a:gd name="T30" fmla="*/ 75604689 w 398"/>
                <a:gd name="T31" fmla="*/ 327620262 h 268"/>
                <a:gd name="T32" fmla="*/ 0 w 398"/>
                <a:gd name="T33" fmla="*/ 458668427 h 268"/>
                <a:gd name="T34" fmla="*/ 70564378 w 398"/>
                <a:gd name="T35" fmla="*/ 519152149 h 268"/>
                <a:gd name="T36" fmla="*/ 110886891 w 398"/>
                <a:gd name="T37" fmla="*/ 579635872 h 268"/>
                <a:gd name="T38" fmla="*/ 115927202 w 398"/>
                <a:gd name="T39" fmla="*/ 594756803 h 268"/>
                <a:gd name="T40" fmla="*/ 105846580 w 398"/>
                <a:gd name="T41" fmla="*/ 614918043 h 268"/>
                <a:gd name="T42" fmla="*/ 105846580 w 398"/>
                <a:gd name="T43" fmla="*/ 675401766 h 268"/>
                <a:gd name="T44" fmla="*/ 267136580 w 398"/>
                <a:gd name="T45" fmla="*/ 640119594 h 268"/>
                <a:gd name="T46" fmla="*/ 327620311 w 398"/>
                <a:gd name="T47" fmla="*/ 614918043 h 268"/>
                <a:gd name="T48" fmla="*/ 398184665 w 398"/>
                <a:gd name="T49" fmla="*/ 630038974 h 268"/>
                <a:gd name="T50" fmla="*/ 478829739 w 398"/>
                <a:gd name="T51" fmla="*/ 655240525 h 268"/>
                <a:gd name="T52" fmla="*/ 504031294 w 398"/>
                <a:gd name="T53" fmla="*/ 675401766 h 268"/>
                <a:gd name="T54" fmla="*/ 539313471 w 398"/>
                <a:gd name="T55" fmla="*/ 665321145 h 268"/>
                <a:gd name="T56" fmla="*/ 630039068 w 398"/>
                <a:gd name="T57" fmla="*/ 645159905 h 268"/>
                <a:gd name="T58" fmla="*/ 655240622 w 398"/>
                <a:gd name="T59" fmla="*/ 549394011 h 268"/>
                <a:gd name="T60" fmla="*/ 680442177 w 398"/>
                <a:gd name="T61" fmla="*/ 554434321 h 268"/>
                <a:gd name="T62" fmla="*/ 786288707 w 398"/>
                <a:gd name="T63" fmla="*/ 463708737 h 268"/>
                <a:gd name="T64" fmla="*/ 952619167 w 398"/>
                <a:gd name="T65" fmla="*/ 468749047 h 268"/>
                <a:gd name="T66" fmla="*/ 892135436 w 398"/>
                <a:gd name="T67" fmla="*/ 378023365 h 268"/>
                <a:gd name="T68" fmla="*/ 912296680 w 398"/>
                <a:gd name="T69" fmla="*/ 211693128 h 268"/>
                <a:gd name="T70" fmla="*/ 962699789 w 398"/>
                <a:gd name="T71" fmla="*/ 146169046 h 268"/>
                <a:gd name="T72" fmla="*/ 992941655 w 398"/>
                <a:gd name="T73" fmla="*/ 120967495 h 268"/>
                <a:gd name="T74" fmla="*/ 1003022277 w 398"/>
                <a:gd name="T75" fmla="*/ 65524057 h 268"/>
                <a:gd name="T76" fmla="*/ 962699789 w 398"/>
                <a:gd name="T77" fmla="*/ 65524057 h 268"/>
                <a:gd name="T78" fmla="*/ 856853259 w 398"/>
                <a:gd name="T79" fmla="*/ 40322494 h 26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98"/>
                <a:gd name="T121" fmla="*/ 0 h 268"/>
                <a:gd name="T122" fmla="*/ 398 w 398"/>
                <a:gd name="T123" fmla="*/ 268 h 268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98" h="268">
                  <a:moveTo>
                    <a:pt x="340" y="16"/>
                  </a:moveTo>
                  <a:lnTo>
                    <a:pt x="312" y="0"/>
                  </a:lnTo>
                  <a:lnTo>
                    <a:pt x="270" y="12"/>
                  </a:lnTo>
                  <a:lnTo>
                    <a:pt x="238" y="22"/>
                  </a:lnTo>
                  <a:lnTo>
                    <a:pt x="204" y="54"/>
                  </a:lnTo>
                  <a:lnTo>
                    <a:pt x="156" y="50"/>
                  </a:lnTo>
                  <a:lnTo>
                    <a:pt x="132" y="50"/>
                  </a:lnTo>
                  <a:lnTo>
                    <a:pt x="90" y="48"/>
                  </a:lnTo>
                  <a:lnTo>
                    <a:pt x="70" y="44"/>
                  </a:lnTo>
                  <a:lnTo>
                    <a:pt x="56" y="44"/>
                  </a:lnTo>
                  <a:lnTo>
                    <a:pt x="16" y="12"/>
                  </a:lnTo>
                  <a:lnTo>
                    <a:pt x="0" y="60"/>
                  </a:lnTo>
                  <a:lnTo>
                    <a:pt x="14" y="82"/>
                  </a:lnTo>
                  <a:lnTo>
                    <a:pt x="26" y="88"/>
                  </a:lnTo>
                  <a:lnTo>
                    <a:pt x="40" y="106"/>
                  </a:lnTo>
                  <a:lnTo>
                    <a:pt x="30" y="130"/>
                  </a:lnTo>
                  <a:lnTo>
                    <a:pt x="0" y="182"/>
                  </a:lnTo>
                  <a:lnTo>
                    <a:pt x="28" y="206"/>
                  </a:lnTo>
                  <a:lnTo>
                    <a:pt x="44" y="230"/>
                  </a:lnTo>
                  <a:lnTo>
                    <a:pt x="46" y="236"/>
                  </a:lnTo>
                  <a:lnTo>
                    <a:pt x="42" y="244"/>
                  </a:lnTo>
                  <a:lnTo>
                    <a:pt x="42" y="268"/>
                  </a:lnTo>
                  <a:lnTo>
                    <a:pt x="106" y="254"/>
                  </a:lnTo>
                  <a:lnTo>
                    <a:pt x="130" y="244"/>
                  </a:lnTo>
                  <a:lnTo>
                    <a:pt x="158" y="250"/>
                  </a:lnTo>
                  <a:lnTo>
                    <a:pt x="190" y="260"/>
                  </a:lnTo>
                  <a:lnTo>
                    <a:pt x="200" y="268"/>
                  </a:lnTo>
                  <a:lnTo>
                    <a:pt x="214" y="264"/>
                  </a:lnTo>
                  <a:lnTo>
                    <a:pt x="250" y="256"/>
                  </a:lnTo>
                  <a:lnTo>
                    <a:pt x="260" y="218"/>
                  </a:lnTo>
                  <a:lnTo>
                    <a:pt x="270" y="220"/>
                  </a:lnTo>
                  <a:lnTo>
                    <a:pt x="312" y="184"/>
                  </a:lnTo>
                  <a:lnTo>
                    <a:pt x="378" y="186"/>
                  </a:lnTo>
                  <a:lnTo>
                    <a:pt x="354" y="150"/>
                  </a:lnTo>
                  <a:lnTo>
                    <a:pt x="362" y="84"/>
                  </a:lnTo>
                  <a:lnTo>
                    <a:pt x="382" y="58"/>
                  </a:lnTo>
                  <a:lnTo>
                    <a:pt x="394" y="48"/>
                  </a:lnTo>
                  <a:lnTo>
                    <a:pt x="398" y="26"/>
                  </a:lnTo>
                  <a:lnTo>
                    <a:pt x="382" y="26"/>
                  </a:lnTo>
                  <a:lnTo>
                    <a:pt x="340" y="16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36" name="Freeform 180"/>
            <p:cNvSpPr>
              <a:spLocks/>
            </p:cNvSpPr>
            <p:nvPr/>
          </p:nvSpPr>
          <p:spPr bwMode="auto">
            <a:xfrm>
              <a:off x="6314239" y="5060760"/>
              <a:ext cx="758825" cy="279400"/>
            </a:xfrm>
            <a:custGeom>
              <a:avLst/>
              <a:gdLst>
                <a:gd name="T0" fmla="*/ 357862195 w 478"/>
                <a:gd name="T1" fmla="*/ 443547545 h 176"/>
                <a:gd name="T2" fmla="*/ 362902507 w 478"/>
                <a:gd name="T3" fmla="*/ 428426612 h 176"/>
                <a:gd name="T4" fmla="*/ 352821884 w 478"/>
                <a:gd name="T5" fmla="*/ 307459055 h 176"/>
                <a:gd name="T6" fmla="*/ 287297838 w 478"/>
                <a:gd name="T7" fmla="*/ 211693151 h 176"/>
                <a:gd name="T8" fmla="*/ 267136593 w 478"/>
                <a:gd name="T9" fmla="*/ 181451237 h 176"/>
                <a:gd name="T10" fmla="*/ 196572187 w 478"/>
                <a:gd name="T11" fmla="*/ 156249683 h 176"/>
                <a:gd name="T12" fmla="*/ 151209386 w 478"/>
                <a:gd name="T13" fmla="*/ 136088440 h 176"/>
                <a:gd name="T14" fmla="*/ 40322502 w 478"/>
                <a:gd name="T15" fmla="*/ 110886886 h 176"/>
                <a:gd name="T16" fmla="*/ 0 w 478"/>
                <a:gd name="T17" fmla="*/ 110886886 h 176"/>
                <a:gd name="T18" fmla="*/ 75604693 w 478"/>
                <a:gd name="T19" fmla="*/ 55443443 h 176"/>
                <a:gd name="T20" fmla="*/ 136088452 w 478"/>
                <a:gd name="T21" fmla="*/ 50403120 h 176"/>
                <a:gd name="T22" fmla="*/ 206652809 w 478"/>
                <a:gd name="T23" fmla="*/ 55443443 h 176"/>
                <a:gd name="T24" fmla="*/ 292338150 w 478"/>
                <a:gd name="T25" fmla="*/ 65524065 h 176"/>
                <a:gd name="T26" fmla="*/ 367942818 w 478"/>
                <a:gd name="T27" fmla="*/ 40322498 h 176"/>
                <a:gd name="T28" fmla="*/ 448587896 w 478"/>
                <a:gd name="T29" fmla="*/ 20161249 h 176"/>
                <a:gd name="T30" fmla="*/ 539313498 w 478"/>
                <a:gd name="T31" fmla="*/ 50403120 h 176"/>
                <a:gd name="T32" fmla="*/ 635079411 w 478"/>
                <a:gd name="T33" fmla="*/ 85685308 h 176"/>
                <a:gd name="T34" fmla="*/ 710684079 w 478"/>
                <a:gd name="T35" fmla="*/ 65524065 h 176"/>
                <a:gd name="T36" fmla="*/ 806449992 w 478"/>
                <a:gd name="T37" fmla="*/ 30241877 h 176"/>
                <a:gd name="T38" fmla="*/ 831651549 w 478"/>
                <a:gd name="T39" fmla="*/ 0 h 176"/>
                <a:gd name="T40" fmla="*/ 902216104 w 478"/>
                <a:gd name="T41" fmla="*/ 20161249 h 176"/>
                <a:gd name="T42" fmla="*/ 972780461 w 478"/>
                <a:gd name="T43" fmla="*/ 55443443 h 176"/>
                <a:gd name="T44" fmla="*/ 1043344818 w 478"/>
                <a:gd name="T45" fmla="*/ 90725618 h 176"/>
                <a:gd name="T46" fmla="*/ 1113909175 w 478"/>
                <a:gd name="T47" fmla="*/ 90725618 h 176"/>
                <a:gd name="T48" fmla="*/ 1103828552 w 478"/>
                <a:gd name="T49" fmla="*/ 131048129 h 176"/>
                <a:gd name="T50" fmla="*/ 1118949486 w 478"/>
                <a:gd name="T51" fmla="*/ 171370615 h 176"/>
                <a:gd name="T52" fmla="*/ 1118949486 w 478"/>
                <a:gd name="T53" fmla="*/ 171370615 h 176"/>
                <a:gd name="T54" fmla="*/ 1174392909 w 478"/>
                <a:gd name="T55" fmla="*/ 191531858 h 176"/>
                <a:gd name="T56" fmla="*/ 1199594466 w 478"/>
                <a:gd name="T57" fmla="*/ 206652790 h 176"/>
                <a:gd name="T58" fmla="*/ 1204634777 w 478"/>
                <a:gd name="T59" fmla="*/ 216733462 h 176"/>
                <a:gd name="T60" fmla="*/ 1204634777 w 478"/>
                <a:gd name="T61" fmla="*/ 231854394 h 176"/>
                <a:gd name="T62" fmla="*/ 1204634777 w 478"/>
                <a:gd name="T63" fmla="*/ 262096258 h 176"/>
                <a:gd name="T64" fmla="*/ 1174392909 w 478"/>
                <a:gd name="T65" fmla="*/ 272176880 h 176"/>
                <a:gd name="T66" fmla="*/ 1088707619 w 478"/>
                <a:gd name="T67" fmla="*/ 277217191 h 176"/>
                <a:gd name="T68" fmla="*/ 1018143262 w 478"/>
                <a:gd name="T69" fmla="*/ 257055948 h 176"/>
                <a:gd name="T70" fmla="*/ 962699839 w 478"/>
                <a:gd name="T71" fmla="*/ 257055948 h 176"/>
                <a:gd name="T72" fmla="*/ 957659527 w 478"/>
                <a:gd name="T73" fmla="*/ 267136569 h 176"/>
                <a:gd name="T74" fmla="*/ 957659527 w 478"/>
                <a:gd name="T75" fmla="*/ 267136569 h 176"/>
                <a:gd name="T76" fmla="*/ 932457971 w 478"/>
                <a:gd name="T77" fmla="*/ 307459055 h 176"/>
                <a:gd name="T78" fmla="*/ 871974237 w 478"/>
                <a:gd name="T79" fmla="*/ 352821852 h 176"/>
                <a:gd name="T80" fmla="*/ 786288748 w 478"/>
                <a:gd name="T81" fmla="*/ 383063716 h 176"/>
                <a:gd name="T82" fmla="*/ 695563146 w 478"/>
                <a:gd name="T83" fmla="*/ 428426612 h 176"/>
                <a:gd name="T84" fmla="*/ 594756922 w 478"/>
                <a:gd name="T85" fmla="*/ 378023406 h 176"/>
                <a:gd name="T86" fmla="*/ 524192565 w 478"/>
                <a:gd name="T87" fmla="*/ 372983095 h 176"/>
                <a:gd name="T88" fmla="*/ 357862195 w 478"/>
                <a:gd name="T89" fmla="*/ 443547545 h 176"/>
                <a:gd name="T90" fmla="*/ 357862195 w 478"/>
                <a:gd name="T91" fmla="*/ 443547545 h 1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78"/>
                <a:gd name="T139" fmla="*/ 0 h 176"/>
                <a:gd name="T140" fmla="*/ 478 w 478"/>
                <a:gd name="T141" fmla="*/ 176 h 1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78" h="176">
                  <a:moveTo>
                    <a:pt x="142" y="176"/>
                  </a:moveTo>
                  <a:lnTo>
                    <a:pt x="144" y="170"/>
                  </a:lnTo>
                  <a:lnTo>
                    <a:pt x="140" y="122"/>
                  </a:lnTo>
                  <a:lnTo>
                    <a:pt x="114" y="84"/>
                  </a:lnTo>
                  <a:lnTo>
                    <a:pt x="106" y="72"/>
                  </a:lnTo>
                  <a:lnTo>
                    <a:pt x="78" y="62"/>
                  </a:lnTo>
                  <a:lnTo>
                    <a:pt x="60" y="54"/>
                  </a:lnTo>
                  <a:lnTo>
                    <a:pt x="16" y="44"/>
                  </a:lnTo>
                  <a:lnTo>
                    <a:pt x="0" y="44"/>
                  </a:lnTo>
                  <a:lnTo>
                    <a:pt x="30" y="22"/>
                  </a:lnTo>
                  <a:lnTo>
                    <a:pt x="54" y="20"/>
                  </a:lnTo>
                  <a:lnTo>
                    <a:pt x="82" y="22"/>
                  </a:lnTo>
                  <a:lnTo>
                    <a:pt x="116" y="26"/>
                  </a:lnTo>
                  <a:lnTo>
                    <a:pt x="146" y="16"/>
                  </a:lnTo>
                  <a:lnTo>
                    <a:pt x="178" y="8"/>
                  </a:lnTo>
                  <a:lnTo>
                    <a:pt x="214" y="20"/>
                  </a:lnTo>
                  <a:lnTo>
                    <a:pt x="252" y="34"/>
                  </a:lnTo>
                  <a:lnTo>
                    <a:pt x="282" y="26"/>
                  </a:lnTo>
                  <a:lnTo>
                    <a:pt x="320" y="12"/>
                  </a:lnTo>
                  <a:lnTo>
                    <a:pt x="330" y="0"/>
                  </a:lnTo>
                  <a:lnTo>
                    <a:pt x="358" y="8"/>
                  </a:lnTo>
                  <a:lnTo>
                    <a:pt x="386" y="22"/>
                  </a:lnTo>
                  <a:lnTo>
                    <a:pt x="414" y="36"/>
                  </a:lnTo>
                  <a:lnTo>
                    <a:pt x="442" y="36"/>
                  </a:lnTo>
                  <a:lnTo>
                    <a:pt x="438" y="52"/>
                  </a:lnTo>
                  <a:lnTo>
                    <a:pt x="444" y="68"/>
                  </a:lnTo>
                  <a:lnTo>
                    <a:pt x="466" y="76"/>
                  </a:lnTo>
                  <a:lnTo>
                    <a:pt x="476" y="82"/>
                  </a:lnTo>
                  <a:lnTo>
                    <a:pt x="478" y="86"/>
                  </a:lnTo>
                  <a:lnTo>
                    <a:pt x="478" y="92"/>
                  </a:lnTo>
                  <a:lnTo>
                    <a:pt x="478" y="104"/>
                  </a:lnTo>
                  <a:lnTo>
                    <a:pt x="466" y="108"/>
                  </a:lnTo>
                  <a:lnTo>
                    <a:pt x="432" y="110"/>
                  </a:lnTo>
                  <a:lnTo>
                    <a:pt x="404" y="102"/>
                  </a:lnTo>
                  <a:lnTo>
                    <a:pt x="382" y="102"/>
                  </a:lnTo>
                  <a:lnTo>
                    <a:pt x="380" y="106"/>
                  </a:lnTo>
                  <a:lnTo>
                    <a:pt x="370" y="122"/>
                  </a:lnTo>
                  <a:lnTo>
                    <a:pt x="346" y="140"/>
                  </a:lnTo>
                  <a:lnTo>
                    <a:pt x="312" y="152"/>
                  </a:lnTo>
                  <a:lnTo>
                    <a:pt x="276" y="170"/>
                  </a:lnTo>
                  <a:lnTo>
                    <a:pt x="236" y="150"/>
                  </a:lnTo>
                  <a:lnTo>
                    <a:pt x="208" y="148"/>
                  </a:lnTo>
                  <a:lnTo>
                    <a:pt x="142" y="176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37" name="Freeform 186"/>
            <p:cNvSpPr>
              <a:spLocks/>
            </p:cNvSpPr>
            <p:nvPr/>
          </p:nvSpPr>
          <p:spPr bwMode="auto">
            <a:xfrm>
              <a:off x="5717339" y="6387910"/>
              <a:ext cx="209550" cy="133350"/>
            </a:xfrm>
            <a:custGeom>
              <a:avLst/>
              <a:gdLst>
                <a:gd name="T0" fmla="*/ 277217159 w 132"/>
                <a:gd name="T1" fmla="*/ 0 h 84"/>
                <a:gd name="T2" fmla="*/ 231854367 w 132"/>
                <a:gd name="T3" fmla="*/ 15120938 h 84"/>
                <a:gd name="T4" fmla="*/ 171370595 w 132"/>
                <a:gd name="T5" fmla="*/ 30241876 h 84"/>
                <a:gd name="T6" fmla="*/ 115927184 w 132"/>
                <a:gd name="T7" fmla="*/ 35282187 h 84"/>
                <a:gd name="T8" fmla="*/ 90725608 w 132"/>
                <a:gd name="T9" fmla="*/ 85685306 h 84"/>
                <a:gd name="T10" fmla="*/ 50403114 w 132"/>
                <a:gd name="T11" fmla="*/ 85685306 h 84"/>
                <a:gd name="T12" fmla="*/ 0 w 132"/>
                <a:gd name="T13" fmla="*/ 110886884 h 84"/>
                <a:gd name="T14" fmla="*/ 20161247 w 132"/>
                <a:gd name="T15" fmla="*/ 181451234 h 84"/>
                <a:gd name="T16" fmla="*/ 95765918 w 132"/>
                <a:gd name="T17" fmla="*/ 201612476 h 84"/>
                <a:gd name="T18" fmla="*/ 131048114 w 132"/>
                <a:gd name="T19" fmla="*/ 211693147 h 84"/>
                <a:gd name="T20" fmla="*/ 151209355 w 132"/>
                <a:gd name="T21" fmla="*/ 181451234 h 84"/>
                <a:gd name="T22" fmla="*/ 181451216 w 132"/>
                <a:gd name="T23" fmla="*/ 171370612 h 84"/>
                <a:gd name="T24" fmla="*/ 216733437 w 132"/>
                <a:gd name="T25" fmla="*/ 156249680 h 84"/>
                <a:gd name="T26" fmla="*/ 246975298 w 132"/>
                <a:gd name="T27" fmla="*/ 131048127 h 84"/>
                <a:gd name="T28" fmla="*/ 252015608 w 132"/>
                <a:gd name="T29" fmla="*/ 100806238 h 84"/>
                <a:gd name="T30" fmla="*/ 332660570 w 132"/>
                <a:gd name="T31" fmla="*/ 85685306 h 84"/>
                <a:gd name="T32" fmla="*/ 292338089 w 132"/>
                <a:gd name="T33" fmla="*/ 50403119 h 84"/>
                <a:gd name="T34" fmla="*/ 277217159 w 132"/>
                <a:gd name="T35" fmla="*/ 0 h 8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2"/>
                <a:gd name="T55" fmla="*/ 0 h 84"/>
                <a:gd name="T56" fmla="*/ 132 w 132"/>
                <a:gd name="T57" fmla="*/ 84 h 8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2" h="84">
                  <a:moveTo>
                    <a:pt x="110" y="0"/>
                  </a:moveTo>
                  <a:lnTo>
                    <a:pt x="92" y="6"/>
                  </a:lnTo>
                  <a:lnTo>
                    <a:pt x="68" y="12"/>
                  </a:lnTo>
                  <a:lnTo>
                    <a:pt x="46" y="14"/>
                  </a:lnTo>
                  <a:lnTo>
                    <a:pt x="36" y="34"/>
                  </a:lnTo>
                  <a:lnTo>
                    <a:pt x="20" y="34"/>
                  </a:lnTo>
                  <a:lnTo>
                    <a:pt x="0" y="44"/>
                  </a:lnTo>
                  <a:lnTo>
                    <a:pt x="8" y="72"/>
                  </a:lnTo>
                  <a:lnTo>
                    <a:pt x="38" y="80"/>
                  </a:lnTo>
                  <a:lnTo>
                    <a:pt x="52" y="84"/>
                  </a:lnTo>
                  <a:lnTo>
                    <a:pt x="60" y="72"/>
                  </a:lnTo>
                  <a:lnTo>
                    <a:pt x="72" y="68"/>
                  </a:lnTo>
                  <a:lnTo>
                    <a:pt x="86" y="62"/>
                  </a:lnTo>
                  <a:lnTo>
                    <a:pt x="98" y="52"/>
                  </a:lnTo>
                  <a:lnTo>
                    <a:pt x="100" y="40"/>
                  </a:lnTo>
                  <a:lnTo>
                    <a:pt x="132" y="34"/>
                  </a:lnTo>
                  <a:lnTo>
                    <a:pt x="116" y="20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38" name="Freeform 187"/>
            <p:cNvSpPr>
              <a:spLocks/>
            </p:cNvSpPr>
            <p:nvPr/>
          </p:nvSpPr>
          <p:spPr bwMode="auto">
            <a:xfrm>
              <a:off x="6901614" y="5042518"/>
              <a:ext cx="590550" cy="481792"/>
            </a:xfrm>
            <a:custGeom>
              <a:avLst/>
              <a:gdLst>
                <a:gd name="T0" fmla="*/ 322402 w 590550"/>
                <a:gd name="T1" fmla="*/ 0 h 481792"/>
                <a:gd name="T2" fmla="*/ 346075 w 590550"/>
                <a:gd name="T3" fmla="*/ 2367 h 481792"/>
                <a:gd name="T4" fmla="*/ 377825 w 590550"/>
                <a:gd name="T5" fmla="*/ 24592 h 481792"/>
                <a:gd name="T6" fmla="*/ 425450 w 590550"/>
                <a:gd name="T7" fmla="*/ 65867 h 481792"/>
                <a:gd name="T8" fmla="*/ 479425 w 590550"/>
                <a:gd name="T9" fmla="*/ 107142 h 481792"/>
                <a:gd name="T10" fmla="*/ 523875 w 590550"/>
                <a:gd name="T11" fmla="*/ 116667 h 481792"/>
                <a:gd name="T12" fmla="*/ 574675 w 590550"/>
                <a:gd name="T13" fmla="*/ 113492 h 481792"/>
                <a:gd name="T14" fmla="*/ 590550 w 590550"/>
                <a:gd name="T15" fmla="*/ 126192 h 481792"/>
                <a:gd name="T16" fmla="*/ 565150 w 590550"/>
                <a:gd name="T17" fmla="*/ 132542 h 481792"/>
                <a:gd name="T18" fmla="*/ 511175 w 590550"/>
                <a:gd name="T19" fmla="*/ 183342 h 481792"/>
                <a:gd name="T20" fmla="*/ 523875 w 590550"/>
                <a:gd name="T21" fmla="*/ 253192 h 481792"/>
                <a:gd name="T22" fmla="*/ 523875 w 590550"/>
                <a:gd name="T23" fmla="*/ 281767 h 481792"/>
                <a:gd name="T24" fmla="*/ 542925 w 590550"/>
                <a:gd name="T25" fmla="*/ 291292 h 481792"/>
                <a:gd name="T26" fmla="*/ 530225 w 590550"/>
                <a:gd name="T27" fmla="*/ 303992 h 481792"/>
                <a:gd name="T28" fmla="*/ 533400 w 590550"/>
                <a:gd name="T29" fmla="*/ 326217 h 481792"/>
                <a:gd name="T30" fmla="*/ 536575 w 590550"/>
                <a:gd name="T31" fmla="*/ 357967 h 481792"/>
                <a:gd name="T32" fmla="*/ 527050 w 590550"/>
                <a:gd name="T33" fmla="*/ 354792 h 481792"/>
                <a:gd name="T34" fmla="*/ 508000 w 590550"/>
                <a:gd name="T35" fmla="*/ 338917 h 481792"/>
                <a:gd name="T36" fmla="*/ 514350 w 590550"/>
                <a:gd name="T37" fmla="*/ 357967 h 481792"/>
                <a:gd name="T38" fmla="*/ 514350 w 590550"/>
                <a:gd name="T39" fmla="*/ 386542 h 481792"/>
                <a:gd name="T40" fmla="*/ 527050 w 590550"/>
                <a:gd name="T41" fmla="*/ 421467 h 481792"/>
                <a:gd name="T42" fmla="*/ 534377 w 590550"/>
                <a:gd name="T43" fmla="*/ 440517 h 481792"/>
                <a:gd name="T44" fmla="*/ 533400 w 590550"/>
                <a:gd name="T45" fmla="*/ 440517 h 481792"/>
                <a:gd name="T46" fmla="*/ 504825 w 590550"/>
                <a:gd name="T47" fmla="*/ 456392 h 481792"/>
                <a:gd name="T48" fmla="*/ 460375 w 590550"/>
                <a:gd name="T49" fmla="*/ 440517 h 481792"/>
                <a:gd name="T50" fmla="*/ 422275 w 590550"/>
                <a:gd name="T51" fmla="*/ 418292 h 481792"/>
                <a:gd name="T52" fmla="*/ 444500 w 590550"/>
                <a:gd name="T53" fmla="*/ 396067 h 481792"/>
                <a:gd name="T54" fmla="*/ 431800 w 590550"/>
                <a:gd name="T55" fmla="*/ 338917 h 481792"/>
                <a:gd name="T56" fmla="*/ 377825 w 590550"/>
                <a:gd name="T57" fmla="*/ 307167 h 481792"/>
                <a:gd name="T58" fmla="*/ 327025 w 590550"/>
                <a:gd name="T59" fmla="*/ 367492 h 481792"/>
                <a:gd name="T60" fmla="*/ 269875 w 590550"/>
                <a:gd name="T61" fmla="*/ 481792 h 481792"/>
                <a:gd name="T62" fmla="*/ 257175 w 590550"/>
                <a:gd name="T63" fmla="*/ 453217 h 481792"/>
                <a:gd name="T64" fmla="*/ 250825 w 590550"/>
                <a:gd name="T65" fmla="*/ 427817 h 481792"/>
                <a:gd name="T66" fmla="*/ 225425 w 590550"/>
                <a:gd name="T67" fmla="*/ 389717 h 481792"/>
                <a:gd name="T68" fmla="*/ 168275 w 590550"/>
                <a:gd name="T69" fmla="*/ 380192 h 481792"/>
                <a:gd name="T70" fmla="*/ 146050 w 590550"/>
                <a:gd name="T71" fmla="*/ 348442 h 481792"/>
                <a:gd name="T72" fmla="*/ 136525 w 590550"/>
                <a:gd name="T73" fmla="*/ 313517 h 481792"/>
                <a:gd name="T74" fmla="*/ 76200 w 590550"/>
                <a:gd name="T75" fmla="*/ 291292 h 481792"/>
                <a:gd name="T76" fmla="*/ 0 w 590550"/>
                <a:gd name="T77" fmla="*/ 211917 h 481792"/>
                <a:gd name="T78" fmla="*/ 15875 w 590550"/>
                <a:gd name="T79" fmla="*/ 186517 h 481792"/>
                <a:gd name="T80" fmla="*/ 19050 w 590550"/>
                <a:gd name="T81" fmla="*/ 180167 h 481792"/>
                <a:gd name="T82" fmla="*/ 53975 w 590550"/>
                <a:gd name="T83" fmla="*/ 180167 h 481792"/>
                <a:gd name="T84" fmla="*/ 98425 w 590550"/>
                <a:gd name="T85" fmla="*/ 192867 h 481792"/>
                <a:gd name="T86" fmla="*/ 152400 w 590550"/>
                <a:gd name="T87" fmla="*/ 189692 h 481792"/>
                <a:gd name="T88" fmla="*/ 171450 w 590550"/>
                <a:gd name="T89" fmla="*/ 183342 h 481792"/>
                <a:gd name="T90" fmla="*/ 171450 w 590550"/>
                <a:gd name="T91" fmla="*/ 164292 h 481792"/>
                <a:gd name="T92" fmla="*/ 171450 w 590550"/>
                <a:gd name="T93" fmla="*/ 154767 h 481792"/>
                <a:gd name="T94" fmla="*/ 168275 w 590550"/>
                <a:gd name="T95" fmla="*/ 148417 h 481792"/>
                <a:gd name="T96" fmla="*/ 152400 w 590550"/>
                <a:gd name="T97" fmla="*/ 138892 h 481792"/>
                <a:gd name="T98" fmla="*/ 117475 w 590550"/>
                <a:gd name="T99" fmla="*/ 126192 h 481792"/>
                <a:gd name="T100" fmla="*/ 107950 w 590550"/>
                <a:gd name="T101" fmla="*/ 100792 h 481792"/>
                <a:gd name="T102" fmla="*/ 114300 w 590550"/>
                <a:gd name="T103" fmla="*/ 75392 h 481792"/>
                <a:gd name="T104" fmla="*/ 174625 w 590550"/>
                <a:gd name="T105" fmla="*/ 84917 h 481792"/>
                <a:gd name="T106" fmla="*/ 219075 w 590550"/>
                <a:gd name="T107" fmla="*/ 113492 h 481792"/>
                <a:gd name="T108" fmla="*/ 266700 w 590550"/>
                <a:gd name="T109" fmla="*/ 119842 h 481792"/>
                <a:gd name="T110" fmla="*/ 298450 w 590550"/>
                <a:gd name="T111" fmla="*/ 65867 h 481792"/>
                <a:gd name="T112" fmla="*/ 322402 w 590550"/>
                <a:gd name="T113" fmla="*/ 0 h 48179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90550"/>
                <a:gd name="T172" fmla="*/ 0 h 481792"/>
                <a:gd name="T173" fmla="*/ 590550 w 590550"/>
                <a:gd name="T174" fmla="*/ 481792 h 48179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90550" h="481792">
                  <a:moveTo>
                    <a:pt x="322402" y="0"/>
                  </a:moveTo>
                  <a:lnTo>
                    <a:pt x="346075" y="2367"/>
                  </a:lnTo>
                  <a:lnTo>
                    <a:pt x="377825" y="24592"/>
                  </a:lnTo>
                  <a:lnTo>
                    <a:pt x="425450" y="65867"/>
                  </a:lnTo>
                  <a:lnTo>
                    <a:pt x="479425" y="107142"/>
                  </a:lnTo>
                  <a:lnTo>
                    <a:pt x="523875" y="116667"/>
                  </a:lnTo>
                  <a:lnTo>
                    <a:pt x="574675" y="113492"/>
                  </a:lnTo>
                  <a:lnTo>
                    <a:pt x="590550" y="126192"/>
                  </a:lnTo>
                  <a:lnTo>
                    <a:pt x="565150" y="132542"/>
                  </a:lnTo>
                  <a:lnTo>
                    <a:pt x="511175" y="183342"/>
                  </a:lnTo>
                  <a:lnTo>
                    <a:pt x="523875" y="253192"/>
                  </a:lnTo>
                  <a:lnTo>
                    <a:pt x="523875" y="281767"/>
                  </a:lnTo>
                  <a:lnTo>
                    <a:pt x="542925" y="291292"/>
                  </a:lnTo>
                  <a:lnTo>
                    <a:pt x="530225" y="303992"/>
                  </a:lnTo>
                  <a:lnTo>
                    <a:pt x="533400" y="326217"/>
                  </a:lnTo>
                  <a:lnTo>
                    <a:pt x="536575" y="357967"/>
                  </a:lnTo>
                  <a:lnTo>
                    <a:pt x="527050" y="354792"/>
                  </a:lnTo>
                  <a:lnTo>
                    <a:pt x="508000" y="338917"/>
                  </a:lnTo>
                  <a:lnTo>
                    <a:pt x="514350" y="357967"/>
                  </a:lnTo>
                  <a:lnTo>
                    <a:pt x="514350" y="386542"/>
                  </a:lnTo>
                  <a:lnTo>
                    <a:pt x="527050" y="421467"/>
                  </a:lnTo>
                  <a:lnTo>
                    <a:pt x="534377" y="440517"/>
                  </a:lnTo>
                  <a:lnTo>
                    <a:pt x="533400" y="440517"/>
                  </a:lnTo>
                  <a:lnTo>
                    <a:pt x="504825" y="456392"/>
                  </a:lnTo>
                  <a:lnTo>
                    <a:pt x="460375" y="440517"/>
                  </a:lnTo>
                  <a:lnTo>
                    <a:pt x="422275" y="418292"/>
                  </a:lnTo>
                  <a:lnTo>
                    <a:pt x="444500" y="396067"/>
                  </a:lnTo>
                  <a:lnTo>
                    <a:pt x="431800" y="338917"/>
                  </a:lnTo>
                  <a:lnTo>
                    <a:pt x="377825" y="307167"/>
                  </a:lnTo>
                  <a:lnTo>
                    <a:pt x="327025" y="367492"/>
                  </a:lnTo>
                  <a:lnTo>
                    <a:pt x="269875" y="481792"/>
                  </a:lnTo>
                  <a:lnTo>
                    <a:pt x="257175" y="453217"/>
                  </a:lnTo>
                  <a:lnTo>
                    <a:pt x="250825" y="427817"/>
                  </a:lnTo>
                  <a:lnTo>
                    <a:pt x="225425" y="389717"/>
                  </a:lnTo>
                  <a:lnTo>
                    <a:pt x="168275" y="380192"/>
                  </a:lnTo>
                  <a:lnTo>
                    <a:pt x="146050" y="348442"/>
                  </a:lnTo>
                  <a:lnTo>
                    <a:pt x="136525" y="313517"/>
                  </a:lnTo>
                  <a:lnTo>
                    <a:pt x="76200" y="291292"/>
                  </a:lnTo>
                  <a:lnTo>
                    <a:pt x="0" y="211917"/>
                  </a:lnTo>
                  <a:lnTo>
                    <a:pt x="15875" y="186517"/>
                  </a:lnTo>
                  <a:lnTo>
                    <a:pt x="19050" y="180167"/>
                  </a:lnTo>
                  <a:lnTo>
                    <a:pt x="53975" y="180167"/>
                  </a:lnTo>
                  <a:lnTo>
                    <a:pt x="98425" y="192867"/>
                  </a:lnTo>
                  <a:lnTo>
                    <a:pt x="152400" y="189692"/>
                  </a:lnTo>
                  <a:lnTo>
                    <a:pt x="171450" y="183342"/>
                  </a:lnTo>
                  <a:lnTo>
                    <a:pt x="171450" y="164292"/>
                  </a:lnTo>
                  <a:lnTo>
                    <a:pt x="171450" y="154767"/>
                  </a:lnTo>
                  <a:lnTo>
                    <a:pt x="168275" y="148417"/>
                  </a:lnTo>
                  <a:lnTo>
                    <a:pt x="152400" y="138892"/>
                  </a:lnTo>
                  <a:lnTo>
                    <a:pt x="117475" y="126192"/>
                  </a:lnTo>
                  <a:lnTo>
                    <a:pt x="107950" y="100792"/>
                  </a:lnTo>
                  <a:lnTo>
                    <a:pt x="114300" y="75392"/>
                  </a:lnTo>
                  <a:lnTo>
                    <a:pt x="174625" y="84917"/>
                  </a:lnTo>
                  <a:lnTo>
                    <a:pt x="219075" y="113492"/>
                  </a:lnTo>
                  <a:lnTo>
                    <a:pt x="266700" y="119842"/>
                  </a:lnTo>
                  <a:lnTo>
                    <a:pt x="298450" y="65867"/>
                  </a:lnTo>
                  <a:lnTo>
                    <a:pt x="322402" y="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39" name="Freeform 188"/>
            <p:cNvSpPr>
              <a:spLocks/>
            </p:cNvSpPr>
            <p:nvPr/>
          </p:nvSpPr>
          <p:spPr bwMode="auto">
            <a:xfrm>
              <a:off x="6752389" y="5254435"/>
              <a:ext cx="419100" cy="285750"/>
            </a:xfrm>
            <a:custGeom>
              <a:avLst/>
              <a:gdLst>
                <a:gd name="T0" fmla="*/ 635079280 w 264"/>
                <a:gd name="T1" fmla="*/ 342741233 h 180"/>
                <a:gd name="T2" fmla="*/ 594756798 w 264"/>
                <a:gd name="T3" fmla="*/ 282257504 h 180"/>
                <a:gd name="T4" fmla="*/ 504031215 w 264"/>
                <a:gd name="T5" fmla="*/ 267136571 h 180"/>
                <a:gd name="T6" fmla="*/ 468749044 w 264"/>
                <a:gd name="T7" fmla="*/ 216733463 h 180"/>
                <a:gd name="T8" fmla="*/ 453628114 w 264"/>
                <a:gd name="T9" fmla="*/ 161289995 h 180"/>
                <a:gd name="T10" fmla="*/ 357862121 w 264"/>
                <a:gd name="T11" fmla="*/ 126007819 h 180"/>
                <a:gd name="T12" fmla="*/ 236894677 w 264"/>
                <a:gd name="T13" fmla="*/ 0 h 180"/>
                <a:gd name="T14" fmla="*/ 176410906 w 264"/>
                <a:gd name="T15" fmla="*/ 45362810 h 180"/>
                <a:gd name="T16" fmla="*/ 90725608 w 264"/>
                <a:gd name="T17" fmla="*/ 75604687 h 180"/>
                <a:gd name="T18" fmla="*/ 0 w 264"/>
                <a:gd name="T19" fmla="*/ 120967509 h 180"/>
                <a:gd name="T20" fmla="*/ 75604677 w 264"/>
                <a:gd name="T21" fmla="*/ 201612481 h 180"/>
                <a:gd name="T22" fmla="*/ 75604677 w 264"/>
                <a:gd name="T23" fmla="*/ 201612481 h 180"/>
                <a:gd name="T24" fmla="*/ 75604677 w 264"/>
                <a:gd name="T25" fmla="*/ 216733463 h 180"/>
                <a:gd name="T26" fmla="*/ 95765918 w 264"/>
                <a:gd name="T27" fmla="*/ 327620301 h 180"/>
                <a:gd name="T28" fmla="*/ 307459020 w 264"/>
                <a:gd name="T29" fmla="*/ 347781544 h 180"/>
                <a:gd name="T30" fmla="*/ 342741191 w 264"/>
                <a:gd name="T31" fmla="*/ 332660611 h 180"/>
                <a:gd name="T32" fmla="*/ 423386253 w 264"/>
                <a:gd name="T33" fmla="*/ 342741233 h 180"/>
                <a:gd name="T34" fmla="*/ 483869975 w 264"/>
                <a:gd name="T35" fmla="*/ 322579990 h 180"/>
                <a:gd name="T36" fmla="*/ 539313387 w 264"/>
                <a:gd name="T37" fmla="*/ 367942787 h 180"/>
                <a:gd name="T38" fmla="*/ 544353697 w 264"/>
                <a:gd name="T39" fmla="*/ 378023409 h 180"/>
                <a:gd name="T40" fmla="*/ 549394007 w 264"/>
                <a:gd name="T41" fmla="*/ 393144341 h 180"/>
                <a:gd name="T42" fmla="*/ 594756798 w 264"/>
                <a:gd name="T43" fmla="*/ 453628170 h 180"/>
                <a:gd name="T44" fmla="*/ 665321141 w 264"/>
                <a:gd name="T45" fmla="*/ 428426616 h 180"/>
                <a:gd name="T46" fmla="*/ 645159900 w 264"/>
                <a:gd name="T47" fmla="*/ 383063719 h 180"/>
                <a:gd name="T48" fmla="*/ 635079280 w 264"/>
                <a:gd name="T49" fmla="*/ 342741233 h 18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64"/>
                <a:gd name="T76" fmla="*/ 0 h 180"/>
                <a:gd name="T77" fmla="*/ 264 w 264"/>
                <a:gd name="T78" fmla="*/ 180 h 18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64" h="180">
                  <a:moveTo>
                    <a:pt x="252" y="136"/>
                  </a:moveTo>
                  <a:lnTo>
                    <a:pt x="236" y="112"/>
                  </a:lnTo>
                  <a:lnTo>
                    <a:pt x="200" y="106"/>
                  </a:lnTo>
                  <a:lnTo>
                    <a:pt x="186" y="86"/>
                  </a:lnTo>
                  <a:lnTo>
                    <a:pt x="180" y="64"/>
                  </a:lnTo>
                  <a:lnTo>
                    <a:pt x="142" y="50"/>
                  </a:lnTo>
                  <a:lnTo>
                    <a:pt x="94" y="0"/>
                  </a:lnTo>
                  <a:lnTo>
                    <a:pt x="70" y="18"/>
                  </a:lnTo>
                  <a:lnTo>
                    <a:pt x="36" y="30"/>
                  </a:lnTo>
                  <a:lnTo>
                    <a:pt x="0" y="48"/>
                  </a:lnTo>
                  <a:lnTo>
                    <a:pt x="30" y="80"/>
                  </a:lnTo>
                  <a:lnTo>
                    <a:pt x="30" y="86"/>
                  </a:lnTo>
                  <a:lnTo>
                    <a:pt x="38" y="130"/>
                  </a:lnTo>
                  <a:lnTo>
                    <a:pt x="122" y="138"/>
                  </a:lnTo>
                  <a:lnTo>
                    <a:pt x="136" y="132"/>
                  </a:lnTo>
                  <a:lnTo>
                    <a:pt x="168" y="136"/>
                  </a:lnTo>
                  <a:lnTo>
                    <a:pt x="192" y="128"/>
                  </a:lnTo>
                  <a:lnTo>
                    <a:pt x="214" y="146"/>
                  </a:lnTo>
                  <a:lnTo>
                    <a:pt x="216" y="150"/>
                  </a:lnTo>
                  <a:lnTo>
                    <a:pt x="218" y="156"/>
                  </a:lnTo>
                  <a:lnTo>
                    <a:pt x="236" y="180"/>
                  </a:lnTo>
                  <a:lnTo>
                    <a:pt x="264" y="170"/>
                  </a:lnTo>
                  <a:lnTo>
                    <a:pt x="256" y="152"/>
                  </a:lnTo>
                  <a:lnTo>
                    <a:pt x="252" y="136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40" name="Freeform 189"/>
            <p:cNvSpPr>
              <a:spLocks/>
            </p:cNvSpPr>
            <p:nvPr/>
          </p:nvSpPr>
          <p:spPr bwMode="auto">
            <a:xfrm>
              <a:off x="6946064" y="5457635"/>
              <a:ext cx="180975" cy="88900"/>
            </a:xfrm>
            <a:custGeom>
              <a:avLst/>
              <a:gdLst>
                <a:gd name="T0" fmla="*/ 236894723 w 114"/>
                <a:gd name="T1" fmla="*/ 55443447 h 56"/>
                <a:gd name="T2" fmla="*/ 231854412 w 114"/>
                <a:gd name="T3" fmla="*/ 45362813 h 56"/>
                <a:gd name="T4" fmla="*/ 176410940 w 114"/>
                <a:gd name="T5" fmla="*/ 0 h 56"/>
                <a:gd name="T6" fmla="*/ 115927206 w 114"/>
                <a:gd name="T7" fmla="*/ 20161251 h 56"/>
                <a:gd name="T8" fmla="*/ 35282190 w 114"/>
                <a:gd name="T9" fmla="*/ 10080625 h 56"/>
                <a:gd name="T10" fmla="*/ 0 w 114"/>
                <a:gd name="T11" fmla="*/ 25201562 h 56"/>
                <a:gd name="T12" fmla="*/ 15120940 w 114"/>
                <a:gd name="T13" fmla="*/ 45362813 h 56"/>
                <a:gd name="T14" fmla="*/ 156249695 w 114"/>
                <a:gd name="T15" fmla="*/ 141128761 h 56"/>
                <a:gd name="T16" fmla="*/ 287297835 w 114"/>
                <a:gd name="T17" fmla="*/ 131048139 h 56"/>
                <a:gd name="T18" fmla="*/ 241935034 w 114"/>
                <a:gd name="T19" fmla="*/ 70564381 h 56"/>
                <a:gd name="T20" fmla="*/ 236894723 w 114"/>
                <a:gd name="T21" fmla="*/ 55443447 h 5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4"/>
                <a:gd name="T34" fmla="*/ 0 h 56"/>
                <a:gd name="T35" fmla="*/ 114 w 114"/>
                <a:gd name="T36" fmla="*/ 56 h 5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4" h="56">
                  <a:moveTo>
                    <a:pt x="94" y="22"/>
                  </a:moveTo>
                  <a:lnTo>
                    <a:pt x="92" y="18"/>
                  </a:lnTo>
                  <a:lnTo>
                    <a:pt x="70" y="0"/>
                  </a:lnTo>
                  <a:lnTo>
                    <a:pt x="46" y="8"/>
                  </a:lnTo>
                  <a:lnTo>
                    <a:pt x="14" y="4"/>
                  </a:lnTo>
                  <a:lnTo>
                    <a:pt x="0" y="10"/>
                  </a:lnTo>
                  <a:lnTo>
                    <a:pt x="6" y="18"/>
                  </a:lnTo>
                  <a:lnTo>
                    <a:pt x="62" y="56"/>
                  </a:lnTo>
                  <a:lnTo>
                    <a:pt x="114" y="52"/>
                  </a:lnTo>
                  <a:lnTo>
                    <a:pt x="96" y="28"/>
                  </a:lnTo>
                  <a:lnTo>
                    <a:pt x="94" y="22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41" name="Freeform 197"/>
            <p:cNvSpPr>
              <a:spLocks/>
            </p:cNvSpPr>
            <p:nvPr/>
          </p:nvSpPr>
          <p:spPr bwMode="auto">
            <a:xfrm>
              <a:off x="4923589" y="5295710"/>
              <a:ext cx="2136775" cy="1060450"/>
            </a:xfrm>
            <a:custGeom>
              <a:avLst/>
              <a:gdLst>
                <a:gd name="T0" fmla="*/ 193675 w 2136775"/>
                <a:gd name="T1" fmla="*/ 295275 h 1060450"/>
                <a:gd name="T2" fmla="*/ 301625 w 2136775"/>
                <a:gd name="T3" fmla="*/ 355600 h 1060450"/>
                <a:gd name="T4" fmla="*/ 215900 w 2136775"/>
                <a:gd name="T5" fmla="*/ 393700 h 1060450"/>
                <a:gd name="T6" fmla="*/ 149225 w 2136775"/>
                <a:gd name="T7" fmla="*/ 428625 h 1060450"/>
                <a:gd name="T8" fmla="*/ 44450 w 2136775"/>
                <a:gd name="T9" fmla="*/ 539750 h 1060450"/>
                <a:gd name="T10" fmla="*/ 66675 w 2136775"/>
                <a:gd name="T11" fmla="*/ 485775 h 1060450"/>
                <a:gd name="T12" fmla="*/ 25400 w 2136775"/>
                <a:gd name="T13" fmla="*/ 479425 h 1060450"/>
                <a:gd name="T14" fmla="*/ 57150 w 2136775"/>
                <a:gd name="T15" fmla="*/ 368300 h 1060450"/>
                <a:gd name="T16" fmla="*/ 22225 w 2136775"/>
                <a:gd name="T17" fmla="*/ 320675 h 1060450"/>
                <a:gd name="T18" fmla="*/ 1765301 w 2136775"/>
                <a:gd name="T19" fmla="*/ 3175 h 1060450"/>
                <a:gd name="T20" fmla="*/ 1876426 w 2136775"/>
                <a:gd name="T21" fmla="*/ 95250 h 1060450"/>
                <a:gd name="T22" fmla="*/ 2032001 w 2136775"/>
                <a:gd name="T23" fmla="*/ 190500 h 1060450"/>
                <a:gd name="T24" fmla="*/ 1962151 w 2136775"/>
                <a:gd name="T25" fmla="*/ 247650 h 1060450"/>
                <a:gd name="T26" fmla="*/ 2022476 w 2136775"/>
                <a:gd name="T27" fmla="*/ 342900 h 1060450"/>
                <a:gd name="T28" fmla="*/ 2105025 w 2136775"/>
                <a:gd name="T29" fmla="*/ 479425 h 1060450"/>
                <a:gd name="T30" fmla="*/ 2057401 w 2136775"/>
                <a:gd name="T31" fmla="*/ 530225 h 1060450"/>
                <a:gd name="T32" fmla="*/ 1965326 w 2136775"/>
                <a:gd name="T33" fmla="*/ 555625 h 1060450"/>
                <a:gd name="T34" fmla="*/ 1870076 w 2136775"/>
                <a:gd name="T35" fmla="*/ 619125 h 1060450"/>
                <a:gd name="T36" fmla="*/ 1704976 w 2136775"/>
                <a:gd name="T37" fmla="*/ 666750 h 1060450"/>
                <a:gd name="T38" fmla="*/ 1533526 w 2136775"/>
                <a:gd name="T39" fmla="*/ 781050 h 1060450"/>
                <a:gd name="T40" fmla="*/ 1422401 w 2136775"/>
                <a:gd name="T41" fmla="*/ 774700 h 1060450"/>
                <a:gd name="T42" fmla="*/ 1257301 w 2136775"/>
                <a:gd name="T43" fmla="*/ 892175 h 1060450"/>
                <a:gd name="T44" fmla="*/ 1238251 w 2136775"/>
                <a:gd name="T45" fmla="*/ 946150 h 1060450"/>
                <a:gd name="T46" fmla="*/ 1165226 w 2136775"/>
                <a:gd name="T47" fmla="*/ 923925 h 1060450"/>
                <a:gd name="T48" fmla="*/ 1171576 w 2136775"/>
                <a:gd name="T49" fmla="*/ 828675 h 1060450"/>
                <a:gd name="T50" fmla="*/ 1054101 w 2136775"/>
                <a:gd name="T51" fmla="*/ 882650 h 1060450"/>
                <a:gd name="T52" fmla="*/ 965200 w 2136775"/>
                <a:gd name="T53" fmla="*/ 958850 h 1060450"/>
                <a:gd name="T54" fmla="*/ 685800 w 2136775"/>
                <a:gd name="T55" fmla="*/ 958850 h 1060450"/>
                <a:gd name="T56" fmla="*/ 558800 w 2136775"/>
                <a:gd name="T57" fmla="*/ 968375 h 1060450"/>
                <a:gd name="T58" fmla="*/ 485775 w 2136775"/>
                <a:gd name="T59" fmla="*/ 1054100 h 1060450"/>
                <a:gd name="T60" fmla="*/ 415925 w 2136775"/>
                <a:gd name="T61" fmla="*/ 1047750 h 1060450"/>
                <a:gd name="T62" fmla="*/ 187325 w 2136775"/>
                <a:gd name="T63" fmla="*/ 974725 h 1060450"/>
                <a:gd name="T64" fmla="*/ 95250 w 2136775"/>
                <a:gd name="T65" fmla="*/ 822325 h 1060450"/>
                <a:gd name="T66" fmla="*/ 63500 w 2136775"/>
                <a:gd name="T67" fmla="*/ 746125 h 1060450"/>
                <a:gd name="T68" fmla="*/ 88900 w 2136775"/>
                <a:gd name="T69" fmla="*/ 666750 h 1060450"/>
                <a:gd name="T70" fmla="*/ 15875 w 2136775"/>
                <a:gd name="T71" fmla="*/ 638175 h 1060450"/>
                <a:gd name="T72" fmla="*/ 85725 w 2136775"/>
                <a:gd name="T73" fmla="*/ 523875 h 1060450"/>
                <a:gd name="T74" fmla="*/ 177800 w 2136775"/>
                <a:gd name="T75" fmla="*/ 504825 h 1060450"/>
                <a:gd name="T76" fmla="*/ 269875 w 2136775"/>
                <a:gd name="T77" fmla="*/ 482600 h 1060450"/>
                <a:gd name="T78" fmla="*/ 320675 w 2136775"/>
                <a:gd name="T79" fmla="*/ 396875 h 1060450"/>
                <a:gd name="T80" fmla="*/ 485775 w 2136775"/>
                <a:gd name="T81" fmla="*/ 349250 h 1060450"/>
                <a:gd name="T82" fmla="*/ 638175 w 2136775"/>
                <a:gd name="T83" fmla="*/ 254000 h 1060450"/>
                <a:gd name="T84" fmla="*/ 701675 w 2136775"/>
                <a:gd name="T85" fmla="*/ 212725 h 1060450"/>
                <a:gd name="T86" fmla="*/ 838200 w 2136775"/>
                <a:gd name="T87" fmla="*/ 171450 h 1060450"/>
                <a:gd name="T88" fmla="*/ 930275 w 2136775"/>
                <a:gd name="T89" fmla="*/ 142875 h 1060450"/>
                <a:gd name="T90" fmla="*/ 1057276 w 2136775"/>
                <a:gd name="T91" fmla="*/ 193675 h 1060450"/>
                <a:gd name="T92" fmla="*/ 1146176 w 2136775"/>
                <a:gd name="T93" fmla="*/ 200025 h 1060450"/>
                <a:gd name="T94" fmla="*/ 1212851 w 2136775"/>
                <a:gd name="T95" fmla="*/ 219075 h 1060450"/>
                <a:gd name="T96" fmla="*/ 1412876 w 2136775"/>
                <a:gd name="T97" fmla="*/ 165100 h 1060450"/>
                <a:gd name="T98" fmla="*/ 1574801 w 2136775"/>
                <a:gd name="T99" fmla="*/ 98425 h 106045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136775"/>
                <a:gd name="T151" fmla="*/ 0 h 1060450"/>
                <a:gd name="T152" fmla="*/ 2136775 w 2136775"/>
                <a:gd name="T153" fmla="*/ 1060450 h 106045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136775" h="1060450">
                  <a:moveTo>
                    <a:pt x="88900" y="263525"/>
                  </a:moveTo>
                  <a:lnTo>
                    <a:pt x="193675" y="266700"/>
                  </a:lnTo>
                  <a:lnTo>
                    <a:pt x="193675" y="295275"/>
                  </a:lnTo>
                  <a:lnTo>
                    <a:pt x="215900" y="323850"/>
                  </a:lnTo>
                  <a:lnTo>
                    <a:pt x="273050" y="346075"/>
                  </a:lnTo>
                  <a:lnTo>
                    <a:pt x="301625" y="355600"/>
                  </a:lnTo>
                  <a:lnTo>
                    <a:pt x="320675" y="355600"/>
                  </a:lnTo>
                  <a:lnTo>
                    <a:pt x="301625" y="396875"/>
                  </a:lnTo>
                  <a:lnTo>
                    <a:pt x="215900" y="393700"/>
                  </a:lnTo>
                  <a:lnTo>
                    <a:pt x="174625" y="406400"/>
                  </a:lnTo>
                  <a:lnTo>
                    <a:pt x="152400" y="415925"/>
                  </a:lnTo>
                  <a:lnTo>
                    <a:pt x="149225" y="428625"/>
                  </a:lnTo>
                  <a:lnTo>
                    <a:pt x="142875" y="441325"/>
                  </a:lnTo>
                  <a:lnTo>
                    <a:pt x="127000" y="463550"/>
                  </a:lnTo>
                  <a:lnTo>
                    <a:pt x="44450" y="539750"/>
                  </a:lnTo>
                  <a:lnTo>
                    <a:pt x="25400" y="555625"/>
                  </a:lnTo>
                  <a:lnTo>
                    <a:pt x="22225" y="523875"/>
                  </a:lnTo>
                  <a:lnTo>
                    <a:pt x="66675" y="485775"/>
                  </a:lnTo>
                  <a:lnTo>
                    <a:pt x="85725" y="473075"/>
                  </a:lnTo>
                  <a:lnTo>
                    <a:pt x="63500" y="469900"/>
                  </a:lnTo>
                  <a:lnTo>
                    <a:pt x="25400" y="479425"/>
                  </a:lnTo>
                  <a:lnTo>
                    <a:pt x="0" y="460375"/>
                  </a:lnTo>
                  <a:lnTo>
                    <a:pt x="38100" y="409575"/>
                  </a:lnTo>
                  <a:lnTo>
                    <a:pt x="57150" y="368300"/>
                  </a:lnTo>
                  <a:lnTo>
                    <a:pt x="47625" y="333375"/>
                  </a:lnTo>
                  <a:lnTo>
                    <a:pt x="38100" y="327025"/>
                  </a:lnTo>
                  <a:lnTo>
                    <a:pt x="22225" y="320675"/>
                  </a:lnTo>
                  <a:lnTo>
                    <a:pt x="88900" y="263525"/>
                  </a:lnTo>
                  <a:close/>
                  <a:moveTo>
                    <a:pt x="1720850" y="0"/>
                  </a:moveTo>
                  <a:lnTo>
                    <a:pt x="1765300" y="3175"/>
                  </a:lnTo>
                  <a:lnTo>
                    <a:pt x="1828800" y="34925"/>
                  </a:lnTo>
                  <a:lnTo>
                    <a:pt x="1876425" y="85725"/>
                  </a:lnTo>
                  <a:lnTo>
                    <a:pt x="1876425" y="95250"/>
                  </a:lnTo>
                  <a:lnTo>
                    <a:pt x="1889125" y="165100"/>
                  </a:lnTo>
                  <a:lnTo>
                    <a:pt x="2022475" y="177800"/>
                  </a:lnTo>
                  <a:lnTo>
                    <a:pt x="2032000" y="190500"/>
                  </a:lnTo>
                  <a:lnTo>
                    <a:pt x="2009775" y="190500"/>
                  </a:lnTo>
                  <a:lnTo>
                    <a:pt x="1993900" y="193675"/>
                  </a:lnTo>
                  <a:lnTo>
                    <a:pt x="1962150" y="247650"/>
                  </a:lnTo>
                  <a:lnTo>
                    <a:pt x="1993900" y="301625"/>
                  </a:lnTo>
                  <a:lnTo>
                    <a:pt x="2006600" y="314325"/>
                  </a:lnTo>
                  <a:lnTo>
                    <a:pt x="2022475" y="342900"/>
                  </a:lnTo>
                  <a:lnTo>
                    <a:pt x="2044700" y="403225"/>
                  </a:lnTo>
                  <a:lnTo>
                    <a:pt x="2051050" y="450850"/>
                  </a:lnTo>
                  <a:lnTo>
                    <a:pt x="2105025" y="479425"/>
                  </a:lnTo>
                  <a:lnTo>
                    <a:pt x="2136775" y="527050"/>
                  </a:lnTo>
                  <a:lnTo>
                    <a:pt x="2108200" y="527050"/>
                  </a:lnTo>
                  <a:lnTo>
                    <a:pt x="2057400" y="530225"/>
                  </a:lnTo>
                  <a:lnTo>
                    <a:pt x="2038350" y="546100"/>
                  </a:lnTo>
                  <a:lnTo>
                    <a:pt x="2006600" y="558800"/>
                  </a:lnTo>
                  <a:lnTo>
                    <a:pt x="1965325" y="555625"/>
                  </a:lnTo>
                  <a:lnTo>
                    <a:pt x="1927225" y="565150"/>
                  </a:lnTo>
                  <a:lnTo>
                    <a:pt x="1898650" y="590550"/>
                  </a:lnTo>
                  <a:lnTo>
                    <a:pt x="1870075" y="619125"/>
                  </a:lnTo>
                  <a:lnTo>
                    <a:pt x="1847850" y="596900"/>
                  </a:lnTo>
                  <a:lnTo>
                    <a:pt x="1784350" y="650875"/>
                  </a:lnTo>
                  <a:lnTo>
                    <a:pt x="1704975" y="666750"/>
                  </a:lnTo>
                  <a:lnTo>
                    <a:pt x="1638300" y="723900"/>
                  </a:lnTo>
                  <a:lnTo>
                    <a:pt x="1562100" y="768350"/>
                  </a:lnTo>
                  <a:lnTo>
                    <a:pt x="1533525" y="781050"/>
                  </a:lnTo>
                  <a:lnTo>
                    <a:pt x="1482725" y="787400"/>
                  </a:lnTo>
                  <a:lnTo>
                    <a:pt x="1457325" y="774700"/>
                  </a:lnTo>
                  <a:lnTo>
                    <a:pt x="1422400" y="774700"/>
                  </a:lnTo>
                  <a:lnTo>
                    <a:pt x="1346200" y="815975"/>
                  </a:lnTo>
                  <a:lnTo>
                    <a:pt x="1247775" y="825500"/>
                  </a:lnTo>
                  <a:lnTo>
                    <a:pt x="1257300" y="892175"/>
                  </a:lnTo>
                  <a:lnTo>
                    <a:pt x="1266825" y="908050"/>
                  </a:lnTo>
                  <a:lnTo>
                    <a:pt x="1235075" y="917575"/>
                  </a:lnTo>
                  <a:lnTo>
                    <a:pt x="1238250" y="946150"/>
                  </a:lnTo>
                  <a:lnTo>
                    <a:pt x="1190625" y="968375"/>
                  </a:lnTo>
                  <a:lnTo>
                    <a:pt x="1190625" y="952500"/>
                  </a:lnTo>
                  <a:lnTo>
                    <a:pt x="1165225" y="923925"/>
                  </a:lnTo>
                  <a:lnTo>
                    <a:pt x="1174750" y="898525"/>
                  </a:lnTo>
                  <a:lnTo>
                    <a:pt x="1203325" y="860425"/>
                  </a:lnTo>
                  <a:lnTo>
                    <a:pt x="1171575" y="828675"/>
                  </a:lnTo>
                  <a:lnTo>
                    <a:pt x="1133475" y="885825"/>
                  </a:lnTo>
                  <a:lnTo>
                    <a:pt x="1117600" y="889000"/>
                  </a:lnTo>
                  <a:lnTo>
                    <a:pt x="1054100" y="882650"/>
                  </a:lnTo>
                  <a:lnTo>
                    <a:pt x="1044575" y="876300"/>
                  </a:lnTo>
                  <a:lnTo>
                    <a:pt x="1000125" y="898525"/>
                  </a:lnTo>
                  <a:lnTo>
                    <a:pt x="965200" y="958850"/>
                  </a:lnTo>
                  <a:lnTo>
                    <a:pt x="828675" y="1025525"/>
                  </a:lnTo>
                  <a:lnTo>
                    <a:pt x="749300" y="984250"/>
                  </a:lnTo>
                  <a:lnTo>
                    <a:pt x="685800" y="958850"/>
                  </a:lnTo>
                  <a:lnTo>
                    <a:pt x="628650" y="942975"/>
                  </a:lnTo>
                  <a:lnTo>
                    <a:pt x="600075" y="942975"/>
                  </a:lnTo>
                  <a:lnTo>
                    <a:pt x="558800" y="968375"/>
                  </a:lnTo>
                  <a:lnTo>
                    <a:pt x="549275" y="1019175"/>
                  </a:lnTo>
                  <a:lnTo>
                    <a:pt x="520700" y="1035050"/>
                  </a:lnTo>
                  <a:lnTo>
                    <a:pt x="485775" y="1054100"/>
                  </a:lnTo>
                  <a:lnTo>
                    <a:pt x="473075" y="1060450"/>
                  </a:lnTo>
                  <a:lnTo>
                    <a:pt x="454025" y="1057275"/>
                  </a:lnTo>
                  <a:lnTo>
                    <a:pt x="415925" y="1047750"/>
                  </a:lnTo>
                  <a:lnTo>
                    <a:pt x="371475" y="990600"/>
                  </a:lnTo>
                  <a:lnTo>
                    <a:pt x="288925" y="955675"/>
                  </a:lnTo>
                  <a:lnTo>
                    <a:pt x="187325" y="974725"/>
                  </a:lnTo>
                  <a:lnTo>
                    <a:pt x="161925" y="898525"/>
                  </a:lnTo>
                  <a:lnTo>
                    <a:pt x="168275" y="838200"/>
                  </a:lnTo>
                  <a:lnTo>
                    <a:pt x="95250" y="822325"/>
                  </a:lnTo>
                  <a:lnTo>
                    <a:pt x="82550" y="825500"/>
                  </a:lnTo>
                  <a:lnTo>
                    <a:pt x="53975" y="806450"/>
                  </a:lnTo>
                  <a:lnTo>
                    <a:pt x="63500" y="746125"/>
                  </a:lnTo>
                  <a:lnTo>
                    <a:pt x="111125" y="752475"/>
                  </a:lnTo>
                  <a:lnTo>
                    <a:pt x="120650" y="704850"/>
                  </a:lnTo>
                  <a:lnTo>
                    <a:pt x="88900" y="666750"/>
                  </a:lnTo>
                  <a:lnTo>
                    <a:pt x="92075" y="647700"/>
                  </a:lnTo>
                  <a:lnTo>
                    <a:pt x="111125" y="628650"/>
                  </a:lnTo>
                  <a:lnTo>
                    <a:pt x="15875" y="638175"/>
                  </a:lnTo>
                  <a:lnTo>
                    <a:pt x="25400" y="561975"/>
                  </a:lnTo>
                  <a:lnTo>
                    <a:pt x="34925" y="568325"/>
                  </a:lnTo>
                  <a:lnTo>
                    <a:pt x="85725" y="523875"/>
                  </a:lnTo>
                  <a:lnTo>
                    <a:pt x="123825" y="488950"/>
                  </a:lnTo>
                  <a:lnTo>
                    <a:pt x="139700" y="498475"/>
                  </a:lnTo>
                  <a:lnTo>
                    <a:pt x="177800" y="504825"/>
                  </a:lnTo>
                  <a:lnTo>
                    <a:pt x="196850" y="488950"/>
                  </a:lnTo>
                  <a:lnTo>
                    <a:pt x="222250" y="479425"/>
                  </a:lnTo>
                  <a:lnTo>
                    <a:pt x="269875" y="482600"/>
                  </a:lnTo>
                  <a:lnTo>
                    <a:pt x="298450" y="457200"/>
                  </a:lnTo>
                  <a:lnTo>
                    <a:pt x="320675" y="441325"/>
                  </a:lnTo>
                  <a:lnTo>
                    <a:pt x="320675" y="396875"/>
                  </a:lnTo>
                  <a:lnTo>
                    <a:pt x="333375" y="358775"/>
                  </a:lnTo>
                  <a:lnTo>
                    <a:pt x="447675" y="342900"/>
                  </a:lnTo>
                  <a:lnTo>
                    <a:pt x="485775" y="349250"/>
                  </a:lnTo>
                  <a:lnTo>
                    <a:pt x="561975" y="339725"/>
                  </a:lnTo>
                  <a:lnTo>
                    <a:pt x="625475" y="266700"/>
                  </a:lnTo>
                  <a:lnTo>
                    <a:pt x="638175" y="254000"/>
                  </a:lnTo>
                  <a:lnTo>
                    <a:pt x="650875" y="238125"/>
                  </a:lnTo>
                  <a:lnTo>
                    <a:pt x="679450" y="219075"/>
                  </a:lnTo>
                  <a:lnTo>
                    <a:pt x="701675" y="212725"/>
                  </a:lnTo>
                  <a:lnTo>
                    <a:pt x="727075" y="193675"/>
                  </a:lnTo>
                  <a:lnTo>
                    <a:pt x="768350" y="177800"/>
                  </a:lnTo>
                  <a:lnTo>
                    <a:pt x="838200" y="171450"/>
                  </a:lnTo>
                  <a:lnTo>
                    <a:pt x="885825" y="165100"/>
                  </a:lnTo>
                  <a:lnTo>
                    <a:pt x="923925" y="136525"/>
                  </a:lnTo>
                  <a:lnTo>
                    <a:pt x="930275" y="142875"/>
                  </a:lnTo>
                  <a:lnTo>
                    <a:pt x="1028700" y="177800"/>
                  </a:lnTo>
                  <a:lnTo>
                    <a:pt x="1044575" y="168275"/>
                  </a:lnTo>
                  <a:lnTo>
                    <a:pt x="1057275" y="193675"/>
                  </a:lnTo>
                  <a:lnTo>
                    <a:pt x="1092200" y="219075"/>
                  </a:lnTo>
                  <a:lnTo>
                    <a:pt x="1114425" y="200025"/>
                  </a:lnTo>
                  <a:lnTo>
                    <a:pt x="1146175" y="200025"/>
                  </a:lnTo>
                  <a:lnTo>
                    <a:pt x="1158875" y="206375"/>
                  </a:lnTo>
                  <a:lnTo>
                    <a:pt x="1165225" y="215900"/>
                  </a:lnTo>
                  <a:lnTo>
                    <a:pt x="1212850" y="219075"/>
                  </a:lnTo>
                  <a:lnTo>
                    <a:pt x="1260475" y="219075"/>
                  </a:lnTo>
                  <a:lnTo>
                    <a:pt x="1355725" y="190500"/>
                  </a:lnTo>
                  <a:lnTo>
                    <a:pt x="1412875" y="165100"/>
                  </a:lnTo>
                  <a:lnTo>
                    <a:pt x="1476375" y="165100"/>
                  </a:lnTo>
                  <a:lnTo>
                    <a:pt x="1511300" y="155575"/>
                  </a:lnTo>
                  <a:lnTo>
                    <a:pt x="1574800" y="98425"/>
                  </a:lnTo>
                  <a:lnTo>
                    <a:pt x="1616075" y="44450"/>
                  </a:lnTo>
                  <a:lnTo>
                    <a:pt x="1720850" y="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42" name="Freeform 244"/>
            <p:cNvSpPr>
              <a:spLocks/>
            </p:cNvSpPr>
            <p:nvPr/>
          </p:nvSpPr>
          <p:spPr bwMode="auto">
            <a:xfrm>
              <a:off x="4272713" y="5613210"/>
              <a:ext cx="946150" cy="968375"/>
            </a:xfrm>
            <a:custGeom>
              <a:avLst/>
              <a:gdLst>
                <a:gd name="T0" fmla="*/ 498475 w 946150"/>
                <a:gd name="T1" fmla="*/ 911225 h 968375"/>
                <a:gd name="T2" fmla="*/ 577850 w 946150"/>
                <a:gd name="T3" fmla="*/ 901700 h 968375"/>
                <a:gd name="T4" fmla="*/ 609600 w 946150"/>
                <a:gd name="T5" fmla="*/ 908050 h 968375"/>
                <a:gd name="T6" fmla="*/ 736600 w 946150"/>
                <a:gd name="T7" fmla="*/ 933450 h 968375"/>
                <a:gd name="T8" fmla="*/ 574675 w 946150"/>
                <a:gd name="T9" fmla="*/ 968375 h 968375"/>
                <a:gd name="T10" fmla="*/ 488950 w 946150"/>
                <a:gd name="T11" fmla="*/ 936625 h 968375"/>
                <a:gd name="T12" fmla="*/ 412750 w 946150"/>
                <a:gd name="T13" fmla="*/ 923925 h 968375"/>
                <a:gd name="T14" fmla="*/ 841375 w 946150"/>
                <a:gd name="T15" fmla="*/ 822325 h 968375"/>
                <a:gd name="T16" fmla="*/ 835025 w 946150"/>
                <a:gd name="T17" fmla="*/ 882650 h 968375"/>
                <a:gd name="T18" fmla="*/ 831850 w 946150"/>
                <a:gd name="T19" fmla="*/ 831850 h 968375"/>
                <a:gd name="T20" fmla="*/ 946150 w 946150"/>
                <a:gd name="T21" fmla="*/ 730250 h 968375"/>
                <a:gd name="T22" fmla="*/ 898525 w 946150"/>
                <a:gd name="T23" fmla="*/ 755650 h 968375"/>
                <a:gd name="T24" fmla="*/ 800100 w 946150"/>
                <a:gd name="T25" fmla="*/ 704850 h 968375"/>
                <a:gd name="T26" fmla="*/ 796925 w 946150"/>
                <a:gd name="T27" fmla="*/ 549275 h 968375"/>
                <a:gd name="T28" fmla="*/ 777875 w 946150"/>
                <a:gd name="T29" fmla="*/ 552450 h 968375"/>
                <a:gd name="T30" fmla="*/ 82550 w 946150"/>
                <a:gd name="T31" fmla="*/ 546100 h 968375"/>
                <a:gd name="T32" fmla="*/ 654050 w 946150"/>
                <a:gd name="T33" fmla="*/ 447675 h 968375"/>
                <a:gd name="T34" fmla="*/ 654050 w 946150"/>
                <a:gd name="T35" fmla="*/ 488950 h 968375"/>
                <a:gd name="T36" fmla="*/ 415925 w 946150"/>
                <a:gd name="T37" fmla="*/ 444500 h 968375"/>
                <a:gd name="T38" fmla="*/ 485775 w 946150"/>
                <a:gd name="T39" fmla="*/ 517525 h 968375"/>
                <a:gd name="T40" fmla="*/ 473075 w 946150"/>
                <a:gd name="T41" fmla="*/ 523875 h 968375"/>
                <a:gd name="T42" fmla="*/ 346075 w 946150"/>
                <a:gd name="T43" fmla="*/ 431800 h 968375"/>
                <a:gd name="T44" fmla="*/ 708025 w 946150"/>
                <a:gd name="T45" fmla="*/ 339725 h 968375"/>
                <a:gd name="T46" fmla="*/ 644525 w 946150"/>
                <a:gd name="T47" fmla="*/ 361950 h 968375"/>
                <a:gd name="T48" fmla="*/ 657225 w 946150"/>
                <a:gd name="T49" fmla="*/ 0 h 968375"/>
                <a:gd name="T50" fmla="*/ 698500 w 946150"/>
                <a:gd name="T51" fmla="*/ 15875 h 968375"/>
                <a:gd name="T52" fmla="*/ 650875 w 946150"/>
                <a:gd name="T53" fmla="*/ 142875 h 968375"/>
                <a:gd name="T54" fmla="*/ 441325 w 946150"/>
                <a:gd name="T55" fmla="*/ 149225 h 968375"/>
                <a:gd name="T56" fmla="*/ 396875 w 946150"/>
                <a:gd name="T57" fmla="*/ 231775 h 968375"/>
                <a:gd name="T58" fmla="*/ 285750 w 946150"/>
                <a:gd name="T59" fmla="*/ 196850 h 968375"/>
                <a:gd name="T60" fmla="*/ 361950 w 946150"/>
                <a:gd name="T61" fmla="*/ 365125 h 968375"/>
                <a:gd name="T62" fmla="*/ 339725 w 946150"/>
                <a:gd name="T63" fmla="*/ 387350 h 968375"/>
                <a:gd name="T64" fmla="*/ 317500 w 946150"/>
                <a:gd name="T65" fmla="*/ 384175 h 968375"/>
                <a:gd name="T66" fmla="*/ 282575 w 946150"/>
                <a:gd name="T67" fmla="*/ 425450 h 968375"/>
                <a:gd name="T68" fmla="*/ 352425 w 946150"/>
                <a:gd name="T69" fmla="*/ 454025 h 968375"/>
                <a:gd name="T70" fmla="*/ 460375 w 946150"/>
                <a:gd name="T71" fmla="*/ 555625 h 968375"/>
                <a:gd name="T72" fmla="*/ 387350 w 946150"/>
                <a:gd name="T73" fmla="*/ 542925 h 968375"/>
                <a:gd name="T74" fmla="*/ 317500 w 946150"/>
                <a:gd name="T75" fmla="*/ 635000 h 968375"/>
                <a:gd name="T76" fmla="*/ 355600 w 946150"/>
                <a:gd name="T77" fmla="*/ 768350 h 968375"/>
                <a:gd name="T78" fmla="*/ 285750 w 946150"/>
                <a:gd name="T79" fmla="*/ 777875 h 968375"/>
                <a:gd name="T80" fmla="*/ 254000 w 946150"/>
                <a:gd name="T81" fmla="*/ 704850 h 968375"/>
                <a:gd name="T82" fmla="*/ 184150 w 946150"/>
                <a:gd name="T83" fmla="*/ 695325 h 968375"/>
                <a:gd name="T84" fmla="*/ 146050 w 946150"/>
                <a:gd name="T85" fmla="*/ 606425 h 968375"/>
                <a:gd name="T86" fmla="*/ 196850 w 946150"/>
                <a:gd name="T87" fmla="*/ 530225 h 968375"/>
                <a:gd name="T88" fmla="*/ 346075 w 946150"/>
                <a:gd name="T89" fmla="*/ 539750 h 968375"/>
                <a:gd name="T90" fmla="*/ 203200 w 946150"/>
                <a:gd name="T91" fmla="*/ 495300 h 968375"/>
                <a:gd name="T92" fmla="*/ 79375 w 946150"/>
                <a:gd name="T93" fmla="*/ 434975 h 968375"/>
                <a:gd name="T94" fmla="*/ 50800 w 946150"/>
                <a:gd name="T95" fmla="*/ 377825 h 968375"/>
                <a:gd name="T96" fmla="*/ 19050 w 946150"/>
                <a:gd name="T97" fmla="*/ 339725 h 968375"/>
                <a:gd name="T98" fmla="*/ 66675 w 946150"/>
                <a:gd name="T99" fmla="*/ 260350 h 968375"/>
                <a:gd name="T100" fmla="*/ 187325 w 946150"/>
                <a:gd name="T101" fmla="*/ 139700 h 968375"/>
                <a:gd name="T102" fmla="*/ 238125 w 946150"/>
                <a:gd name="T103" fmla="*/ 104775 h 968375"/>
                <a:gd name="T104" fmla="*/ 292100 w 946150"/>
                <a:gd name="T105" fmla="*/ 85725 h 968375"/>
                <a:gd name="T106" fmla="*/ 450850 w 946150"/>
                <a:gd name="T107" fmla="*/ 41275 h 968375"/>
                <a:gd name="T108" fmla="*/ 561975 w 946150"/>
                <a:gd name="T109" fmla="*/ 79375 h 968375"/>
                <a:gd name="T110" fmla="*/ 657225 w 946150"/>
                <a:gd name="T111" fmla="*/ 0 h 96837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946150"/>
                <a:gd name="T169" fmla="*/ 0 h 968375"/>
                <a:gd name="T170" fmla="*/ 946150 w 946150"/>
                <a:gd name="T171" fmla="*/ 968375 h 96837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946150" h="968375">
                  <a:moveTo>
                    <a:pt x="419100" y="879475"/>
                  </a:moveTo>
                  <a:lnTo>
                    <a:pt x="466725" y="892175"/>
                  </a:lnTo>
                  <a:lnTo>
                    <a:pt x="498475" y="911225"/>
                  </a:lnTo>
                  <a:lnTo>
                    <a:pt x="527050" y="908050"/>
                  </a:lnTo>
                  <a:lnTo>
                    <a:pt x="546100" y="901700"/>
                  </a:lnTo>
                  <a:lnTo>
                    <a:pt x="577850" y="901700"/>
                  </a:lnTo>
                  <a:lnTo>
                    <a:pt x="587375" y="898525"/>
                  </a:lnTo>
                  <a:lnTo>
                    <a:pt x="590550" y="904875"/>
                  </a:lnTo>
                  <a:lnTo>
                    <a:pt x="609600" y="908050"/>
                  </a:lnTo>
                  <a:lnTo>
                    <a:pt x="717550" y="908050"/>
                  </a:lnTo>
                  <a:lnTo>
                    <a:pt x="736600" y="911225"/>
                  </a:lnTo>
                  <a:lnTo>
                    <a:pt x="736600" y="933450"/>
                  </a:lnTo>
                  <a:lnTo>
                    <a:pt x="717550" y="946150"/>
                  </a:lnTo>
                  <a:lnTo>
                    <a:pt x="622300" y="962025"/>
                  </a:lnTo>
                  <a:lnTo>
                    <a:pt x="574675" y="968375"/>
                  </a:lnTo>
                  <a:lnTo>
                    <a:pt x="555625" y="968375"/>
                  </a:lnTo>
                  <a:lnTo>
                    <a:pt x="555625" y="952500"/>
                  </a:lnTo>
                  <a:lnTo>
                    <a:pt x="488950" y="936625"/>
                  </a:lnTo>
                  <a:lnTo>
                    <a:pt x="441325" y="933450"/>
                  </a:lnTo>
                  <a:lnTo>
                    <a:pt x="425450" y="933450"/>
                  </a:lnTo>
                  <a:lnTo>
                    <a:pt x="412750" y="923925"/>
                  </a:lnTo>
                  <a:lnTo>
                    <a:pt x="415925" y="904875"/>
                  </a:lnTo>
                  <a:lnTo>
                    <a:pt x="419100" y="879475"/>
                  </a:lnTo>
                  <a:close/>
                  <a:moveTo>
                    <a:pt x="841375" y="822325"/>
                  </a:moveTo>
                  <a:lnTo>
                    <a:pt x="831850" y="850900"/>
                  </a:lnTo>
                  <a:lnTo>
                    <a:pt x="844550" y="866775"/>
                  </a:lnTo>
                  <a:lnTo>
                    <a:pt x="835025" y="882650"/>
                  </a:lnTo>
                  <a:lnTo>
                    <a:pt x="831850" y="869950"/>
                  </a:lnTo>
                  <a:lnTo>
                    <a:pt x="825500" y="850900"/>
                  </a:lnTo>
                  <a:lnTo>
                    <a:pt x="831850" y="831850"/>
                  </a:lnTo>
                  <a:lnTo>
                    <a:pt x="841375" y="822325"/>
                  </a:lnTo>
                  <a:close/>
                  <a:moveTo>
                    <a:pt x="946150" y="723900"/>
                  </a:moveTo>
                  <a:lnTo>
                    <a:pt x="946150" y="730250"/>
                  </a:lnTo>
                  <a:lnTo>
                    <a:pt x="933450" y="768350"/>
                  </a:lnTo>
                  <a:lnTo>
                    <a:pt x="901700" y="806450"/>
                  </a:lnTo>
                  <a:lnTo>
                    <a:pt x="898525" y="755650"/>
                  </a:lnTo>
                  <a:lnTo>
                    <a:pt x="946150" y="723900"/>
                  </a:lnTo>
                  <a:close/>
                  <a:moveTo>
                    <a:pt x="841375" y="673100"/>
                  </a:moveTo>
                  <a:lnTo>
                    <a:pt x="800100" y="704850"/>
                  </a:lnTo>
                  <a:lnTo>
                    <a:pt x="815975" y="676275"/>
                  </a:lnTo>
                  <a:lnTo>
                    <a:pt x="841375" y="673100"/>
                  </a:lnTo>
                  <a:close/>
                  <a:moveTo>
                    <a:pt x="796925" y="549275"/>
                  </a:moveTo>
                  <a:lnTo>
                    <a:pt x="765175" y="571500"/>
                  </a:lnTo>
                  <a:lnTo>
                    <a:pt x="749300" y="552450"/>
                  </a:lnTo>
                  <a:lnTo>
                    <a:pt x="777875" y="552450"/>
                  </a:lnTo>
                  <a:lnTo>
                    <a:pt x="796925" y="549275"/>
                  </a:lnTo>
                  <a:close/>
                  <a:moveTo>
                    <a:pt x="60325" y="488950"/>
                  </a:moveTo>
                  <a:lnTo>
                    <a:pt x="82550" y="546100"/>
                  </a:lnTo>
                  <a:lnTo>
                    <a:pt x="41275" y="533400"/>
                  </a:lnTo>
                  <a:lnTo>
                    <a:pt x="60325" y="488950"/>
                  </a:lnTo>
                  <a:close/>
                  <a:moveTo>
                    <a:pt x="654050" y="447675"/>
                  </a:moveTo>
                  <a:lnTo>
                    <a:pt x="685800" y="450850"/>
                  </a:lnTo>
                  <a:lnTo>
                    <a:pt x="679450" y="501650"/>
                  </a:lnTo>
                  <a:lnTo>
                    <a:pt x="654050" y="488950"/>
                  </a:lnTo>
                  <a:lnTo>
                    <a:pt x="654050" y="447675"/>
                  </a:lnTo>
                  <a:close/>
                  <a:moveTo>
                    <a:pt x="365125" y="400050"/>
                  </a:moveTo>
                  <a:lnTo>
                    <a:pt x="415925" y="444500"/>
                  </a:lnTo>
                  <a:lnTo>
                    <a:pt x="441325" y="454025"/>
                  </a:lnTo>
                  <a:lnTo>
                    <a:pt x="469900" y="488950"/>
                  </a:lnTo>
                  <a:lnTo>
                    <a:pt x="485775" y="517525"/>
                  </a:lnTo>
                  <a:lnTo>
                    <a:pt x="514350" y="523875"/>
                  </a:lnTo>
                  <a:lnTo>
                    <a:pt x="498475" y="546100"/>
                  </a:lnTo>
                  <a:lnTo>
                    <a:pt x="473075" y="523875"/>
                  </a:lnTo>
                  <a:lnTo>
                    <a:pt x="441325" y="488950"/>
                  </a:lnTo>
                  <a:lnTo>
                    <a:pt x="396875" y="460375"/>
                  </a:lnTo>
                  <a:lnTo>
                    <a:pt x="346075" y="431800"/>
                  </a:lnTo>
                  <a:lnTo>
                    <a:pt x="314325" y="431800"/>
                  </a:lnTo>
                  <a:lnTo>
                    <a:pt x="365125" y="400050"/>
                  </a:lnTo>
                  <a:close/>
                  <a:moveTo>
                    <a:pt x="708025" y="339725"/>
                  </a:moveTo>
                  <a:lnTo>
                    <a:pt x="720725" y="387350"/>
                  </a:lnTo>
                  <a:lnTo>
                    <a:pt x="663575" y="377825"/>
                  </a:lnTo>
                  <a:lnTo>
                    <a:pt x="644525" y="361950"/>
                  </a:lnTo>
                  <a:lnTo>
                    <a:pt x="657225" y="346075"/>
                  </a:lnTo>
                  <a:lnTo>
                    <a:pt x="708025" y="339725"/>
                  </a:lnTo>
                  <a:close/>
                  <a:moveTo>
                    <a:pt x="657225" y="0"/>
                  </a:moveTo>
                  <a:lnTo>
                    <a:pt x="673100" y="3175"/>
                  </a:lnTo>
                  <a:lnTo>
                    <a:pt x="688975" y="9525"/>
                  </a:lnTo>
                  <a:lnTo>
                    <a:pt x="698500" y="15875"/>
                  </a:lnTo>
                  <a:lnTo>
                    <a:pt x="708025" y="50800"/>
                  </a:lnTo>
                  <a:lnTo>
                    <a:pt x="688975" y="92075"/>
                  </a:lnTo>
                  <a:lnTo>
                    <a:pt x="650875" y="142875"/>
                  </a:lnTo>
                  <a:lnTo>
                    <a:pt x="565150" y="123825"/>
                  </a:lnTo>
                  <a:lnTo>
                    <a:pt x="501650" y="136525"/>
                  </a:lnTo>
                  <a:lnTo>
                    <a:pt x="441325" y="149225"/>
                  </a:lnTo>
                  <a:lnTo>
                    <a:pt x="415925" y="152400"/>
                  </a:lnTo>
                  <a:lnTo>
                    <a:pt x="406400" y="190500"/>
                  </a:lnTo>
                  <a:lnTo>
                    <a:pt x="396875" y="231775"/>
                  </a:lnTo>
                  <a:lnTo>
                    <a:pt x="365125" y="228600"/>
                  </a:lnTo>
                  <a:lnTo>
                    <a:pt x="317500" y="177800"/>
                  </a:lnTo>
                  <a:lnTo>
                    <a:pt x="285750" y="196850"/>
                  </a:lnTo>
                  <a:lnTo>
                    <a:pt x="276225" y="247650"/>
                  </a:lnTo>
                  <a:lnTo>
                    <a:pt x="295275" y="285750"/>
                  </a:lnTo>
                  <a:lnTo>
                    <a:pt x="361950" y="365125"/>
                  </a:lnTo>
                  <a:lnTo>
                    <a:pt x="352425" y="393700"/>
                  </a:lnTo>
                  <a:lnTo>
                    <a:pt x="336550" y="393700"/>
                  </a:lnTo>
                  <a:lnTo>
                    <a:pt x="339725" y="387350"/>
                  </a:lnTo>
                  <a:lnTo>
                    <a:pt x="330200" y="358775"/>
                  </a:lnTo>
                  <a:lnTo>
                    <a:pt x="314325" y="387350"/>
                  </a:lnTo>
                  <a:lnTo>
                    <a:pt x="317500" y="384175"/>
                  </a:lnTo>
                  <a:lnTo>
                    <a:pt x="327025" y="393700"/>
                  </a:lnTo>
                  <a:lnTo>
                    <a:pt x="317500" y="422275"/>
                  </a:lnTo>
                  <a:lnTo>
                    <a:pt x="282575" y="425450"/>
                  </a:lnTo>
                  <a:lnTo>
                    <a:pt x="295275" y="431800"/>
                  </a:lnTo>
                  <a:lnTo>
                    <a:pt x="317500" y="444500"/>
                  </a:lnTo>
                  <a:lnTo>
                    <a:pt x="352425" y="454025"/>
                  </a:lnTo>
                  <a:lnTo>
                    <a:pt x="422275" y="492125"/>
                  </a:lnTo>
                  <a:lnTo>
                    <a:pt x="450850" y="511175"/>
                  </a:lnTo>
                  <a:lnTo>
                    <a:pt x="460375" y="555625"/>
                  </a:lnTo>
                  <a:lnTo>
                    <a:pt x="454025" y="590550"/>
                  </a:lnTo>
                  <a:lnTo>
                    <a:pt x="425450" y="571500"/>
                  </a:lnTo>
                  <a:lnTo>
                    <a:pt x="387350" y="542925"/>
                  </a:lnTo>
                  <a:lnTo>
                    <a:pt x="342900" y="558800"/>
                  </a:lnTo>
                  <a:lnTo>
                    <a:pt x="330200" y="584200"/>
                  </a:lnTo>
                  <a:lnTo>
                    <a:pt x="317500" y="635000"/>
                  </a:lnTo>
                  <a:lnTo>
                    <a:pt x="330200" y="663575"/>
                  </a:lnTo>
                  <a:lnTo>
                    <a:pt x="358775" y="749300"/>
                  </a:lnTo>
                  <a:lnTo>
                    <a:pt x="355600" y="768350"/>
                  </a:lnTo>
                  <a:lnTo>
                    <a:pt x="317500" y="720725"/>
                  </a:lnTo>
                  <a:lnTo>
                    <a:pt x="292100" y="723900"/>
                  </a:lnTo>
                  <a:lnTo>
                    <a:pt x="285750" y="777875"/>
                  </a:lnTo>
                  <a:lnTo>
                    <a:pt x="276225" y="765175"/>
                  </a:lnTo>
                  <a:lnTo>
                    <a:pt x="269875" y="742950"/>
                  </a:lnTo>
                  <a:lnTo>
                    <a:pt x="254000" y="704850"/>
                  </a:lnTo>
                  <a:lnTo>
                    <a:pt x="222250" y="695325"/>
                  </a:lnTo>
                  <a:lnTo>
                    <a:pt x="219075" y="727075"/>
                  </a:lnTo>
                  <a:lnTo>
                    <a:pt x="184150" y="695325"/>
                  </a:lnTo>
                  <a:lnTo>
                    <a:pt x="177800" y="669925"/>
                  </a:lnTo>
                  <a:lnTo>
                    <a:pt x="187325" y="657225"/>
                  </a:lnTo>
                  <a:lnTo>
                    <a:pt x="146050" y="606425"/>
                  </a:lnTo>
                  <a:lnTo>
                    <a:pt x="130175" y="565150"/>
                  </a:lnTo>
                  <a:lnTo>
                    <a:pt x="155575" y="527050"/>
                  </a:lnTo>
                  <a:lnTo>
                    <a:pt x="196850" y="530225"/>
                  </a:lnTo>
                  <a:lnTo>
                    <a:pt x="247650" y="527050"/>
                  </a:lnTo>
                  <a:lnTo>
                    <a:pt x="304800" y="542925"/>
                  </a:lnTo>
                  <a:lnTo>
                    <a:pt x="346075" y="539750"/>
                  </a:lnTo>
                  <a:lnTo>
                    <a:pt x="346075" y="517525"/>
                  </a:lnTo>
                  <a:lnTo>
                    <a:pt x="266700" y="498475"/>
                  </a:lnTo>
                  <a:lnTo>
                    <a:pt x="203200" y="495300"/>
                  </a:lnTo>
                  <a:lnTo>
                    <a:pt x="130175" y="511175"/>
                  </a:lnTo>
                  <a:lnTo>
                    <a:pt x="92075" y="457200"/>
                  </a:lnTo>
                  <a:lnTo>
                    <a:pt x="79375" y="434975"/>
                  </a:lnTo>
                  <a:lnTo>
                    <a:pt x="63500" y="393700"/>
                  </a:lnTo>
                  <a:lnTo>
                    <a:pt x="50800" y="384175"/>
                  </a:lnTo>
                  <a:lnTo>
                    <a:pt x="50800" y="377825"/>
                  </a:lnTo>
                  <a:lnTo>
                    <a:pt x="38100" y="374650"/>
                  </a:lnTo>
                  <a:lnTo>
                    <a:pt x="22225" y="352425"/>
                  </a:lnTo>
                  <a:lnTo>
                    <a:pt x="19050" y="339725"/>
                  </a:lnTo>
                  <a:lnTo>
                    <a:pt x="0" y="317500"/>
                  </a:lnTo>
                  <a:lnTo>
                    <a:pt x="38100" y="304800"/>
                  </a:lnTo>
                  <a:lnTo>
                    <a:pt x="66675" y="260350"/>
                  </a:lnTo>
                  <a:lnTo>
                    <a:pt x="107950" y="196850"/>
                  </a:lnTo>
                  <a:lnTo>
                    <a:pt x="104775" y="152400"/>
                  </a:lnTo>
                  <a:lnTo>
                    <a:pt x="187325" y="139700"/>
                  </a:lnTo>
                  <a:lnTo>
                    <a:pt x="200025" y="123825"/>
                  </a:lnTo>
                  <a:lnTo>
                    <a:pt x="203200" y="117475"/>
                  </a:lnTo>
                  <a:lnTo>
                    <a:pt x="238125" y="104775"/>
                  </a:lnTo>
                  <a:lnTo>
                    <a:pt x="263525" y="111125"/>
                  </a:lnTo>
                  <a:lnTo>
                    <a:pt x="282575" y="107950"/>
                  </a:lnTo>
                  <a:lnTo>
                    <a:pt x="292100" y="85725"/>
                  </a:lnTo>
                  <a:lnTo>
                    <a:pt x="311150" y="79375"/>
                  </a:lnTo>
                  <a:lnTo>
                    <a:pt x="412750" y="57150"/>
                  </a:lnTo>
                  <a:lnTo>
                    <a:pt x="450850" y="41275"/>
                  </a:lnTo>
                  <a:lnTo>
                    <a:pt x="495300" y="50800"/>
                  </a:lnTo>
                  <a:lnTo>
                    <a:pt x="546100" y="66675"/>
                  </a:lnTo>
                  <a:lnTo>
                    <a:pt x="561975" y="79375"/>
                  </a:lnTo>
                  <a:lnTo>
                    <a:pt x="584200" y="73025"/>
                  </a:lnTo>
                  <a:lnTo>
                    <a:pt x="641350" y="60325"/>
                  </a:lnTo>
                  <a:lnTo>
                    <a:pt x="657225" y="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43" name="Freeform 290"/>
            <p:cNvSpPr>
              <a:spLocks/>
            </p:cNvSpPr>
            <p:nvPr/>
          </p:nvSpPr>
          <p:spPr bwMode="auto">
            <a:xfrm>
              <a:off x="6679364" y="3582798"/>
              <a:ext cx="539658" cy="840320"/>
            </a:xfrm>
            <a:custGeom>
              <a:avLst/>
              <a:gdLst>
                <a:gd name="T0" fmla="*/ 427783 w 539658"/>
                <a:gd name="T1" fmla="*/ 2754 h 840320"/>
                <a:gd name="T2" fmla="*/ 372382 w 539658"/>
                <a:gd name="T3" fmla="*/ 69623 h 840320"/>
                <a:gd name="T4" fmla="*/ 282575 w 539658"/>
                <a:gd name="T5" fmla="*/ 134937 h 840320"/>
                <a:gd name="T6" fmla="*/ 274411 w 539658"/>
                <a:gd name="T7" fmla="*/ 281894 h 840320"/>
                <a:gd name="T8" fmla="*/ 356054 w 539658"/>
                <a:gd name="T9" fmla="*/ 363537 h 840320"/>
                <a:gd name="T10" fmla="*/ 411291 w 539658"/>
                <a:gd name="T11" fmla="*/ 431913 h 840320"/>
                <a:gd name="T12" fmla="*/ 454025 w 539658"/>
                <a:gd name="T13" fmla="*/ 510494 h 840320"/>
                <a:gd name="T14" fmla="*/ 494846 w 539658"/>
                <a:gd name="T15" fmla="*/ 583973 h 840320"/>
                <a:gd name="T16" fmla="*/ 539658 w 539658"/>
                <a:gd name="T17" fmla="*/ 651189 h 840320"/>
                <a:gd name="T18" fmla="*/ 495300 w 539658"/>
                <a:gd name="T19" fmla="*/ 673100 h 840320"/>
                <a:gd name="T20" fmla="*/ 460375 w 539658"/>
                <a:gd name="T21" fmla="*/ 717550 h 840320"/>
                <a:gd name="T22" fmla="*/ 450850 w 539658"/>
                <a:gd name="T23" fmla="*/ 733425 h 840320"/>
                <a:gd name="T24" fmla="*/ 374650 w 539658"/>
                <a:gd name="T25" fmla="*/ 801688 h 840320"/>
                <a:gd name="T26" fmla="*/ 371475 w 539658"/>
                <a:gd name="T27" fmla="*/ 830263 h 840320"/>
                <a:gd name="T28" fmla="*/ 371475 w 539658"/>
                <a:gd name="T29" fmla="*/ 839787 h 840320"/>
                <a:gd name="T30" fmla="*/ 298450 w 539658"/>
                <a:gd name="T31" fmla="*/ 804862 h 840320"/>
                <a:gd name="T32" fmla="*/ 333375 w 539658"/>
                <a:gd name="T33" fmla="*/ 788987 h 840320"/>
                <a:gd name="T34" fmla="*/ 219075 w 539658"/>
                <a:gd name="T35" fmla="*/ 708025 h 840320"/>
                <a:gd name="T36" fmla="*/ 139700 w 539658"/>
                <a:gd name="T37" fmla="*/ 720725 h 840320"/>
                <a:gd name="T38" fmla="*/ 114300 w 539658"/>
                <a:gd name="T39" fmla="*/ 717550 h 840320"/>
                <a:gd name="T40" fmla="*/ 79375 w 539658"/>
                <a:gd name="T41" fmla="*/ 666750 h 840320"/>
                <a:gd name="T42" fmla="*/ 28575 w 539658"/>
                <a:gd name="T43" fmla="*/ 660400 h 840320"/>
                <a:gd name="T44" fmla="*/ 38100 w 539658"/>
                <a:gd name="T45" fmla="*/ 552450 h 840320"/>
                <a:gd name="T46" fmla="*/ 3175 w 539658"/>
                <a:gd name="T47" fmla="*/ 444500 h 840320"/>
                <a:gd name="T48" fmla="*/ 0 w 539658"/>
                <a:gd name="T49" fmla="*/ 387350 h 840320"/>
                <a:gd name="T50" fmla="*/ 28575 w 539658"/>
                <a:gd name="T51" fmla="*/ 358775 h 840320"/>
                <a:gd name="T52" fmla="*/ 117475 w 539658"/>
                <a:gd name="T53" fmla="*/ 412750 h 840320"/>
                <a:gd name="T54" fmla="*/ 98425 w 539658"/>
                <a:gd name="T55" fmla="*/ 307975 h 840320"/>
                <a:gd name="T56" fmla="*/ 114300 w 539658"/>
                <a:gd name="T57" fmla="*/ 279400 h 840320"/>
                <a:gd name="T58" fmla="*/ 165100 w 539658"/>
                <a:gd name="T59" fmla="*/ 168275 h 840320"/>
                <a:gd name="T60" fmla="*/ 187325 w 539658"/>
                <a:gd name="T61" fmla="*/ 130175 h 840320"/>
                <a:gd name="T62" fmla="*/ 219075 w 539658"/>
                <a:gd name="T63" fmla="*/ 73025 h 840320"/>
                <a:gd name="T64" fmla="*/ 244475 w 539658"/>
                <a:gd name="T65" fmla="*/ 60325 h 840320"/>
                <a:gd name="T66" fmla="*/ 304800 w 539658"/>
                <a:gd name="T67" fmla="*/ 34925 h 840320"/>
                <a:gd name="T68" fmla="*/ 361950 w 539658"/>
                <a:gd name="T69" fmla="*/ 38100 h 84032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39658"/>
                <a:gd name="T106" fmla="*/ 0 h 840320"/>
                <a:gd name="T107" fmla="*/ 539658 w 539658"/>
                <a:gd name="T108" fmla="*/ 840320 h 84032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39658" h="840320">
                  <a:moveTo>
                    <a:pt x="422275" y="0"/>
                  </a:moveTo>
                  <a:lnTo>
                    <a:pt x="427783" y="2754"/>
                  </a:lnTo>
                  <a:lnTo>
                    <a:pt x="413204" y="12473"/>
                  </a:lnTo>
                  <a:cubicBezTo>
                    <a:pt x="405260" y="24388"/>
                    <a:pt x="380667" y="62259"/>
                    <a:pt x="372382" y="69623"/>
                  </a:cubicBezTo>
                  <a:cubicBezTo>
                    <a:pt x="338694" y="99567"/>
                    <a:pt x="332165" y="99357"/>
                    <a:pt x="298904" y="110444"/>
                  </a:cubicBezTo>
                  <a:cubicBezTo>
                    <a:pt x="293461" y="118608"/>
                    <a:pt x="290739" y="129494"/>
                    <a:pt x="282575" y="134937"/>
                  </a:cubicBezTo>
                  <a:cubicBezTo>
                    <a:pt x="273239" y="141161"/>
                    <a:pt x="252639" y="132215"/>
                    <a:pt x="249918" y="143101"/>
                  </a:cubicBezTo>
                  <a:cubicBezTo>
                    <a:pt x="245429" y="161058"/>
                    <a:pt x="256714" y="255348"/>
                    <a:pt x="274411" y="281894"/>
                  </a:cubicBezTo>
                  <a:cubicBezTo>
                    <a:pt x="285297" y="298223"/>
                    <a:pt x="290739" y="319994"/>
                    <a:pt x="307068" y="330880"/>
                  </a:cubicBezTo>
                  <a:lnTo>
                    <a:pt x="356054" y="363537"/>
                  </a:lnTo>
                  <a:cubicBezTo>
                    <a:pt x="396589" y="424342"/>
                    <a:pt x="344496" y="349668"/>
                    <a:pt x="396875" y="412523"/>
                  </a:cubicBezTo>
                  <a:lnTo>
                    <a:pt x="411291" y="431913"/>
                  </a:lnTo>
                  <a:cubicBezTo>
                    <a:pt x="417031" y="442119"/>
                    <a:pt x="404020" y="430893"/>
                    <a:pt x="437696" y="453344"/>
                  </a:cubicBezTo>
                  <a:cubicBezTo>
                    <a:pt x="457266" y="512050"/>
                    <a:pt x="433530" y="438759"/>
                    <a:pt x="454025" y="510494"/>
                  </a:cubicBezTo>
                  <a:cubicBezTo>
                    <a:pt x="456389" y="518769"/>
                    <a:pt x="458010" y="527464"/>
                    <a:pt x="462189" y="534987"/>
                  </a:cubicBezTo>
                  <a:cubicBezTo>
                    <a:pt x="471719" y="552142"/>
                    <a:pt x="483960" y="567644"/>
                    <a:pt x="494846" y="583973"/>
                  </a:cubicBezTo>
                  <a:lnTo>
                    <a:pt x="527504" y="632958"/>
                  </a:lnTo>
                  <a:lnTo>
                    <a:pt x="539658" y="651189"/>
                  </a:lnTo>
                  <a:lnTo>
                    <a:pt x="517525" y="657225"/>
                  </a:lnTo>
                  <a:lnTo>
                    <a:pt x="495300" y="673100"/>
                  </a:lnTo>
                  <a:lnTo>
                    <a:pt x="479425" y="708025"/>
                  </a:lnTo>
                  <a:lnTo>
                    <a:pt x="460375" y="717550"/>
                  </a:lnTo>
                  <a:lnTo>
                    <a:pt x="454025" y="720725"/>
                  </a:lnTo>
                  <a:lnTo>
                    <a:pt x="450850" y="733425"/>
                  </a:lnTo>
                  <a:lnTo>
                    <a:pt x="387350" y="795338"/>
                  </a:lnTo>
                  <a:lnTo>
                    <a:pt x="374650" y="801688"/>
                  </a:lnTo>
                  <a:lnTo>
                    <a:pt x="390525" y="823913"/>
                  </a:lnTo>
                  <a:lnTo>
                    <a:pt x="371475" y="830263"/>
                  </a:lnTo>
                  <a:lnTo>
                    <a:pt x="373487" y="840320"/>
                  </a:lnTo>
                  <a:lnTo>
                    <a:pt x="371475" y="839787"/>
                  </a:lnTo>
                  <a:lnTo>
                    <a:pt x="292100" y="817562"/>
                  </a:lnTo>
                  <a:lnTo>
                    <a:pt x="298450" y="804862"/>
                  </a:lnTo>
                  <a:lnTo>
                    <a:pt x="307975" y="808037"/>
                  </a:lnTo>
                  <a:lnTo>
                    <a:pt x="333375" y="788987"/>
                  </a:lnTo>
                  <a:lnTo>
                    <a:pt x="263525" y="720725"/>
                  </a:lnTo>
                  <a:lnTo>
                    <a:pt x="219075" y="708025"/>
                  </a:lnTo>
                  <a:lnTo>
                    <a:pt x="187325" y="698500"/>
                  </a:lnTo>
                  <a:lnTo>
                    <a:pt x="139700" y="720725"/>
                  </a:lnTo>
                  <a:lnTo>
                    <a:pt x="111125" y="720725"/>
                  </a:lnTo>
                  <a:lnTo>
                    <a:pt x="114300" y="717550"/>
                  </a:lnTo>
                  <a:lnTo>
                    <a:pt x="92075" y="701675"/>
                  </a:lnTo>
                  <a:lnTo>
                    <a:pt x="79375" y="666750"/>
                  </a:lnTo>
                  <a:lnTo>
                    <a:pt x="53975" y="663575"/>
                  </a:lnTo>
                  <a:lnTo>
                    <a:pt x="28575" y="660400"/>
                  </a:lnTo>
                  <a:lnTo>
                    <a:pt x="25400" y="596900"/>
                  </a:lnTo>
                  <a:lnTo>
                    <a:pt x="38100" y="552450"/>
                  </a:lnTo>
                  <a:lnTo>
                    <a:pt x="0" y="517525"/>
                  </a:lnTo>
                  <a:lnTo>
                    <a:pt x="3175" y="444500"/>
                  </a:lnTo>
                  <a:lnTo>
                    <a:pt x="12700" y="425450"/>
                  </a:lnTo>
                  <a:lnTo>
                    <a:pt x="0" y="387350"/>
                  </a:lnTo>
                  <a:lnTo>
                    <a:pt x="6350" y="358775"/>
                  </a:lnTo>
                  <a:lnTo>
                    <a:pt x="28575" y="358775"/>
                  </a:lnTo>
                  <a:lnTo>
                    <a:pt x="85725" y="396875"/>
                  </a:lnTo>
                  <a:lnTo>
                    <a:pt x="117475" y="412750"/>
                  </a:lnTo>
                  <a:lnTo>
                    <a:pt x="142875" y="368300"/>
                  </a:lnTo>
                  <a:lnTo>
                    <a:pt x="98425" y="307975"/>
                  </a:lnTo>
                  <a:lnTo>
                    <a:pt x="85725" y="298450"/>
                  </a:lnTo>
                  <a:lnTo>
                    <a:pt x="114300" y="279400"/>
                  </a:lnTo>
                  <a:lnTo>
                    <a:pt x="117475" y="269875"/>
                  </a:lnTo>
                  <a:lnTo>
                    <a:pt x="165100" y="168275"/>
                  </a:lnTo>
                  <a:lnTo>
                    <a:pt x="168275" y="165100"/>
                  </a:lnTo>
                  <a:lnTo>
                    <a:pt x="187325" y="130175"/>
                  </a:lnTo>
                  <a:lnTo>
                    <a:pt x="200025" y="66675"/>
                  </a:lnTo>
                  <a:lnTo>
                    <a:pt x="219075" y="73025"/>
                  </a:lnTo>
                  <a:lnTo>
                    <a:pt x="234950" y="66675"/>
                  </a:lnTo>
                  <a:lnTo>
                    <a:pt x="244475" y="60325"/>
                  </a:lnTo>
                  <a:lnTo>
                    <a:pt x="288925" y="44450"/>
                  </a:lnTo>
                  <a:lnTo>
                    <a:pt x="304800" y="34925"/>
                  </a:lnTo>
                  <a:lnTo>
                    <a:pt x="342900" y="25400"/>
                  </a:lnTo>
                  <a:lnTo>
                    <a:pt x="361950" y="38100"/>
                  </a:lnTo>
                  <a:lnTo>
                    <a:pt x="422275" y="0"/>
                  </a:lnTo>
                  <a:close/>
                </a:path>
              </a:pathLst>
            </a:custGeom>
            <a:solidFill>
              <a:srgbClr val="55A0B9"/>
            </a:solidFill>
            <a:ln w="317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5389" name="Rechteck 287"/>
          <p:cNvSpPr>
            <a:spLocks noChangeArrowheads="1"/>
          </p:cNvSpPr>
          <p:nvPr/>
        </p:nvSpPr>
        <p:spPr bwMode="auto">
          <a:xfrm>
            <a:off x="5349875" y="3713163"/>
            <a:ext cx="1808163" cy="411162"/>
          </a:xfrm>
          <a:prstGeom prst="rect">
            <a:avLst/>
          </a:prstGeom>
          <a:solidFill>
            <a:srgbClr val="DCE1E6">
              <a:alpha val="79999"/>
            </a:srgbClr>
          </a:solidFill>
          <a:ln w="9525">
            <a:noFill/>
            <a:miter lim="800000"/>
            <a:headEnd/>
            <a:tailEnd/>
          </a:ln>
        </p:spPr>
        <p:txBody>
          <a:bodyPr lIns="108000" tIns="54000" rIns="108000" bIns="54000" anchor="ctr"/>
          <a:lstStyle/>
          <a:p>
            <a:pPr>
              <a:lnSpc>
                <a:spcPct val="110000"/>
              </a:lnSpc>
              <a:buFont typeface="Wingdings" pitchFamily="2" charset="2"/>
              <a:buNone/>
            </a:pPr>
            <a:r>
              <a:rPr lang="ru-RU" sz="1200" b="1">
                <a:solidFill>
                  <a:schemeClr val="tx1"/>
                </a:solidFill>
              </a:rPr>
              <a:t>Инициатива «Авангард»</a:t>
            </a:r>
            <a:endParaRPr lang="en-US" sz="1200" b="1">
              <a:solidFill>
                <a:schemeClr val="tx1"/>
              </a:solidFill>
            </a:endParaRPr>
          </a:p>
        </p:txBody>
      </p:sp>
      <p:pic>
        <p:nvPicPr>
          <p:cNvPr id="290" name="Grafik 289"/>
          <p:cNvPicPr>
            <a:picLocks noChangeAspect="1"/>
          </p:cNvPicPr>
          <p:nvPr/>
        </p:nvPicPr>
        <p:blipFill>
          <a:blip r:embed="rId272"/>
          <a:srcRect b="39192"/>
          <a:stretch>
            <a:fillRect/>
          </a:stretch>
        </p:blipFill>
        <p:spPr bwMode="auto">
          <a:xfrm>
            <a:off x="4992688" y="3760788"/>
            <a:ext cx="363537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8100" dir="2700000" algn="tl" rotWithShape="0">
              <a:srgbClr val="808080">
                <a:alpha val="39999"/>
              </a:srgbClr>
            </a:outerShdw>
          </a:effectLst>
        </p:spPr>
      </p:pic>
      <p:sp>
        <p:nvSpPr>
          <p:cNvPr id="15391" name="Rechteck 279"/>
          <p:cNvSpPr>
            <a:spLocks noChangeArrowheads="1"/>
          </p:cNvSpPr>
          <p:nvPr/>
        </p:nvSpPr>
        <p:spPr bwMode="auto">
          <a:xfrm>
            <a:off x="4945063" y="5999163"/>
            <a:ext cx="1647825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54000" rIns="108000" bIns="54000" anchor="ctr"/>
          <a:lstStyle/>
          <a:p>
            <a:pPr algn="r">
              <a:lnSpc>
                <a:spcPct val="110000"/>
              </a:lnSpc>
              <a:buFont typeface="Wingdings" pitchFamily="2" charset="2"/>
              <a:buNone/>
            </a:pPr>
            <a:r>
              <a:rPr lang="ru-RU" sz="1400" b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исунок (1)</a:t>
            </a:r>
            <a:endParaRPr lang="en-US" sz="1400" b="1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392" name="Rechteck 283"/>
          <p:cNvSpPr>
            <a:spLocks noChangeArrowheads="1"/>
          </p:cNvSpPr>
          <p:nvPr/>
        </p:nvSpPr>
        <p:spPr bwMode="auto">
          <a:xfrm>
            <a:off x="8464550" y="1989138"/>
            <a:ext cx="2293938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54000" rIns="108000" bIns="54000" anchor="ctr"/>
          <a:lstStyle/>
          <a:p>
            <a:pPr>
              <a:lnSpc>
                <a:spcPct val="110000"/>
              </a:lnSpc>
              <a:buFont typeface="Wingdings" pitchFamily="2" charset="2"/>
              <a:buNone/>
            </a:pPr>
            <a:r>
              <a:rPr lang="ru-RU" sz="1400" b="1">
                <a:solidFill>
                  <a:schemeClr val="tx1"/>
                </a:solidFill>
              </a:rPr>
              <a:t>«Цифровые фабрики»</a:t>
            </a:r>
            <a:endParaRPr lang="en-US" sz="1400" b="1">
              <a:solidFill>
                <a:schemeClr val="tx1"/>
              </a:solidFill>
            </a:endParaRPr>
          </a:p>
        </p:txBody>
      </p:sp>
      <p:pic>
        <p:nvPicPr>
          <p:cNvPr id="4" name="Изображение 3" descr="flag_RUSSIA.jpg"/>
          <p:cNvPicPr>
            <a:picLocks noChangeAspect="1"/>
          </p:cNvPicPr>
          <p:nvPr/>
        </p:nvPicPr>
        <p:blipFill>
          <a:blip r:embed="rId273"/>
          <a:srcRect/>
          <a:stretch>
            <a:fillRect/>
          </a:stretch>
        </p:blipFill>
        <p:spPr bwMode="auto">
          <a:xfrm>
            <a:off x="7981950" y="2074863"/>
            <a:ext cx="490538" cy="328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39700" dir="2700000" algn="tl" rotWithShape="0">
              <a:srgbClr val="333333">
                <a:alpha val="64999"/>
              </a:srgbClr>
            </a:outerShdw>
          </a:effectLst>
        </p:spPr>
      </p:pic>
    </p:spTree>
    <p:custDataLst>
      <p:tags r:id="rId2"/>
    </p:custData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Object 5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386" name="think-cell Slide" r:id="rId18" imgW="360" imgH="360" progId="">
              <p:embed/>
            </p:oleObj>
          </a:graphicData>
        </a:graphic>
      </p:graphicFrame>
      <p:pic>
        <p:nvPicPr>
          <p:cNvPr id="16387" name="Grafik 3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31938" y="1266825"/>
            <a:ext cx="9061450" cy="5097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8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12680950" cy="1268413"/>
          </a:xfrm>
        </p:spPr>
        <p:txBody>
          <a:bodyPr/>
          <a:lstStyle/>
          <a:p>
            <a:pPr eaLnBrk="1" hangingPunct="1"/>
            <a:r>
              <a:rPr lang="ru-RU" sz="1800" smtClean="0"/>
              <a:t>Концепция «Цифровое предприятие» – результат 4-ой промышленной революции</a:t>
            </a:r>
            <a:r>
              <a:rPr lang="de-DE" sz="1800" smtClean="0"/>
              <a:t/>
            </a:r>
            <a:br>
              <a:rPr lang="de-DE" sz="1800" smtClean="0"/>
            </a:br>
            <a:r>
              <a:rPr lang="ru-RU" sz="1800" b="0" smtClean="0"/>
              <a:t>Сокращенное время от идеи продукта до выхода на рынок</a:t>
            </a:r>
            <a:r>
              <a:rPr lang="de-DE" sz="1800" b="0" smtClean="0"/>
              <a:t>, </a:t>
            </a:r>
            <a:r>
              <a:rPr lang="ru-RU" sz="1800" b="0" smtClean="0"/>
              <a:t>увеличенная гибкость производства и сниженный уровень сложности</a:t>
            </a:r>
            <a:endParaRPr lang="de-DE" sz="1800" b="0" smtClean="0"/>
          </a:p>
        </p:txBody>
      </p:sp>
      <p:grpSp>
        <p:nvGrpSpPr>
          <p:cNvPr id="2" name="Gruppieren 22"/>
          <p:cNvGrpSpPr>
            <a:grpSpLocks/>
          </p:cNvGrpSpPr>
          <p:nvPr/>
        </p:nvGrpSpPr>
        <p:grpSpPr bwMode="auto">
          <a:xfrm>
            <a:off x="8197850" y="4267200"/>
            <a:ext cx="2395538" cy="935038"/>
            <a:chOff x="9909109" y="4266590"/>
            <a:chExt cx="1826877" cy="678790"/>
          </a:xfrm>
        </p:grpSpPr>
        <p:sp>
          <p:nvSpPr>
            <p:cNvPr id="6" name="Rechteck 5"/>
            <p:cNvSpPr/>
            <p:nvPr>
              <p:custDataLst>
                <p:tags r:id="rId14"/>
              </p:custDataLst>
            </p:nvPr>
          </p:nvSpPr>
          <p:spPr bwMode="auto">
            <a:xfrm>
              <a:off x="10240828" y="4266590"/>
              <a:ext cx="1495158" cy="678790"/>
            </a:xfrm>
            <a:prstGeom prst="rect">
              <a:avLst/>
            </a:prstGeom>
            <a:solidFill>
              <a:schemeClr val="accent5">
                <a:lumMod val="50000"/>
                <a:alpha val="34000"/>
              </a:schemeClr>
            </a:solidFill>
            <a:ln>
              <a:noFill/>
            </a:ln>
            <a:effectLst/>
            <a:extLst/>
          </p:spPr>
          <p:txBody>
            <a:bodyPr lIns="108000" tIns="54000" rIns="108000" bIns="54000" spcCol="72000" anchor="ctr"/>
            <a:lstStyle/>
            <a:p>
              <a:pPr algn="ctr">
                <a:spcBef>
                  <a:spcPts val="0"/>
                </a:spcBef>
                <a:buFont typeface="Wingdings" charset="0"/>
                <a:buNone/>
                <a:defRPr/>
              </a:pPr>
              <a:endParaRPr lang="de-DE" b="1" dirty="0">
                <a:solidFill>
                  <a:schemeClr val="tx1"/>
                </a:solidFill>
                <a:ea typeface="ＭＳ Ｐゴシック" charset="-128"/>
              </a:endParaRPr>
            </a:p>
          </p:txBody>
        </p:sp>
        <p:sp>
          <p:nvSpPr>
            <p:cNvPr id="16409" name="Textfeld 11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9909109" y="4284076"/>
              <a:ext cx="1692003" cy="4994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r"/>
              <a:r>
                <a:rPr lang="ru-RU" sz="1400" b="1">
                  <a:solidFill>
                    <a:schemeClr val="bg1"/>
                  </a:solidFill>
                </a:rPr>
                <a:t>Производство</a:t>
              </a:r>
              <a:endParaRPr lang="de-DE" sz="1400" b="1">
                <a:solidFill>
                  <a:schemeClr val="bg1"/>
                </a:solidFill>
              </a:endParaRPr>
            </a:p>
            <a:p>
              <a:pPr algn="r"/>
              <a:r>
                <a:rPr lang="ru-RU" sz="1200">
                  <a:solidFill>
                    <a:schemeClr val="bg1"/>
                  </a:solidFill>
                </a:rPr>
                <a:t>Автоматическая </a:t>
              </a:r>
            </a:p>
            <a:p>
              <a:pPr algn="r"/>
              <a:r>
                <a:rPr lang="ru-RU" sz="1200">
                  <a:solidFill>
                    <a:schemeClr val="bg1"/>
                  </a:solidFill>
                </a:rPr>
                <a:t>оптимизация</a:t>
              </a:r>
              <a:endParaRPr lang="de-DE" sz="1200">
                <a:solidFill>
                  <a:schemeClr val="bg1"/>
                </a:solidFill>
              </a:endParaRPr>
            </a:p>
            <a:p>
              <a:pPr algn="r"/>
              <a:r>
                <a:rPr lang="ru-RU" sz="1200">
                  <a:solidFill>
                    <a:schemeClr val="bg1"/>
                  </a:solidFill>
                </a:rPr>
                <a:t>Самовосстановление</a:t>
              </a:r>
              <a:endParaRPr lang="de-DE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uppieren 20"/>
          <p:cNvGrpSpPr>
            <a:grpSpLocks/>
          </p:cNvGrpSpPr>
          <p:nvPr/>
        </p:nvGrpSpPr>
        <p:grpSpPr bwMode="auto">
          <a:xfrm>
            <a:off x="5842000" y="1508125"/>
            <a:ext cx="1493838" cy="679450"/>
            <a:chOff x="7184325" y="1508150"/>
            <a:chExt cx="1494706" cy="678790"/>
          </a:xfrm>
        </p:grpSpPr>
        <p:sp>
          <p:nvSpPr>
            <p:cNvPr id="26" name="Rechteck 25"/>
            <p:cNvSpPr/>
            <p:nvPr>
              <p:custDataLst>
                <p:tags r:id="rId12"/>
              </p:custDataLst>
            </p:nvPr>
          </p:nvSpPr>
          <p:spPr bwMode="auto">
            <a:xfrm>
              <a:off x="7184325" y="1508150"/>
              <a:ext cx="1494706" cy="678790"/>
            </a:xfrm>
            <a:prstGeom prst="rect">
              <a:avLst/>
            </a:prstGeom>
            <a:solidFill>
              <a:schemeClr val="accent5">
                <a:lumMod val="50000"/>
                <a:alpha val="34000"/>
              </a:schemeClr>
            </a:solidFill>
            <a:ln>
              <a:noFill/>
            </a:ln>
            <a:effectLst/>
            <a:extLst/>
          </p:spPr>
          <p:txBody>
            <a:bodyPr lIns="108000" tIns="54000" rIns="108000" bIns="54000" spcCol="72000" anchor="ctr"/>
            <a:lstStyle/>
            <a:p>
              <a:pPr algn="ctr">
                <a:spcBef>
                  <a:spcPts val="0"/>
                </a:spcBef>
                <a:buFont typeface="Wingdings" charset="0"/>
                <a:buNone/>
                <a:defRPr/>
              </a:pPr>
              <a:endParaRPr lang="de-DE" b="1" dirty="0">
                <a:solidFill>
                  <a:schemeClr val="tx1"/>
                </a:solidFill>
                <a:ea typeface="ＭＳ Ｐゴシック" charset="-128"/>
              </a:endParaRPr>
            </a:p>
          </p:txBody>
        </p:sp>
        <p:sp>
          <p:nvSpPr>
            <p:cNvPr id="16407" name="Textfeld 13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7783523" y="1527181"/>
              <a:ext cx="803379" cy="5842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ru-RU" sz="1400" b="1">
                  <a:solidFill>
                    <a:schemeClr val="bg1"/>
                  </a:solidFill>
                </a:rPr>
                <a:t>Рынок</a:t>
              </a:r>
              <a:endParaRPr lang="de-DE" sz="1400" b="1">
                <a:solidFill>
                  <a:schemeClr val="bg1"/>
                </a:solidFill>
              </a:endParaRPr>
            </a:p>
            <a:p>
              <a:pPr algn="r"/>
              <a:r>
                <a:rPr lang="ru-RU" sz="1200">
                  <a:solidFill>
                    <a:schemeClr val="bg1"/>
                  </a:solidFill>
                </a:rPr>
                <a:t>Довольные</a:t>
              </a:r>
            </a:p>
            <a:p>
              <a:pPr algn="r"/>
              <a:r>
                <a:rPr lang="ru-RU" sz="1200">
                  <a:solidFill>
                    <a:schemeClr val="bg1"/>
                  </a:solidFill>
                </a:rPr>
                <a:t>клиенты</a:t>
              </a:r>
              <a:endParaRPr lang="de-DE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4" name="Gruppieren 23"/>
          <p:cNvGrpSpPr>
            <a:grpSpLocks/>
          </p:cNvGrpSpPr>
          <p:nvPr/>
        </p:nvGrpSpPr>
        <p:grpSpPr bwMode="auto">
          <a:xfrm>
            <a:off x="2422525" y="5486400"/>
            <a:ext cx="1978025" cy="679450"/>
            <a:chOff x="2422772" y="5486795"/>
            <a:chExt cx="1977778" cy="678790"/>
          </a:xfrm>
        </p:grpSpPr>
        <p:sp>
          <p:nvSpPr>
            <p:cNvPr id="29" name="Rechteck 28"/>
            <p:cNvSpPr/>
            <p:nvPr>
              <p:custDataLst>
                <p:tags r:id="rId10"/>
              </p:custDataLst>
            </p:nvPr>
          </p:nvSpPr>
          <p:spPr bwMode="auto">
            <a:xfrm>
              <a:off x="2422772" y="5486795"/>
              <a:ext cx="1977778" cy="678790"/>
            </a:xfrm>
            <a:prstGeom prst="rect">
              <a:avLst/>
            </a:prstGeom>
            <a:solidFill>
              <a:schemeClr val="accent5">
                <a:lumMod val="50000"/>
                <a:alpha val="34000"/>
              </a:schemeClr>
            </a:solidFill>
            <a:ln>
              <a:noFill/>
            </a:ln>
            <a:effectLst/>
            <a:extLst/>
          </p:spPr>
          <p:txBody>
            <a:bodyPr lIns="108000" tIns="54000" rIns="108000" bIns="54000" spcCol="72000" anchor="ctr"/>
            <a:lstStyle/>
            <a:p>
              <a:pPr algn="ctr">
                <a:spcBef>
                  <a:spcPts val="0"/>
                </a:spcBef>
                <a:buFont typeface="Wingdings" charset="0"/>
                <a:buNone/>
                <a:defRPr/>
              </a:pPr>
              <a:endParaRPr lang="de-DE" b="1" dirty="0">
                <a:solidFill>
                  <a:schemeClr val="tx1"/>
                </a:solidFill>
                <a:ea typeface="ＭＳ Ｐゴシック" charset="-128"/>
              </a:endParaRPr>
            </a:p>
          </p:txBody>
        </p:sp>
        <p:sp>
          <p:nvSpPr>
            <p:cNvPr id="16405" name="Textfeld 9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502137" y="5589882"/>
              <a:ext cx="1798152" cy="3997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ru-RU" sz="1400" b="1">
                  <a:solidFill>
                    <a:schemeClr val="bg1"/>
                  </a:solidFill>
                </a:rPr>
                <a:t>Инжиниринг</a:t>
              </a:r>
              <a:endParaRPr lang="de-DE" sz="1200" b="1">
                <a:solidFill>
                  <a:schemeClr val="bg1"/>
                </a:solidFill>
              </a:endParaRPr>
            </a:p>
            <a:p>
              <a:r>
                <a:rPr lang="ru-RU" sz="1200">
                  <a:solidFill>
                    <a:schemeClr val="bg1"/>
                  </a:solidFill>
                </a:rPr>
                <a:t>Автономные компоненты</a:t>
              </a:r>
              <a:endParaRPr lang="de-DE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5" name="Gruppieren 19"/>
          <p:cNvGrpSpPr>
            <a:grpSpLocks/>
          </p:cNvGrpSpPr>
          <p:nvPr/>
        </p:nvGrpSpPr>
        <p:grpSpPr bwMode="auto">
          <a:xfrm>
            <a:off x="7820025" y="5367338"/>
            <a:ext cx="2047875" cy="860425"/>
            <a:chOff x="7448550" y="5486795"/>
            <a:chExt cx="2048524" cy="685705"/>
          </a:xfrm>
        </p:grpSpPr>
        <p:sp>
          <p:nvSpPr>
            <p:cNvPr id="31" name="Rechteck 30"/>
            <p:cNvSpPr/>
            <p:nvPr>
              <p:custDataLst>
                <p:tags r:id="rId8"/>
              </p:custDataLst>
            </p:nvPr>
          </p:nvSpPr>
          <p:spPr bwMode="auto">
            <a:xfrm>
              <a:off x="7448550" y="5486795"/>
              <a:ext cx="2048524" cy="679379"/>
            </a:xfrm>
            <a:prstGeom prst="rect">
              <a:avLst/>
            </a:prstGeom>
            <a:solidFill>
              <a:schemeClr val="accent5">
                <a:lumMod val="50000"/>
                <a:alpha val="34000"/>
              </a:schemeClr>
            </a:solidFill>
            <a:ln>
              <a:noFill/>
            </a:ln>
            <a:effectLst/>
            <a:extLst/>
          </p:spPr>
          <p:txBody>
            <a:bodyPr lIns="108000" tIns="54000" rIns="108000" bIns="54000" spcCol="72000" anchor="ctr"/>
            <a:lstStyle/>
            <a:p>
              <a:pPr algn="ctr">
                <a:spcBef>
                  <a:spcPts val="0"/>
                </a:spcBef>
                <a:buFont typeface="Wingdings" charset="0"/>
                <a:buNone/>
                <a:defRPr/>
              </a:pPr>
              <a:endParaRPr lang="de-DE" b="1" dirty="0">
                <a:solidFill>
                  <a:schemeClr val="tx1"/>
                </a:solidFill>
                <a:ea typeface="ＭＳ Ｐゴシック" charset="-128"/>
              </a:endParaRPr>
            </a:p>
          </p:txBody>
        </p:sp>
        <p:sp>
          <p:nvSpPr>
            <p:cNvPr id="16403" name="Textfeld 10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7489230" y="5588294"/>
              <a:ext cx="1934796" cy="5842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r"/>
              <a:r>
                <a:rPr lang="ru-RU" sz="1400" b="1">
                  <a:solidFill>
                    <a:schemeClr val="bg1"/>
                  </a:solidFill>
                </a:rPr>
                <a:t>Ввод в эксплуатацию</a:t>
              </a:r>
              <a:endParaRPr lang="de-DE" sz="1400" b="1">
                <a:solidFill>
                  <a:schemeClr val="bg1"/>
                </a:solidFill>
              </a:endParaRPr>
            </a:p>
            <a:p>
              <a:pPr algn="r"/>
              <a:r>
                <a:rPr lang="ru-RU" sz="1200">
                  <a:solidFill>
                    <a:schemeClr val="bg1"/>
                  </a:solidFill>
                </a:rPr>
                <a:t>Самостоятельная </a:t>
              </a:r>
            </a:p>
            <a:p>
              <a:pPr algn="r"/>
              <a:r>
                <a:rPr lang="ru-RU" sz="1200">
                  <a:solidFill>
                    <a:schemeClr val="bg1"/>
                  </a:solidFill>
                </a:rPr>
                <a:t>конфигурация</a:t>
              </a:r>
              <a:endParaRPr lang="de-DE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uppieren 14"/>
          <p:cNvGrpSpPr>
            <a:grpSpLocks/>
          </p:cNvGrpSpPr>
          <p:nvPr/>
        </p:nvGrpSpPr>
        <p:grpSpPr bwMode="auto">
          <a:xfrm>
            <a:off x="2344738" y="1508125"/>
            <a:ext cx="1495425" cy="679450"/>
            <a:chOff x="3678842" y="1508150"/>
            <a:chExt cx="1494706" cy="678790"/>
          </a:xfrm>
        </p:grpSpPr>
        <p:sp>
          <p:nvSpPr>
            <p:cNvPr id="25" name="Rechteck 24"/>
            <p:cNvSpPr/>
            <p:nvPr>
              <p:custDataLst>
                <p:tags r:id="rId6"/>
              </p:custDataLst>
            </p:nvPr>
          </p:nvSpPr>
          <p:spPr bwMode="auto">
            <a:xfrm>
              <a:off x="3678842" y="1508150"/>
              <a:ext cx="1494706" cy="678790"/>
            </a:xfrm>
            <a:prstGeom prst="rect">
              <a:avLst/>
            </a:prstGeom>
            <a:solidFill>
              <a:schemeClr val="accent5">
                <a:lumMod val="50000"/>
                <a:alpha val="34000"/>
              </a:schemeClr>
            </a:solidFill>
            <a:ln>
              <a:noFill/>
            </a:ln>
            <a:effectLst/>
            <a:extLst/>
          </p:spPr>
          <p:txBody>
            <a:bodyPr lIns="108000" tIns="54000" rIns="108000" bIns="54000" spcCol="72000" anchor="ctr"/>
            <a:lstStyle/>
            <a:p>
              <a:pPr algn="ctr">
                <a:spcBef>
                  <a:spcPts val="0"/>
                </a:spcBef>
                <a:buFont typeface="Wingdings" charset="0"/>
                <a:buNone/>
                <a:defRPr/>
              </a:pPr>
              <a:endParaRPr lang="de-DE" b="1" dirty="0">
                <a:solidFill>
                  <a:schemeClr val="tx1"/>
                </a:solidFill>
                <a:ea typeface="ＭＳ Ｐゴシック" charset="-128"/>
              </a:endParaRPr>
            </a:p>
          </p:txBody>
        </p:sp>
        <p:sp>
          <p:nvSpPr>
            <p:cNvPr id="16401" name="Textfeld 4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771092" y="1530353"/>
              <a:ext cx="1356770" cy="5842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ru-RU" sz="1400" b="1">
                  <a:solidFill>
                    <a:schemeClr val="bg1"/>
                  </a:solidFill>
                </a:rPr>
                <a:t>Рынок</a:t>
              </a:r>
              <a:endParaRPr lang="de-DE" sz="1400" b="1">
                <a:solidFill>
                  <a:schemeClr val="bg1"/>
                </a:solidFill>
              </a:endParaRPr>
            </a:p>
            <a:p>
              <a:r>
                <a:rPr lang="ru-RU" sz="1200">
                  <a:solidFill>
                    <a:schemeClr val="bg1"/>
                  </a:solidFill>
                </a:rPr>
                <a:t>Требования </a:t>
              </a:r>
            </a:p>
            <a:p>
              <a:r>
                <a:rPr lang="ru-RU" sz="1200">
                  <a:solidFill>
                    <a:schemeClr val="bg1"/>
                  </a:solidFill>
                </a:rPr>
                <a:t>быстрого развития</a:t>
              </a:r>
            </a:p>
          </p:txBody>
        </p:sp>
      </p:grpSp>
      <p:grpSp>
        <p:nvGrpSpPr>
          <p:cNvPr id="8" name="Gruppieren 15"/>
          <p:cNvGrpSpPr>
            <a:grpSpLocks/>
          </p:cNvGrpSpPr>
          <p:nvPr/>
        </p:nvGrpSpPr>
        <p:grpSpPr bwMode="auto">
          <a:xfrm>
            <a:off x="8975725" y="1727200"/>
            <a:ext cx="1495425" cy="679450"/>
            <a:chOff x="9432967" y="1508150"/>
            <a:chExt cx="1494706" cy="678790"/>
          </a:xfrm>
        </p:grpSpPr>
        <p:sp>
          <p:nvSpPr>
            <p:cNvPr id="30" name="Rechteck 29"/>
            <p:cNvSpPr/>
            <p:nvPr>
              <p:custDataLst>
                <p:tags r:id="rId4"/>
              </p:custDataLst>
            </p:nvPr>
          </p:nvSpPr>
          <p:spPr bwMode="auto">
            <a:xfrm>
              <a:off x="9432967" y="1508150"/>
              <a:ext cx="1494706" cy="678790"/>
            </a:xfrm>
            <a:prstGeom prst="rect">
              <a:avLst/>
            </a:prstGeom>
            <a:solidFill>
              <a:schemeClr val="accent5">
                <a:lumMod val="50000"/>
                <a:alpha val="34000"/>
              </a:schemeClr>
            </a:solidFill>
            <a:ln>
              <a:noFill/>
            </a:ln>
            <a:effectLst/>
            <a:extLst/>
          </p:spPr>
          <p:txBody>
            <a:bodyPr lIns="108000" tIns="54000" rIns="108000" bIns="54000" spcCol="72000" anchor="ctr"/>
            <a:lstStyle/>
            <a:p>
              <a:pPr algn="ctr">
                <a:spcBef>
                  <a:spcPts val="0"/>
                </a:spcBef>
                <a:buFont typeface="Wingdings" charset="0"/>
                <a:buNone/>
                <a:defRPr/>
              </a:pPr>
              <a:endParaRPr lang="de-DE" b="1" dirty="0">
                <a:solidFill>
                  <a:schemeClr val="tx1"/>
                </a:solidFill>
                <a:ea typeface="ＭＳ Ｐゴシック" charset="-128"/>
              </a:endParaRPr>
            </a:p>
          </p:txBody>
        </p:sp>
        <p:sp>
          <p:nvSpPr>
            <p:cNvPr id="16399" name="Textfeld 12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9655657" y="1614409"/>
              <a:ext cx="1164118" cy="3997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ru-RU" sz="1400" b="1">
                  <a:solidFill>
                    <a:schemeClr val="bg1"/>
                  </a:solidFill>
                </a:rPr>
                <a:t>Информация</a:t>
              </a:r>
              <a:endParaRPr lang="de-DE" sz="1400" b="1">
                <a:solidFill>
                  <a:schemeClr val="bg1"/>
                </a:solidFill>
              </a:endParaRPr>
            </a:p>
            <a:p>
              <a:pPr algn="r"/>
              <a:r>
                <a:rPr lang="ru-RU" sz="1200">
                  <a:solidFill>
                    <a:schemeClr val="bg1"/>
                  </a:solidFill>
                </a:rPr>
                <a:t>актуальная</a:t>
              </a:r>
              <a:endParaRPr lang="de-DE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uppieren 7"/>
          <p:cNvGrpSpPr>
            <a:grpSpLocks/>
          </p:cNvGrpSpPr>
          <p:nvPr/>
        </p:nvGrpSpPr>
        <p:grpSpPr bwMode="auto">
          <a:xfrm>
            <a:off x="1646238" y="3438525"/>
            <a:ext cx="1908175" cy="682625"/>
            <a:chOff x="1551001" y="3333732"/>
            <a:chExt cx="1907494" cy="682536"/>
          </a:xfrm>
        </p:grpSpPr>
        <p:sp>
          <p:nvSpPr>
            <p:cNvPr id="22" name="Rechteck 21"/>
            <p:cNvSpPr/>
            <p:nvPr>
              <p:custDataLst>
                <p:tags r:id="rId2"/>
              </p:custDataLst>
            </p:nvPr>
          </p:nvSpPr>
          <p:spPr bwMode="auto">
            <a:xfrm>
              <a:off x="1551001" y="3333732"/>
              <a:ext cx="1907494" cy="679361"/>
            </a:xfrm>
            <a:prstGeom prst="rect">
              <a:avLst/>
            </a:prstGeom>
            <a:solidFill>
              <a:schemeClr val="accent5">
                <a:lumMod val="50000"/>
                <a:alpha val="34000"/>
              </a:schemeClr>
            </a:solidFill>
            <a:ln>
              <a:noFill/>
            </a:ln>
            <a:effectLst/>
            <a:extLst/>
          </p:spPr>
          <p:txBody>
            <a:bodyPr lIns="108000" tIns="54000" rIns="108000" bIns="54000" spcCol="72000" anchor="ctr"/>
            <a:lstStyle/>
            <a:p>
              <a:pPr algn="ctr">
                <a:lnSpc>
                  <a:spcPct val="110000"/>
                </a:lnSpc>
                <a:buFont typeface="Wingdings" charset="0"/>
                <a:buNone/>
                <a:defRPr/>
              </a:pPr>
              <a:endParaRPr lang="de-DE" b="1" dirty="0">
                <a:solidFill>
                  <a:schemeClr val="tx1"/>
                </a:solidFill>
                <a:ea typeface="ＭＳ Ｐゴシック" charset="-128"/>
              </a:endParaRPr>
            </a:p>
          </p:txBody>
        </p:sp>
        <p:sp>
          <p:nvSpPr>
            <p:cNvPr id="16397" name="Textfeld 8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611304" y="3432061"/>
              <a:ext cx="1529553" cy="5842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ru-RU" sz="1400" b="1">
                  <a:solidFill>
                    <a:schemeClr val="bg1"/>
                  </a:solidFill>
                </a:rPr>
                <a:t>Проектирование</a:t>
              </a:r>
              <a:r>
                <a:rPr lang="de-DE" sz="1400" b="1">
                  <a:solidFill>
                    <a:schemeClr val="bg1"/>
                  </a:solidFill>
                </a:rPr>
                <a:t> </a:t>
              </a:r>
              <a:br>
                <a:rPr lang="de-DE" sz="1400" b="1">
                  <a:solidFill>
                    <a:schemeClr val="bg1"/>
                  </a:solidFill>
                </a:rPr>
              </a:br>
              <a:r>
                <a:rPr lang="ru-RU" sz="1200">
                  <a:solidFill>
                    <a:schemeClr val="bg1"/>
                  </a:solidFill>
                </a:rPr>
                <a:t>Комплексное </a:t>
              </a:r>
            </a:p>
            <a:p>
              <a:r>
                <a:rPr lang="ru-RU" sz="1200">
                  <a:solidFill>
                    <a:schemeClr val="bg1"/>
                  </a:solidFill>
                </a:rPr>
                <a:t>моделирование</a:t>
              </a:r>
              <a:endParaRPr lang="de-DE" sz="1200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ct 5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410" name="think-cell Slide" r:id="rId21" imgW="360" imgH="360" progId="">
              <p:embed/>
            </p:oleObj>
          </a:graphicData>
        </a:graphic>
      </p:graphicFrame>
      <p:sp>
        <p:nvSpPr>
          <p:cNvPr id="17411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/>
              <a:t>Виртуальные производственные системы</a:t>
            </a:r>
            <a:r>
              <a:rPr lang="de-DE" smtClean="0"/>
              <a:t>…</a:t>
            </a:r>
            <a:br>
              <a:rPr lang="de-DE" smtClean="0"/>
            </a:br>
            <a:r>
              <a:rPr lang="de-DE" b="0" smtClean="0"/>
              <a:t>…</a:t>
            </a:r>
            <a:r>
              <a:rPr lang="ru-RU" b="0" smtClean="0"/>
              <a:t>обладают всей информацией в </a:t>
            </a:r>
            <a:r>
              <a:rPr lang="ru-RU" b="0" smtClean="0">
                <a:solidFill>
                  <a:schemeClr val="tx1"/>
                </a:solidFill>
              </a:rPr>
              <a:t>виде </a:t>
            </a:r>
            <a:r>
              <a:rPr lang="de-DE" b="0" smtClean="0">
                <a:solidFill>
                  <a:schemeClr val="tx1"/>
                </a:solidFill>
              </a:rPr>
              <a:t>„</a:t>
            </a:r>
            <a:r>
              <a:rPr lang="ru-RU" b="0" smtClean="0">
                <a:solidFill>
                  <a:schemeClr val="tx1"/>
                </a:solidFill>
              </a:rPr>
              <a:t>цифровой</a:t>
            </a:r>
            <a:r>
              <a:rPr lang="ru-RU" b="0" smtClean="0"/>
              <a:t> тени</a:t>
            </a:r>
            <a:r>
              <a:rPr lang="de-DE" altLang="ru-RU" b="0" smtClean="0"/>
              <a:t>“</a:t>
            </a:r>
            <a:endParaRPr lang="de-DE" b="0" smtClean="0"/>
          </a:p>
        </p:txBody>
      </p:sp>
      <p:grpSp>
        <p:nvGrpSpPr>
          <p:cNvPr id="2" name="Gruppieren 2"/>
          <p:cNvGrpSpPr>
            <a:grpSpLocks/>
          </p:cNvGrpSpPr>
          <p:nvPr/>
        </p:nvGrpSpPr>
        <p:grpSpPr bwMode="auto">
          <a:xfrm>
            <a:off x="608013" y="3919538"/>
            <a:ext cx="11280775" cy="2311400"/>
            <a:chOff x="624733" y="3918857"/>
            <a:chExt cx="11282806" cy="2312347"/>
          </a:xfrm>
        </p:grpSpPr>
        <p:sp>
          <p:nvSpPr>
            <p:cNvPr id="17423" name="Rechteck 10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24733" y="3918857"/>
              <a:ext cx="11099180" cy="2306189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lIns="108000" tIns="54000" rIns="108000" bIns="54000" anchor="ctr"/>
            <a:lstStyle/>
            <a:p>
              <a:pPr algn="ctr">
                <a:lnSpc>
                  <a:spcPct val="110000"/>
                </a:lnSpc>
                <a:buFont typeface="Wingdings" pitchFamily="2" charset="2"/>
                <a:buNone/>
              </a:pPr>
              <a:endParaRPr lang="ru-RU" b="1">
                <a:solidFill>
                  <a:schemeClr val="tx1"/>
                </a:solidFill>
              </a:endParaRPr>
            </a:p>
          </p:txBody>
        </p:sp>
        <p:pic>
          <p:nvPicPr>
            <p:cNvPr id="17424" name="Picture 9" descr="0394_Anlage_Sim_element_RGB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2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010702" y="5203040"/>
              <a:ext cx="303868" cy="3359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425" name="Picture 9" descr="0394_Anlage_Sim_element_RGB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2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999293" y="5020335"/>
              <a:ext cx="519678" cy="5745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426" name="Picture 9" descr="0394_Anlage_Sim_element_RGB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2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815411" y="4765840"/>
              <a:ext cx="731478" cy="8086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427" name="Picture 9" descr="0394_Anlage_Sim_element_RGB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2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7580577" y="4514816"/>
              <a:ext cx="956439" cy="10573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428" name="Picture 9" descr="0394_Anlage_Sim_element_RGB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2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9531910" y="4337205"/>
              <a:ext cx="1151960" cy="12734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429" name="AutoShape 18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9065609" y="5614038"/>
              <a:ext cx="2137632" cy="612161"/>
            </a:xfrm>
            <a:prstGeom prst="chevron">
              <a:avLst>
                <a:gd name="adj" fmla="val 57973"/>
              </a:avLst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lIns="35989" tIns="0" rIns="35989" bIns="0" anchor="ctr"/>
            <a:lstStyle/>
            <a:p>
              <a:pPr algn="ctr" defTabSz="1089025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endParaRPr lang="ru-RU" sz="1400"/>
            </a:p>
          </p:txBody>
        </p:sp>
        <p:sp>
          <p:nvSpPr>
            <p:cNvPr id="17430" name="Text Box 24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9410724" y="5791286"/>
              <a:ext cx="1447926" cy="2413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2852" tIns="0" rIns="42852" bIns="0">
              <a:spAutoFit/>
            </a:bodyPr>
            <a:lstStyle/>
            <a:p>
              <a:pPr algn="ctr" defTabSz="1089025">
                <a:lnSpc>
                  <a:spcPts val="1900"/>
                </a:lnSpc>
                <a:spcBef>
                  <a:spcPct val="50000"/>
                </a:spcBef>
                <a:buClr>
                  <a:srgbClr val="FF9900"/>
                </a:buClr>
              </a:pPr>
              <a:r>
                <a:rPr lang="ru-RU" sz="1400" b="1">
                  <a:solidFill>
                    <a:schemeClr val="bg1"/>
                  </a:solidFill>
                  <a:cs typeface="Arial" pitchFamily="34" charset="0"/>
                </a:rPr>
                <a:t>Обслуживание</a:t>
              </a:r>
              <a:endParaRPr lang="de-DE" sz="14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7431" name="AutoShape 18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7103870" y="5614038"/>
              <a:ext cx="2139049" cy="612161"/>
            </a:xfrm>
            <a:prstGeom prst="chevron">
              <a:avLst>
                <a:gd name="adj" fmla="val 57979"/>
              </a:avLst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lIns="35989" tIns="0" rIns="35989" bIns="0" anchor="ctr"/>
            <a:lstStyle/>
            <a:p>
              <a:pPr algn="ctr" defTabSz="1089025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endParaRPr lang="ru-RU" sz="1400"/>
            </a:p>
          </p:txBody>
        </p:sp>
        <p:sp>
          <p:nvSpPr>
            <p:cNvPr id="17432" name="Text Box 24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449990" y="5792874"/>
              <a:ext cx="1447927" cy="2413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2852" tIns="0" rIns="42852" bIns="0">
              <a:spAutoFit/>
            </a:bodyPr>
            <a:lstStyle/>
            <a:p>
              <a:pPr algn="ctr" defTabSz="1089025">
                <a:lnSpc>
                  <a:spcPts val="1900"/>
                </a:lnSpc>
                <a:spcBef>
                  <a:spcPct val="50000"/>
                </a:spcBef>
                <a:buClr>
                  <a:srgbClr val="FF9900"/>
                </a:buClr>
              </a:pPr>
              <a:r>
                <a:rPr lang="ru-RU" sz="1400" b="1">
                  <a:solidFill>
                    <a:schemeClr val="bg1"/>
                  </a:solidFill>
                  <a:cs typeface="Arial" pitchFamily="34" charset="0"/>
                </a:rPr>
                <a:t>Производство</a:t>
              </a:r>
              <a:endParaRPr lang="de-DE" sz="14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7433" name="AutoShape 2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190316" y="5614038"/>
              <a:ext cx="2137632" cy="612161"/>
            </a:xfrm>
            <a:prstGeom prst="chevron">
              <a:avLst>
                <a:gd name="adj" fmla="val 57940"/>
              </a:avLst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lIns="35989" tIns="0" rIns="35989" bIns="0" anchor="ctr"/>
            <a:lstStyle/>
            <a:p>
              <a:pPr algn="ctr" defTabSz="1089025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endParaRPr lang="ru-RU" sz="1400"/>
            </a:p>
          </p:txBody>
        </p:sp>
        <p:sp>
          <p:nvSpPr>
            <p:cNvPr id="17434" name="Text Box 25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445360" y="5711552"/>
              <a:ext cx="1630778" cy="3694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2852" tIns="0" rIns="42852" bIns="0">
              <a:spAutoFit/>
            </a:bodyPr>
            <a:lstStyle/>
            <a:p>
              <a:pPr algn="ctr" defTabSz="1089025">
                <a:buClr>
                  <a:srgbClr val="FF9900"/>
                </a:buClr>
              </a:pPr>
              <a:r>
                <a:rPr lang="ru-RU" sz="1200" b="1">
                  <a:solidFill>
                    <a:schemeClr val="bg1"/>
                  </a:solidFill>
                  <a:cs typeface="Arial" pitchFamily="34" charset="0"/>
                </a:rPr>
                <a:t>Производственное</a:t>
              </a:r>
              <a:endParaRPr lang="de-DE" sz="1200" b="1">
                <a:solidFill>
                  <a:schemeClr val="bg1"/>
                </a:solidFill>
                <a:cs typeface="Arial" pitchFamily="34" charset="0"/>
              </a:endParaRPr>
            </a:p>
            <a:p>
              <a:pPr algn="ctr" defTabSz="1089025">
                <a:buClr>
                  <a:srgbClr val="FF9900"/>
                </a:buClr>
              </a:pPr>
              <a:r>
                <a:rPr lang="ru-RU" sz="1200" b="1">
                  <a:solidFill>
                    <a:schemeClr val="bg1"/>
                  </a:solidFill>
                  <a:cs typeface="Arial" pitchFamily="34" charset="0"/>
                </a:rPr>
                <a:t>планирование</a:t>
              </a:r>
              <a:endParaRPr lang="de-DE" sz="12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7435" name="AutoShape 4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136375" y="5610702"/>
              <a:ext cx="2174511" cy="618833"/>
            </a:xfrm>
            <a:prstGeom prst="homePlate">
              <a:avLst>
                <a:gd name="adj" fmla="val 62095"/>
              </a:avLst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lIns="35989" tIns="0" rIns="35989" bIns="0" anchor="ctr"/>
            <a:lstStyle/>
            <a:p>
              <a:pPr algn="ctr" defTabSz="1089025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endParaRPr lang="ru-RU" sz="1400"/>
            </a:p>
          </p:txBody>
        </p:sp>
        <p:sp>
          <p:nvSpPr>
            <p:cNvPr id="17436" name="Text Box 47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323622" y="5711551"/>
              <a:ext cx="1353927" cy="3694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2852" tIns="0" rIns="42852" bIns="0">
              <a:spAutoFit/>
            </a:bodyPr>
            <a:lstStyle/>
            <a:p>
              <a:pPr algn="ctr" defTabSz="1089025">
                <a:buClr>
                  <a:srgbClr val="FF9900"/>
                </a:buClr>
              </a:pPr>
              <a:r>
                <a:rPr lang="ru-RU" sz="1200" b="1">
                  <a:solidFill>
                    <a:schemeClr val="bg1"/>
                  </a:solidFill>
                  <a:cs typeface="Arial" pitchFamily="34" charset="0"/>
                </a:rPr>
                <a:t>Проектирование продукта</a:t>
              </a:r>
              <a:endParaRPr lang="de-DE" sz="12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7437" name="AutoShape 20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5147802" y="5619042"/>
              <a:ext cx="2136212" cy="612162"/>
            </a:xfrm>
            <a:prstGeom prst="chevron">
              <a:avLst>
                <a:gd name="adj" fmla="val 57886"/>
              </a:avLst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lIns="35989" tIns="0" rIns="35989" bIns="0" anchor="ctr"/>
            <a:lstStyle/>
            <a:p>
              <a:pPr algn="ctr" defTabSz="1089025">
                <a:spcBef>
                  <a:spcPct val="50000"/>
                </a:spcBef>
                <a:buClr>
                  <a:schemeClr val="accent2"/>
                </a:buClr>
                <a:buFont typeface="Wingdings" pitchFamily="2" charset="2"/>
                <a:buNone/>
              </a:pPr>
              <a:endParaRPr lang="ru-RU" sz="1400"/>
            </a:p>
          </p:txBody>
        </p:sp>
        <p:sp>
          <p:nvSpPr>
            <p:cNvPr id="17438" name="Text Box 26"/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5412007" y="5727323"/>
              <a:ext cx="1698061" cy="3694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2852" tIns="0" rIns="42852" bIns="0">
              <a:spAutoFit/>
            </a:bodyPr>
            <a:lstStyle/>
            <a:p>
              <a:pPr algn="ctr" defTabSz="1089025">
                <a:buClr>
                  <a:srgbClr val="FF9900"/>
                </a:buClr>
              </a:pPr>
              <a:r>
                <a:rPr lang="ru-RU" sz="1200" b="1">
                  <a:solidFill>
                    <a:schemeClr val="bg1"/>
                  </a:solidFill>
                  <a:cs typeface="Arial" pitchFamily="34" charset="0"/>
                </a:rPr>
                <a:t>Производственный инжиниринг</a:t>
              </a:r>
              <a:endParaRPr lang="de-DE" sz="12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17439" name="Textfeld 16391"/>
            <p:cNvSpPr txBox="1"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73046" y="3968090"/>
              <a:ext cx="11234493" cy="10160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ru-RU">
                  <a:solidFill>
                    <a:schemeClr val="tx1"/>
                  </a:solidFill>
                </a:rPr>
                <a:t>Цифровая тень всегда актуальна и расширяется в течение всего жизненного </a:t>
              </a:r>
            </a:p>
            <a:p>
              <a:pPr>
                <a:spcBef>
                  <a:spcPct val="50000"/>
                </a:spcBef>
              </a:pPr>
              <a:r>
                <a:rPr lang="ru-RU">
                  <a:solidFill>
                    <a:schemeClr val="tx1"/>
                  </a:solidFill>
                </a:rPr>
                <a:t>цикла системы:</a:t>
              </a:r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17413" name="Rechteck 16385"/>
          <p:cNvSpPr>
            <a:spLocks noChangeArrowheads="1"/>
          </p:cNvSpPr>
          <p:nvPr/>
        </p:nvSpPr>
        <p:spPr bwMode="auto">
          <a:xfrm>
            <a:off x="596900" y="1420813"/>
            <a:ext cx="11126788" cy="2409825"/>
          </a:xfrm>
          <a:prstGeom prst="rect">
            <a:avLst/>
          </a:prstGeo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lIns="108000" tIns="54000" rIns="108000" bIns="54000" anchor="ctr"/>
          <a:lstStyle/>
          <a:p>
            <a:pPr algn="ctr">
              <a:lnSpc>
                <a:spcPct val="110000"/>
              </a:lnSpc>
              <a:buFont typeface="Wingdings" pitchFamily="2" charset="2"/>
              <a:buNone/>
            </a:pPr>
            <a:endParaRPr lang="ru-RU" b="1">
              <a:solidFill>
                <a:schemeClr val="tx1"/>
              </a:solidFill>
            </a:endParaRPr>
          </a:p>
        </p:txBody>
      </p:sp>
      <p:sp>
        <p:nvSpPr>
          <p:cNvPr id="17414" name="Text Box 6"/>
          <p:cNvSpPr txBox="1">
            <a:spLocks noChangeArrowheads="1"/>
          </p:cNvSpPr>
          <p:nvPr/>
        </p:nvSpPr>
        <p:spPr bwMode="auto">
          <a:xfrm>
            <a:off x="6935788" y="1946275"/>
            <a:ext cx="2325687" cy="147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marL="268288" indent="-179388">
              <a:spcBef>
                <a:spcPts val="200"/>
              </a:spcBef>
              <a:buSzPct val="100000"/>
              <a:buFont typeface="Wingdings" pitchFamily="2" charset="2"/>
              <a:buChar char="§"/>
            </a:pPr>
            <a:r>
              <a:rPr lang="ru-RU" sz="1600">
                <a:solidFill>
                  <a:schemeClr val="tx1"/>
                </a:solidFill>
              </a:rPr>
              <a:t>механике</a:t>
            </a:r>
            <a:r>
              <a:rPr lang="de-DE" sz="1600">
                <a:solidFill>
                  <a:schemeClr val="tx1"/>
                </a:solidFill>
              </a:rPr>
              <a:t> (CAD)</a:t>
            </a:r>
          </a:p>
          <a:p>
            <a:pPr marL="268288" indent="-179388">
              <a:spcBef>
                <a:spcPts val="200"/>
              </a:spcBef>
              <a:buSzPct val="100000"/>
              <a:buFont typeface="Wingdings" pitchFamily="2" charset="2"/>
              <a:buChar char="§"/>
            </a:pPr>
            <a:r>
              <a:rPr lang="ru-RU" sz="1600">
                <a:solidFill>
                  <a:schemeClr val="tx1"/>
                </a:solidFill>
              </a:rPr>
              <a:t>электрике</a:t>
            </a:r>
            <a:r>
              <a:rPr lang="de-DE" sz="1600">
                <a:solidFill>
                  <a:schemeClr val="tx1"/>
                </a:solidFill>
              </a:rPr>
              <a:t> (CAE)</a:t>
            </a:r>
          </a:p>
          <a:p>
            <a:pPr marL="268288" indent="-179388">
              <a:spcBef>
                <a:spcPts val="200"/>
              </a:spcBef>
              <a:buSzPct val="100000"/>
              <a:buFont typeface="Wingdings" pitchFamily="2" charset="2"/>
              <a:buChar char="§"/>
            </a:pPr>
            <a:r>
              <a:rPr lang="ru-RU" sz="1600">
                <a:solidFill>
                  <a:schemeClr val="tx1"/>
                </a:solidFill>
              </a:rPr>
              <a:t>автоматизации</a:t>
            </a:r>
            <a:r>
              <a:rPr lang="de-DE" sz="1600">
                <a:solidFill>
                  <a:schemeClr val="tx1"/>
                </a:solidFill>
              </a:rPr>
              <a:t>, HMI</a:t>
            </a:r>
          </a:p>
          <a:p>
            <a:pPr marL="268288" indent="-179388">
              <a:spcBef>
                <a:spcPts val="200"/>
              </a:spcBef>
              <a:buSzPct val="100000"/>
              <a:buFont typeface="Wingdings" pitchFamily="2" charset="2"/>
              <a:buChar char="§"/>
            </a:pPr>
            <a:r>
              <a:rPr lang="ru-RU" sz="1600">
                <a:solidFill>
                  <a:schemeClr val="tx1"/>
                </a:solidFill>
              </a:rPr>
              <a:t>безопасности</a:t>
            </a:r>
            <a:r>
              <a:rPr lang="de-DE" sz="1600">
                <a:solidFill>
                  <a:schemeClr val="tx1"/>
                </a:solidFill>
              </a:rPr>
              <a:t>, </a:t>
            </a:r>
            <a:r>
              <a:rPr lang="ru-RU" sz="1600">
                <a:solidFill>
                  <a:schemeClr val="tx1"/>
                </a:solidFill>
              </a:rPr>
              <a:t>защите</a:t>
            </a:r>
            <a:endParaRPr lang="de-DE" sz="1600">
              <a:solidFill>
                <a:schemeClr val="tx1"/>
              </a:solidFill>
            </a:endParaRPr>
          </a:p>
          <a:p>
            <a:pPr marL="268288" indent="-179388">
              <a:spcBef>
                <a:spcPts val="200"/>
              </a:spcBef>
              <a:buSzPct val="100000"/>
              <a:buFont typeface="Wingdings" pitchFamily="2" charset="2"/>
              <a:buChar char="§"/>
            </a:pPr>
            <a:r>
              <a:rPr lang="ru-RU" sz="1600">
                <a:solidFill>
                  <a:schemeClr val="tx1"/>
                </a:solidFill>
              </a:rPr>
              <a:t>техническом обслуживании</a:t>
            </a:r>
            <a:endParaRPr lang="de-DE" sz="1600">
              <a:solidFill>
                <a:schemeClr val="tx1"/>
              </a:solidFill>
            </a:endParaRPr>
          </a:p>
          <a:p>
            <a:pPr marL="268288" indent="-179388">
              <a:spcBef>
                <a:spcPts val="200"/>
              </a:spcBef>
              <a:buSzPct val="100000"/>
              <a:buFont typeface="Wingdings" pitchFamily="2" charset="2"/>
              <a:buChar char="§"/>
            </a:pPr>
            <a:endParaRPr lang="de-DE" sz="1600">
              <a:solidFill>
                <a:schemeClr val="tx1"/>
              </a:solidFill>
            </a:endParaRPr>
          </a:p>
        </p:txBody>
      </p:sp>
      <p:pic>
        <p:nvPicPr>
          <p:cNvPr id="17415" name="Picture 9" descr="0394_Anlage_Sim_element_RGB"/>
          <p:cNvPicPr>
            <a:picLocks noChangeAspect="1" noChangeArrowheads="1"/>
          </p:cNvPicPr>
          <p:nvPr/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719638" y="1401763"/>
            <a:ext cx="1577975" cy="173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6" name="Picture 7" descr="0394_Anlage_Real_element_RGB"/>
          <p:cNvPicPr>
            <a:picLocks noChangeAspect="1" noChangeArrowheads="1"/>
          </p:cNvPicPr>
          <p:nvPr/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420813" y="1455738"/>
            <a:ext cx="2101850" cy="171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417" name="Textfeld 16389"/>
          <p:cNvSpPr txBox="1">
            <a:spLocks noChangeArrowheads="1"/>
          </p:cNvSpPr>
          <p:nvPr/>
        </p:nvSpPr>
        <p:spPr bwMode="auto">
          <a:xfrm>
            <a:off x="844550" y="3009900"/>
            <a:ext cx="2024063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ru-RU">
                <a:solidFill>
                  <a:schemeClr val="tx1"/>
                </a:solidFill>
              </a:rPr>
              <a:t>Физическое</a:t>
            </a:r>
          </a:p>
          <a:p>
            <a:pPr algn="ctr"/>
            <a:r>
              <a:rPr lang="ru-RU">
                <a:solidFill>
                  <a:schemeClr val="tx1"/>
                </a:solidFill>
              </a:rPr>
              <a:t>оборудование</a:t>
            </a:r>
            <a:endParaRPr lang="de-DE">
              <a:solidFill>
                <a:schemeClr val="tx1"/>
              </a:solidFill>
            </a:endParaRPr>
          </a:p>
        </p:txBody>
      </p:sp>
      <p:sp>
        <p:nvSpPr>
          <p:cNvPr id="17418" name="Textfeld 103"/>
          <p:cNvSpPr txBox="1">
            <a:spLocks noChangeArrowheads="1"/>
          </p:cNvSpPr>
          <p:nvPr/>
        </p:nvSpPr>
        <p:spPr bwMode="auto">
          <a:xfrm>
            <a:off x="4314825" y="3263900"/>
            <a:ext cx="1652588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ru-RU">
                <a:solidFill>
                  <a:schemeClr val="tx1"/>
                </a:solidFill>
              </a:rPr>
              <a:t>Цифровая тень</a:t>
            </a:r>
            <a:endParaRPr lang="de-DE">
              <a:solidFill>
                <a:schemeClr val="tx1"/>
              </a:solidFill>
            </a:endParaRPr>
          </a:p>
        </p:txBody>
      </p:sp>
      <p:sp>
        <p:nvSpPr>
          <p:cNvPr id="17419" name="Gleichschenkliges Dreieck 16390"/>
          <p:cNvSpPr>
            <a:spLocks noChangeArrowheads="1"/>
          </p:cNvSpPr>
          <p:nvPr/>
        </p:nvSpPr>
        <p:spPr bwMode="auto">
          <a:xfrm rot="5400000">
            <a:off x="5992019" y="2410619"/>
            <a:ext cx="1398588" cy="361950"/>
          </a:xfrm>
          <a:prstGeom prst="triangle">
            <a:avLst>
              <a:gd name="adj" fmla="val 50000"/>
            </a:avLst>
          </a:prstGeom>
          <a:solidFill>
            <a:srgbClr val="647D2D"/>
          </a:solidFill>
          <a:ln w="9525">
            <a:noFill/>
            <a:miter lim="800000"/>
            <a:headEnd/>
            <a:tailEnd/>
          </a:ln>
        </p:spPr>
        <p:txBody>
          <a:bodyPr rot="10800000" vert="eaVert" lIns="108000" tIns="54000" rIns="108000" bIns="54000" anchor="ctr"/>
          <a:lstStyle/>
          <a:p>
            <a:pPr algn="ctr">
              <a:lnSpc>
                <a:spcPct val="110000"/>
              </a:lnSpc>
              <a:buFont typeface="Wingdings" pitchFamily="2" charset="2"/>
              <a:buNone/>
            </a:pPr>
            <a:endParaRPr lang="ru-RU" b="1">
              <a:solidFill>
                <a:schemeClr val="tx1"/>
              </a:solidFill>
            </a:endParaRPr>
          </a:p>
        </p:txBody>
      </p:sp>
      <p:sp>
        <p:nvSpPr>
          <p:cNvPr id="17420" name="Text Box 6"/>
          <p:cNvSpPr txBox="1">
            <a:spLocks noChangeArrowheads="1"/>
          </p:cNvSpPr>
          <p:nvPr/>
        </p:nvSpPr>
        <p:spPr bwMode="auto">
          <a:xfrm>
            <a:off x="9318625" y="1946275"/>
            <a:ext cx="2325688" cy="149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/>
          <a:lstStyle/>
          <a:p>
            <a:pPr marL="268288" indent="-179388">
              <a:spcBef>
                <a:spcPts val="200"/>
              </a:spcBef>
              <a:buSzPct val="100000"/>
              <a:buFont typeface="Wingdings" pitchFamily="2" charset="2"/>
              <a:buChar char="§"/>
            </a:pPr>
            <a:r>
              <a:rPr lang="ru-RU" sz="1600">
                <a:solidFill>
                  <a:schemeClr val="tx1"/>
                </a:solidFill>
              </a:rPr>
              <a:t>местонахождении</a:t>
            </a:r>
            <a:r>
              <a:rPr lang="de-DE" sz="1600">
                <a:solidFill>
                  <a:schemeClr val="tx1"/>
                </a:solidFill>
              </a:rPr>
              <a:t>, </a:t>
            </a:r>
            <a:r>
              <a:rPr lang="ru-RU" sz="1600">
                <a:solidFill>
                  <a:schemeClr val="tx1"/>
                </a:solidFill>
              </a:rPr>
              <a:t>идентичности</a:t>
            </a:r>
            <a:endParaRPr lang="de-DE" sz="1600">
              <a:solidFill>
                <a:schemeClr val="tx1"/>
              </a:solidFill>
            </a:endParaRPr>
          </a:p>
          <a:p>
            <a:pPr marL="268288" indent="-179388">
              <a:spcBef>
                <a:spcPts val="200"/>
              </a:spcBef>
              <a:buSzPct val="100000"/>
              <a:buFont typeface="Wingdings" pitchFamily="2" charset="2"/>
              <a:buChar char="§"/>
            </a:pPr>
            <a:r>
              <a:rPr lang="ru-RU" sz="1600">
                <a:solidFill>
                  <a:schemeClr val="tx1"/>
                </a:solidFill>
              </a:rPr>
              <a:t>состоянии</a:t>
            </a:r>
            <a:endParaRPr lang="de-DE" sz="1600">
              <a:solidFill>
                <a:schemeClr val="tx1"/>
              </a:solidFill>
            </a:endParaRPr>
          </a:p>
          <a:p>
            <a:pPr marL="268288" indent="-179388">
              <a:spcBef>
                <a:spcPts val="200"/>
              </a:spcBef>
              <a:buSzPct val="100000"/>
              <a:buFont typeface="Wingdings" pitchFamily="2" charset="2"/>
              <a:buChar char="§"/>
            </a:pPr>
            <a:r>
              <a:rPr lang="ru-RU" sz="1600">
                <a:solidFill>
                  <a:schemeClr val="tx1"/>
                </a:solidFill>
              </a:rPr>
              <a:t>версии ПО</a:t>
            </a:r>
            <a:endParaRPr lang="de-DE" sz="1600">
              <a:solidFill>
                <a:schemeClr val="tx1"/>
              </a:solidFill>
            </a:endParaRPr>
          </a:p>
          <a:p>
            <a:pPr marL="268288" indent="-179388">
              <a:spcBef>
                <a:spcPts val="200"/>
              </a:spcBef>
              <a:buSzPct val="100000"/>
              <a:buFont typeface="Wingdings" pitchFamily="2" charset="2"/>
              <a:buChar char="§"/>
            </a:pPr>
            <a:r>
              <a:rPr lang="ru-RU" sz="1600">
                <a:solidFill>
                  <a:schemeClr val="tx1"/>
                </a:solidFill>
              </a:rPr>
              <a:t>интерфейсах</a:t>
            </a:r>
            <a:endParaRPr lang="de-DE" sz="1600">
              <a:solidFill>
                <a:schemeClr val="tx1"/>
              </a:solidFill>
            </a:endParaRPr>
          </a:p>
          <a:p>
            <a:pPr marL="268288" indent="-179388">
              <a:spcBef>
                <a:spcPts val="200"/>
              </a:spcBef>
              <a:buSzPct val="100000"/>
              <a:buFont typeface="Wingdings" pitchFamily="2" charset="2"/>
              <a:buChar char="§"/>
            </a:pPr>
            <a:r>
              <a:rPr lang="de-DE" sz="160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17421" name="Textfeld 34"/>
          <p:cNvSpPr txBox="1">
            <a:spLocks noChangeArrowheads="1"/>
          </p:cNvSpPr>
          <p:nvPr/>
        </p:nvSpPr>
        <p:spPr bwMode="auto">
          <a:xfrm>
            <a:off x="7056438" y="1538288"/>
            <a:ext cx="3425825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ru-RU">
                <a:solidFill>
                  <a:schemeClr val="tx1"/>
                </a:solidFill>
              </a:rPr>
              <a:t>Содержит всю информацию о</a:t>
            </a:r>
            <a:r>
              <a:rPr lang="de-DE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17422" name="Textfeld 5"/>
          <p:cNvSpPr txBox="1">
            <a:spLocks noChangeArrowheads="1"/>
          </p:cNvSpPr>
          <p:nvPr/>
        </p:nvSpPr>
        <p:spPr bwMode="auto">
          <a:xfrm>
            <a:off x="3910013" y="1989138"/>
            <a:ext cx="358775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4800">
                <a:solidFill>
                  <a:schemeClr val="tx1"/>
                </a:solidFill>
              </a:rPr>
              <a:t>+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Objekt 4" hidden="1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p:oleObj spid="_x0000_s18434" name="think-cell Slide" r:id="rId5" imgW="360" imgH="360" progId="">
              <p:embed/>
            </p:oleObj>
          </a:graphicData>
        </a:graphic>
      </p:graphicFrame>
      <p:sp>
        <p:nvSpPr>
          <p:cNvPr id="18435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 smtClean="0"/>
              <a:t>Индустрия </a:t>
            </a:r>
            <a:r>
              <a:rPr lang="en-US" smtClean="0"/>
              <a:t>4.0 </a:t>
            </a:r>
            <a:r>
              <a:rPr lang="ru-RU" smtClean="0"/>
              <a:t>влияет на все элементы производства</a:t>
            </a:r>
            <a:endParaRPr lang="en-US" b="0" smtClean="0"/>
          </a:p>
        </p:txBody>
      </p:sp>
      <p:sp>
        <p:nvSpPr>
          <p:cNvPr id="43" name="Sechseck 42"/>
          <p:cNvSpPr>
            <a:spLocks/>
          </p:cNvSpPr>
          <p:nvPr/>
        </p:nvSpPr>
        <p:spPr bwMode="gray">
          <a:xfrm>
            <a:off x="9019547" y="1576590"/>
            <a:ext cx="1283894" cy="991560"/>
          </a:xfrm>
          <a:prstGeom prst="hexagon">
            <a:avLst>
              <a:gd name="adj" fmla="val 31081"/>
              <a:gd name="vf" fmla="val 115470"/>
            </a:avLst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Человеческие</a:t>
            </a:r>
            <a:b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ресурсы</a:t>
            </a:r>
            <a:endParaRPr lang="en-US" sz="1000" b="1">
              <a:solidFill>
                <a:schemeClr val="tx1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4" name="Sechseck 43"/>
          <p:cNvSpPr>
            <a:spLocks/>
          </p:cNvSpPr>
          <p:nvPr/>
        </p:nvSpPr>
        <p:spPr bwMode="gray">
          <a:xfrm>
            <a:off x="4146558" y="4064543"/>
            <a:ext cx="1283894" cy="991560"/>
          </a:xfrm>
          <a:prstGeom prst="hexagon">
            <a:avLst>
              <a:gd name="adj" fmla="val 31081"/>
              <a:gd name="vf" fmla="val 115470"/>
            </a:avLst>
          </a:prstGeom>
          <a:solidFill>
            <a:schemeClr val="accent5"/>
          </a:solidFill>
          <a:ln w="190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Цифровое</a:t>
            </a:r>
            <a:b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производство</a:t>
            </a:r>
            <a:endParaRPr lang="en-US" sz="1000">
              <a:solidFill>
                <a:schemeClr val="bg1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5" name="Sechseck 44"/>
          <p:cNvSpPr>
            <a:spLocks/>
          </p:cNvSpPr>
          <p:nvPr/>
        </p:nvSpPr>
        <p:spPr bwMode="gray">
          <a:xfrm>
            <a:off x="4146558" y="3069887"/>
            <a:ext cx="1283894" cy="991560"/>
          </a:xfrm>
          <a:prstGeom prst="hexagon">
            <a:avLst>
              <a:gd name="adj" fmla="val 31081"/>
              <a:gd name="vf" fmla="val 115470"/>
            </a:avLst>
          </a:prstGeom>
          <a:solidFill>
            <a:schemeClr val="accent5"/>
          </a:solidFill>
          <a:ln w="190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7200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Управление</a:t>
            </a:r>
            <a:b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данными </a:t>
            </a:r>
            <a:b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жизненного</a:t>
            </a:r>
            <a:b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цикла</a:t>
            </a:r>
            <a:r>
              <a:rPr lang="en-US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 </a:t>
            </a:r>
            <a:r>
              <a:rPr lang="en-US" sz="90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(cPDM)</a:t>
            </a:r>
            <a:br>
              <a:rPr lang="en-US" sz="90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90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для продуктов и</a:t>
            </a:r>
            <a:r>
              <a:rPr lang="en-US" sz="90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/>
            </a:r>
            <a:br>
              <a:rPr lang="en-US" sz="90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900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производства</a:t>
            </a:r>
            <a:endParaRPr lang="en-US" sz="900">
              <a:solidFill>
                <a:schemeClr val="bg1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6" name="Sechseck 45"/>
          <p:cNvSpPr>
            <a:spLocks/>
          </p:cNvSpPr>
          <p:nvPr/>
        </p:nvSpPr>
        <p:spPr bwMode="gray">
          <a:xfrm>
            <a:off x="4146701" y="2075235"/>
            <a:ext cx="1283894" cy="991560"/>
          </a:xfrm>
          <a:prstGeom prst="hexagon">
            <a:avLst>
              <a:gd name="adj" fmla="val 31081"/>
              <a:gd name="vf" fmla="val 115470"/>
            </a:avLst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Управление </a:t>
            </a:r>
            <a:b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отношениями с </a:t>
            </a:r>
            <a:b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заказчиками</a:t>
            </a:r>
            <a:endParaRPr lang="en-US" sz="1000">
              <a:solidFill>
                <a:schemeClr val="tx1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7" name="Sechseck 46"/>
          <p:cNvSpPr>
            <a:spLocks/>
          </p:cNvSpPr>
          <p:nvPr/>
        </p:nvSpPr>
        <p:spPr bwMode="gray">
          <a:xfrm>
            <a:off x="3166968" y="3566320"/>
            <a:ext cx="1283894" cy="991560"/>
          </a:xfrm>
          <a:prstGeom prst="hexagon">
            <a:avLst>
              <a:gd name="adj" fmla="val 31081"/>
              <a:gd name="vf" fmla="val 115470"/>
            </a:avLst>
          </a:prstGeom>
          <a:solidFill>
            <a:schemeClr val="accent5"/>
          </a:solidFill>
          <a:ln w="190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endParaRPr lang="en-US" sz="900" b="1">
              <a:solidFill>
                <a:schemeClr val="bg1"/>
              </a:solidFill>
              <a:ea typeface="ＭＳ Ｐゴシック" pitchFamily="34" charset="-128"/>
              <a:cs typeface="Arial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9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Инжиниринг</a:t>
            </a:r>
            <a:r>
              <a:rPr lang="en-US" sz="9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,</a:t>
            </a:r>
            <a:br>
              <a:rPr lang="en-US" sz="9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9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средства </a:t>
            </a:r>
            <a:br>
              <a:rPr lang="ru-RU" sz="9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9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проектировки и </a:t>
            </a:r>
            <a:br>
              <a:rPr lang="ru-RU" sz="9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9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моделирование</a:t>
            </a:r>
            <a:r>
              <a:rPr lang="en-US" sz="9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/>
            </a:r>
            <a:br>
              <a:rPr lang="en-US" sz="9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</a:br>
            <a:endParaRPr lang="en-US" sz="900">
              <a:solidFill>
                <a:schemeClr val="bg1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8" name="Sechseck 47"/>
          <p:cNvSpPr>
            <a:spLocks/>
          </p:cNvSpPr>
          <p:nvPr/>
        </p:nvSpPr>
        <p:spPr bwMode="gray">
          <a:xfrm>
            <a:off x="8054379" y="3073212"/>
            <a:ext cx="1283894" cy="991560"/>
          </a:xfrm>
          <a:prstGeom prst="hexagon">
            <a:avLst>
              <a:gd name="adj" fmla="val 31081"/>
              <a:gd name="vf" fmla="val 115470"/>
            </a:avLst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Корпоративная </a:t>
            </a:r>
            <a:b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инфраструктура</a:t>
            </a:r>
            <a:r>
              <a:rPr lang="en-US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/>
            </a:r>
            <a:br>
              <a:rPr lang="en-US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en-US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IT</a:t>
            </a:r>
          </a:p>
        </p:txBody>
      </p:sp>
      <p:sp>
        <p:nvSpPr>
          <p:cNvPr id="49" name="Sechseck 48"/>
          <p:cNvSpPr>
            <a:spLocks/>
          </p:cNvSpPr>
          <p:nvPr/>
        </p:nvSpPr>
        <p:spPr bwMode="gray">
          <a:xfrm>
            <a:off x="8054379" y="4067868"/>
            <a:ext cx="1283894" cy="991560"/>
          </a:xfrm>
          <a:prstGeom prst="hexagon">
            <a:avLst>
              <a:gd name="adj" fmla="val 31081"/>
              <a:gd name="vf" fmla="val 115470"/>
            </a:avLst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Материалы</a:t>
            </a:r>
            <a:endParaRPr lang="en-US" sz="1000" b="1">
              <a:solidFill>
                <a:schemeClr val="tx1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50" name="Sechseck 49"/>
          <p:cNvSpPr>
            <a:spLocks/>
          </p:cNvSpPr>
          <p:nvPr/>
        </p:nvSpPr>
        <p:spPr bwMode="gray">
          <a:xfrm>
            <a:off x="8048461" y="2078560"/>
            <a:ext cx="1283894" cy="991560"/>
          </a:xfrm>
          <a:prstGeom prst="hexagon">
            <a:avLst>
              <a:gd name="adj" fmla="val 31081"/>
              <a:gd name="vf" fmla="val 115470"/>
            </a:avLst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Приборы и </a:t>
            </a:r>
            <a:b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инструменты</a:t>
            </a:r>
            <a:endParaRPr lang="en-US" sz="1000" b="1">
              <a:solidFill>
                <a:schemeClr val="tx1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51" name="Sechseck 50"/>
          <p:cNvSpPr>
            <a:spLocks/>
          </p:cNvSpPr>
          <p:nvPr/>
        </p:nvSpPr>
        <p:spPr bwMode="gray">
          <a:xfrm>
            <a:off x="7082691" y="2571243"/>
            <a:ext cx="1283894" cy="991560"/>
          </a:xfrm>
          <a:prstGeom prst="hexagon">
            <a:avLst>
              <a:gd name="adj" fmla="val 31081"/>
              <a:gd name="vf" fmla="val 115470"/>
            </a:avLst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Промышленное </a:t>
            </a:r>
            <a:b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оборудование</a:t>
            </a:r>
            <a:endParaRPr lang="en-US" sz="1000" b="1">
              <a:solidFill>
                <a:schemeClr val="tx1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52" name="Sechseck 51"/>
          <p:cNvSpPr>
            <a:spLocks/>
          </p:cNvSpPr>
          <p:nvPr/>
        </p:nvSpPr>
        <p:spPr bwMode="gray">
          <a:xfrm>
            <a:off x="7082691" y="1576590"/>
            <a:ext cx="1283894" cy="991560"/>
          </a:xfrm>
          <a:prstGeom prst="hexagon">
            <a:avLst>
              <a:gd name="adj" fmla="val 31081"/>
              <a:gd name="vf" fmla="val 115470"/>
            </a:avLst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Инфраструктура </a:t>
            </a:r>
            <a:b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заводов</a:t>
            </a:r>
            <a:endParaRPr lang="en-US" sz="1000" b="1">
              <a:solidFill>
                <a:schemeClr val="tx1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53" name="Sechseck 52"/>
          <p:cNvSpPr>
            <a:spLocks/>
          </p:cNvSpPr>
          <p:nvPr/>
        </p:nvSpPr>
        <p:spPr bwMode="gray">
          <a:xfrm>
            <a:off x="7082691" y="3565898"/>
            <a:ext cx="1283894" cy="991560"/>
          </a:xfrm>
          <a:prstGeom prst="hexagon">
            <a:avLst>
              <a:gd name="adj" fmla="val 31081"/>
              <a:gd name="vf" fmla="val 115470"/>
            </a:avLst>
          </a:prstGeom>
          <a:solidFill>
            <a:schemeClr val="accent5"/>
          </a:solidFill>
          <a:ln w="190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Промышленная</a:t>
            </a:r>
            <a:b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коммуникация</a:t>
            </a:r>
            <a:b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и безопасность</a:t>
            </a:r>
            <a:endParaRPr lang="en-US" sz="1000" b="1">
              <a:solidFill>
                <a:schemeClr val="bg1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54" name="Sechseck 53"/>
          <p:cNvSpPr>
            <a:spLocks/>
          </p:cNvSpPr>
          <p:nvPr/>
        </p:nvSpPr>
        <p:spPr bwMode="gray">
          <a:xfrm>
            <a:off x="6101452" y="4064543"/>
            <a:ext cx="1283894" cy="991560"/>
          </a:xfrm>
          <a:prstGeom prst="hexagon">
            <a:avLst>
              <a:gd name="adj" fmla="val 31081"/>
              <a:gd name="vf" fmla="val 115470"/>
            </a:avLst>
          </a:prstGeom>
          <a:solidFill>
            <a:schemeClr val="accent5"/>
          </a:solidFill>
          <a:ln w="190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Обслуживание</a:t>
            </a:r>
            <a:r>
              <a:rPr lang="en-US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,</a:t>
            </a:r>
          </a:p>
          <a:p>
            <a:pPr algn="ctr">
              <a:lnSpc>
                <a:spcPct val="90000"/>
              </a:lnSpc>
              <a:defRPr/>
            </a:pP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текущий</a:t>
            </a:r>
            <a:b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и капитальный</a:t>
            </a:r>
            <a:b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ремонт</a:t>
            </a:r>
            <a:endParaRPr lang="en-US" sz="1000" b="1">
              <a:solidFill>
                <a:schemeClr val="bg1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55" name="Sechseck 54"/>
          <p:cNvSpPr>
            <a:spLocks/>
          </p:cNvSpPr>
          <p:nvPr/>
        </p:nvSpPr>
        <p:spPr bwMode="gray">
          <a:xfrm>
            <a:off x="6101452" y="5059196"/>
            <a:ext cx="1283894" cy="991560"/>
          </a:xfrm>
          <a:prstGeom prst="hexagon">
            <a:avLst>
              <a:gd name="adj" fmla="val 31081"/>
              <a:gd name="vf" fmla="val 115470"/>
            </a:avLst>
          </a:prstGeom>
          <a:solidFill>
            <a:schemeClr val="accent5"/>
          </a:solidFill>
          <a:ln w="190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Сенсоры и </a:t>
            </a:r>
            <a:b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приводы</a:t>
            </a:r>
            <a:endParaRPr lang="en-US" sz="1000" b="1">
              <a:solidFill>
                <a:schemeClr val="bg1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56" name="Sechseck 55"/>
          <p:cNvSpPr>
            <a:spLocks/>
          </p:cNvSpPr>
          <p:nvPr/>
        </p:nvSpPr>
        <p:spPr bwMode="gray">
          <a:xfrm>
            <a:off x="6101452" y="2075235"/>
            <a:ext cx="1283894" cy="991560"/>
          </a:xfrm>
          <a:prstGeom prst="hexagon">
            <a:avLst>
              <a:gd name="adj" fmla="val 31081"/>
              <a:gd name="vf" fmla="val 115470"/>
            </a:avLst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Управление</a:t>
            </a:r>
            <a:b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цепочкой </a:t>
            </a:r>
          </a:p>
          <a:p>
            <a:pPr algn="ctr">
              <a:defRPr/>
            </a:pPr>
            <a: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поставок</a:t>
            </a:r>
            <a:endParaRPr lang="en-US" sz="1000" b="1">
              <a:solidFill>
                <a:schemeClr val="tx1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57" name="Sechseck 56"/>
          <p:cNvSpPr>
            <a:spLocks/>
          </p:cNvSpPr>
          <p:nvPr/>
        </p:nvSpPr>
        <p:spPr bwMode="gray">
          <a:xfrm>
            <a:off x="6101452" y="3069887"/>
            <a:ext cx="1283894" cy="991560"/>
          </a:xfrm>
          <a:prstGeom prst="hexagon">
            <a:avLst>
              <a:gd name="adj" fmla="val 31081"/>
              <a:gd name="vf" fmla="val 115470"/>
            </a:avLst>
          </a:prstGeom>
          <a:gradFill>
            <a:gsLst>
              <a:gs pos="0">
                <a:schemeClr val="accent2"/>
              </a:gs>
              <a:gs pos="80000">
                <a:schemeClr val="accent5"/>
              </a:gs>
            </a:gsLst>
            <a:lin ang="5400000" scaled="0"/>
          </a:gradFill>
          <a:ln w="190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Управление </a:t>
            </a:r>
            <a:b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активами</a:t>
            </a:r>
            <a:endParaRPr lang="en-US" sz="1000" b="1">
              <a:solidFill>
                <a:schemeClr val="bg1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58" name="Sechseck 57"/>
          <p:cNvSpPr>
            <a:spLocks/>
          </p:cNvSpPr>
          <p:nvPr/>
        </p:nvSpPr>
        <p:spPr bwMode="gray">
          <a:xfrm>
            <a:off x="5127092" y="4560552"/>
            <a:ext cx="1283894" cy="991560"/>
          </a:xfrm>
          <a:prstGeom prst="hexagon">
            <a:avLst>
              <a:gd name="adj" fmla="val 31081"/>
              <a:gd name="vf" fmla="val 115470"/>
            </a:avLst>
          </a:prstGeom>
          <a:solidFill>
            <a:schemeClr val="accent5"/>
          </a:solidFill>
          <a:ln w="190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Промышленные</a:t>
            </a:r>
            <a:b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системы </a:t>
            </a:r>
            <a:b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управления</a:t>
            </a:r>
            <a:endParaRPr lang="en-US" sz="1000" b="1">
              <a:solidFill>
                <a:schemeClr val="bg1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59" name="Sechseck 58"/>
          <p:cNvSpPr>
            <a:spLocks/>
          </p:cNvSpPr>
          <p:nvPr/>
        </p:nvSpPr>
        <p:spPr bwMode="gray">
          <a:xfrm>
            <a:off x="5127092" y="3565898"/>
            <a:ext cx="1283894" cy="991560"/>
          </a:xfrm>
          <a:prstGeom prst="hexagon">
            <a:avLst>
              <a:gd name="adj" fmla="val 31081"/>
              <a:gd name="vf" fmla="val 115470"/>
            </a:avLst>
          </a:prstGeom>
          <a:solidFill>
            <a:schemeClr val="accent5"/>
          </a:solidFill>
          <a:ln w="190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Управление</a:t>
            </a:r>
            <a:b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производственными</a:t>
            </a:r>
            <a:b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операциями</a:t>
            </a:r>
            <a:endParaRPr lang="en-US" sz="1000" b="1">
              <a:solidFill>
                <a:schemeClr val="bg1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0" name="Sechseck 59"/>
          <p:cNvSpPr>
            <a:spLocks/>
          </p:cNvSpPr>
          <p:nvPr/>
        </p:nvSpPr>
        <p:spPr bwMode="gray">
          <a:xfrm>
            <a:off x="5127092" y="1576590"/>
            <a:ext cx="1283894" cy="991560"/>
          </a:xfrm>
          <a:prstGeom prst="hexagon">
            <a:avLst>
              <a:gd name="adj" fmla="val 31081"/>
              <a:gd name="vf" fmla="val 115470"/>
            </a:avLst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endParaRPr lang="ru-RU" sz="1000" b="1">
              <a:solidFill>
                <a:schemeClr val="tx1"/>
              </a:solidFill>
              <a:ea typeface="ＭＳ Ｐゴシック" pitchFamily="34" charset="-128"/>
              <a:cs typeface="Arial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Инфраструктура </a:t>
            </a:r>
            <a:b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связи</a:t>
            </a:r>
            <a:endParaRPr lang="en-US" sz="1000" b="1">
              <a:solidFill>
                <a:schemeClr val="tx1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1" name="Sechseck 60"/>
          <p:cNvSpPr>
            <a:spLocks/>
          </p:cNvSpPr>
          <p:nvPr/>
        </p:nvSpPr>
        <p:spPr bwMode="gray">
          <a:xfrm>
            <a:off x="5127092" y="2571243"/>
            <a:ext cx="1283894" cy="991560"/>
          </a:xfrm>
          <a:prstGeom prst="hexagon">
            <a:avLst>
              <a:gd name="adj" fmla="val 31081"/>
              <a:gd name="vf" fmla="val 115470"/>
            </a:avLst>
          </a:prstGeom>
          <a:gradFill>
            <a:gsLst>
              <a:gs pos="0">
                <a:schemeClr val="accent2"/>
              </a:gs>
              <a:gs pos="80000">
                <a:schemeClr val="accent5"/>
              </a:gs>
            </a:gsLst>
            <a:lin ang="5400000" scaled="0"/>
          </a:gradFill>
          <a:ln w="190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endParaRPr lang="en-US" sz="1000" b="1">
              <a:solidFill>
                <a:schemeClr val="bg1"/>
              </a:solidFill>
              <a:ea typeface="ＭＳ Ｐゴシック" pitchFamily="34" charset="-128"/>
              <a:cs typeface="Arial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Планирование</a:t>
            </a:r>
            <a:b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ресурсов </a:t>
            </a:r>
            <a:b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предприятия</a:t>
            </a:r>
          </a:p>
          <a:p>
            <a:pPr algn="ctr">
              <a:lnSpc>
                <a:spcPct val="90000"/>
              </a:lnSpc>
              <a:defRPr/>
            </a:pPr>
            <a:r>
              <a:rPr lang="ru-RU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(</a:t>
            </a:r>
            <a:r>
              <a:rPr lang="en-US" sz="1000" b="1">
                <a:solidFill>
                  <a:schemeClr val="bg1"/>
                </a:solidFill>
                <a:ea typeface="ＭＳ Ｐゴシック" pitchFamily="34" charset="-128"/>
                <a:cs typeface="Arial" pitchFamily="34" charset="0"/>
              </a:rPr>
              <a:t>ERP)</a:t>
            </a:r>
          </a:p>
        </p:txBody>
      </p:sp>
      <p:sp>
        <p:nvSpPr>
          <p:cNvPr id="18493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ts val="300"/>
              </a:spcBef>
            </a:pPr>
            <a:endParaRPr lang="ru-RU" sz="100">
              <a:solidFill>
                <a:srgbClr val="FFFFFF"/>
              </a:solidFill>
            </a:endParaRPr>
          </a:p>
        </p:txBody>
      </p:sp>
      <p:sp>
        <p:nvSpPr>
          <p:cNvPr id="28" name="Sechseck 27"/>
          <p:cNvSpPr>
            <a:spLocks/>
          </p:cNvSpPr>
          <p:nvPr/>
        </p:nvSpPr>
        <p:spPr bwMode="gray">
          <a:xfrm>
            <a:off x="9019547" y="2571243"/>
            <a:ext cx="1283894" cy="991560"/>
          </a:xfrm>
          <a:prstGeom prst="hexagon">
            <a:avLst>
              <a:gd name="adj" fmla="val 31081"/>
              <a:gd name="vf" fmla="val 115470"/>
            </a:avLst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  <a:effectLst/>
          <a:scene3d>
            <a:camera prst="orthographicFront"/>
            <a:lightRig rig="threePt" dir="t"/>
          </a:scene3d>
          <a:sp3d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Открытая</a:t>
            </a:r>
            <a:b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инфраструктура</a:t>
            </a:r>
            <a:r>
              <a:rPr lang="en-US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/>
            </a:r>
            <a:br>
              <a:rPr lang="en-US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en-US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IT </a:t>
            </a:r>
            <a:br>
              <a:rPr lang="en-US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</a:br>
            <a:r>
              <a:rPr lang="en-US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(</a:t>
            </a:r>
            <a:r>
              <a:rPr lang="ru-RU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Интернет</a:t>
            </a:r>
            <a:r>
              <a:rPr lang="en-US" sz="1000" b="1">
                <a:solidFill>
                  <a:schemeClr val="tx1"/>
                </a:solidFill>
                <a:ea typeface="ＭＳ Ｐゴシック" pitchFamily="34" charset="-128"/>
                <a:cs typeface="Arial" pitchFamily="34" charset="0"/>
              </a:rPr>
              <a:t>)</a:t>
            </a:r>
          </a:p>
        </p:txBody>
      </p:sp>
    </p:spTree>
    <p:custDataLst>
      <p:tags r:id="rId2"/>
    </p:custData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97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146" name="think-cell Slide" r:id="rId4" imgW="360" imgH="360" progId="">
              <p:embed/>
            </p:oleObj>
          </a:graphicData>
        </a:graphic>
      </p:graphicFrame>
      <p:sp>
        <p:nvSpPr>
          <p:cNvPr id="614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/>
              <a:t>Этапы развития производства</a:t>
            </a:r>
            <a:endParaRPr lang="de-DE" smtClean="0"/>
          </a:p>
        </p:txBody>
      </p:sp>
      <p:sp>
        <p:nvSpPr>
          <p:cNvPr id="43" name="L-Form 42"/>
          <p:cNvSpPr/>
          <p:nvPr/>
        </p:nvSpPr>
        <p:spPr>
          <a:xfrm rot="5400000">
            <a:off x="1439069" y="3196432"/>
            <a:ext cx="1163637" cy="2501900"/>
          </a:xfrm>
          <a:prstGeom prst="corner">
            <a:avLst>
              <a:gd name="adj1" fmla="val 16120"/>
              <a:gd name="adj2" fmla="val 16110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>
              <a:spcBef>
                <a:spcPct val="50000"/>
              </a:spcBef>
              <a:defRPr/>
            </a:pPr>
            <a:endParaRPr kumimoji="0" lang="de-DE" sz="1800"/>
          </a:p>
        </p:txBody>
      </p:sp>
      <p:sp>
        <p:nvSpPr>
          <p:cNvPr id="44" name="Freihandform 43"/>
          <p:cNvSpPr/>
          <p:nvPr/>
        </p:nvSpPr>
        <p:spPr>
          <a:xfrm>
            <a:off x="1019175" y="4057650"/>
            <a:ext cx="2343150" cy="1531938"/>
          </a:xfrm>
          <a:custGeom>
            <a:avLst/>
            <a:gdLst>
              <a:gd name="connsiteX0" fmla="*/ 0 w 1746553"/>
              <a:gd name="connsiteY0" fmla="*/ 0 h 1530956"/>
              <a:gd name="connsiteX1" fmla="*/ 1746553 w 1746553"/>
              <a:gd name="connsiteY1" fmla="*/ 0 h 1530956"/>
              <a:gd name="connsiteX2" fmla="*/ 1746553 w 1746553"/>
              <a:gd name="connsiteY2" fmla="*/ 1530956 h 1530956"/>
              <a:gd name="connsiteX3" fmla="*/ 0 w 1746553"/>
              <a:gd name="connsiteY3" fmla="*/ 1530956 h 1530956"/>
              <a:gd name="connsiteX4" fmla="*/ 0 w 1746553"/>
              <a:gd name="connsiteY4" fmla="*/ 0 h 153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46553" h="1530956">
                <a:moveTo>
                  <a:pt x="0" y="0"/>
                </a:moveTo>
                <a:lnTo>
                  <a:pt x="1746553" y="0"/>
                </a:lnTo>
                <a:lnTo>
                  <a:pt x="1746553" y="1530956"/>
                </a:lnTo>
                <a:lnTo>
                  <a:pt x="0" y="153095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68580" tIns="68580" rIns="68580" bIns="68580"/>
          <a:lstStyle/>
          <a:p>
            <a:pPr marL="342900" indent="-342900" defTabSz="800100">
              <a:lnSpc>
                <a:spcPct val="90000"/>
              </a:lnSpc>
              <a:spcBef>
                <a:spcPct val="50000"/>
              </a:spcBef>
              <a:spcAft>
                <a:spcPct val="35000"/>
              </a:spcAft>
              <a:buFontTx/>
              <a:buAutoNum type="arabicPeriod"/>
              <a:defRPr/>
            </a:pPr>
            <a:r>
              <a:rPr kumimoji="0" lang="ru-RU" sz="1600" b="1">
                <a:solidFill>
                  <a:srgbClr val="000000"/>
                </a:solidFill>
                <a:ea typeface="ＭＳ Ｐゴシック" pitchFamily="34" charset="-128"/>
              </a:rPr>
              <a:t>Промышленная революция</a:t>
            </a:r>
            <a: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  <a:t/>
            </a:r>
            <a:b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  <a:t/>
            </a:r>
            <a:b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kumimoji="0" lang="ru-RU" sz="1600">
                <a:solidFill>
                  <a:srgbClr val="000000"/>
                </a:solidFill>
                <a:ea typeface="ＭＳ Ｐゴシック" pitchFamily="34" charset="-128"/>
              </a:rPr>
              <a:t>Внедрение</a:t>
            </a:r>
            <a:r>
              <a:rPr kumimoji="0" lang="de-DE" sz="160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r>
              <a:rPr kumimoji="0" lang="ru-RU" sz="1600">
                <a:solidFill>
                  <a:srgbClr val="000000"/>
                </a:solidFill>
                <a:ea typeface="ＭＳ Ｐゴシック" pitchFamily="34" charset="-128"/>
              </a:rPr>
              <a:t>механического производственного оборудования с использованием воды и энергии пара</a:t>
            </a:r>
            <a:endParaRPr kumimoji="0" lang="de-DE" sz="16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45" name="Gleichschenkliges Dreieck 44"/>
          <p:cNvSpPr/>
          <p:nvPr/>
        </p:nvSpPr>
        <p:spPr>
          <a:xfrm>
            <a:off x="2851150" y="3338513"/>
            <a:ext cx="425450" cy="328612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>
              <a:spcBef>
                <a:spcPct val="50000"/>
              </a:spcBef>
              <a:defRPr/>
            </a:pPr>
            <a:endParaRPr kumimoji="0" lang="de-DE" sz="1800"/>
          </a:p>
        </p:txBody>
      </p:sp>
      <p:sp>
        <p:nvSpPr>
          <p:cNvPr id="6151" name="Textfeld 57"/>
          <p:cNvSpPr txBox="1">
            <a:spLocks noChangeArrowheads="1"/>
          </p:cNvSpPr>
          <p:nvPr/>
        </p:nvSpPr>
        <p:spPr bwMode="auto">
          <a:xfrm>
            <a:off x="769938" y="3557588"/>
            <a:ext cx="1576387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  <a:spcBef>
                <a:spcPct val="50000"/>
              </a:spcBef>
            </a:pPr>
            <a:r>
              <a:rPr kumimoji="0" lang="ru-RU" sz="1800" b="1">
                <a:solidFill>
                  <a:schemeClr val="accent1"/>
                </a:solidFill>
              </a:rPr>
              <a:t>Конец 18 века</a:t>
            </a:r>
            <a:endParaRPr kumimoji="0" lang="de-DE" sz="1800" b="1">
              <a:solidFill>
                <a:schemeClr val="accent1"/>
              </a:solidFill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kt 2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170" name="think-cell Slide" r:id="rId4" imgW="360" imgH="360" progId="">
              <p:embed/>
            </p:oleObj>
          </a:graphicData>
        </a:graphic>
      </p:graphicFrame>
      <p:sp>
        <p:nvSpPr>
          <p:cNvPr id="7171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pPr eaLnBrk="1" hangingPunct="1"/>
            <a:r>
              <a:rPr lang="ru-RU" smtClean="0"/>
              <a:t>Первая промышленная революция </a:t>
            </a:r>
            <a:r>
              <a:rPr lang="en-GB" altLang="ru-RU" smtClean="0"/>
              <a:t>“</a:t>
            </a:r>
            <a:r>
              <a:rPr lang="ru-RU" altLang="ja-JP" smtClean="0"/>
              <a:t>Индустрия 1.0</a:t>
            </a:r>
            <a:r>
              <a:rPr lang="en-GB" altLang="ru-RU" smtClean="0"/>
              <a:t>”</a:t>
            </a:r>
            <a:endParaRPr lang="en-US" b="0" smtClean="0"/>
          </a:p>
        </p:txBody>
      </p:sp>
      <p:sp>
        <p:nvSpPr>
          <p:cNvPr id="7172" name="Rectangle 18"/>
          <p:cNvSpPr>
            <a:spLocks noChangeArrowheads="1"/>
          </p:cNvSpPr>
          <p:nvPr/>
        </p:nvSpPr>
        <p:spPr bwMode="gray">
          <a:xfrm>
            <a:off x="4229100" y="1687513"/>
            <a:ext cx="76993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kumimoji="0" lang="ru-RU" sz="2000" b="1">
                <a:solidFill>
                  <a:schemeClr val="tx1"/>
                </a:solidFill>
              </a:rPr>
              <a:t>Основные черты </a:t>
            </a:r>
            <a:endParaRPr kumimoji="0" lang="en-US" sz="2000" b="1">
              <a:solidFill>
                <a:schemeClr val="tx1"/>
              </a:solidFill>
            </a:endParaRPr>
          </a:p>
        </p:txBody>
      </p:sp>
      <p:sp>
        <p:nvSpPr>
          <p:cNvPr id="7173" name="Ellipse 3"/>
          <p:cNvSpPr>
            <a:spLocks/>
          </p:cNvSpPr>
          <p:nvPr/>
        </p:nvSpPr>
        <p:spPr bwMode="auto">
          <a:xfrm>
            <a:off x="0" y="1412875"/>
            <a:ext cx="3876675" cy="4014788"/>
          </a:xfrm>
          <a:custGeom>
            <a:avLst/>
            <a:gdLst>
              <a:gd name="T0" fmla="*/ 311755443 w 2040567"/>
              <a:gd name="T1" fmla="*/ 0 h 2113077"/>
              <a:gd name="T2" fmla="*/ 346273120 w 2040567"/>
              <a:gd name="T3" fmla="*/ 122533781 h 2113077"/>
              <a:gd name="T4" fmla="*/ 110152700 w 2040567"/>
              <a:gd name="T5" fmla="*/ 358801977 h 2113077"/>
              <a:gd name="T6" fmla="*/ 0 w 2040567"/>
              <a:gd name="T7" fmla="*/ 331440915 h 2113077"/>
              <a:gd name="T8" fmla="*/ 0 60000 65536"/>
              <a:gd name="T9" fmla="*/ 0 60000 65536"/>
              <a:gd name="T10" fmla="*/ 0 60000 65536"/>
              <a:gd name="T11" fmla="*/ 0 60000 65536"/>
              <a:gd name="T12" fmla="*/ 0 w 2040567"/>
              <a:gd name="T13" fmla="*/ 0 h 2113077"/>
              <a:gd name="T14" fmla="*/ 2040567 w 2040567"/>
              <a:gd name="T15" fmla="*/ 2113077 h 211307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040567" h="2113077">
                <a:moveTo>
                  <a:pt x="1837155" y="0"/>
                </a:moveTo>
                <a:cubicBezTo>
                  <a:pt x="1966730" y="209749"/>
                  <a:pt x="2040567" y="457068"/>
                  <a:pt x="2040567" y="721633"/>
                </a:cubicBezTo>
                <a:cubicBezTo>
                  <a:pt x="2040567" y="1490106"/>
                  <a:pt x="1417596" y="2113077"/>
                  <a:pt x="649123" y="2113077"/>
                </a:cubicBezTo>
                <a:cubicBezTo>
                  <a:pt x="414562" y="2113077"/>
                  <a:pt x="193556" y="2055038"/>
                  <a:pt x="0" y="1951940"/>
                </a:cubicBezTo>
              </a:path>
            </a:pathLst>
          </a:custGeom>
          <a:noFill/>
          <a:ln w="19050">
            <a:solidFill>
              <a:srgbClr val="55A0B9"/>
            </a:solidFill>
            <a:round/>
            <a:headEnd/>
            <a:tailEnd/>
          </a:ln>
        </p:spPr>
        <p:txBody>
          <a:bodyPr lIns="108000" tIns="54000" rIns="108000" bIns="54000" anchor="ctr"/>
          <a:lstStyle/>
          <a:p>
            <a:endParaRPr lang="ru-RU"/>
          </a:p>
        </p:txBody>
      </p:sp>
      <p:sp>
        <p:nvSpPr>
          <p:cNvPr id="7174" name="Rectangle 19"/>
          <p:cNvSpPr>
            <a:spLocks noChangeArrowheads="1"/>
          </p:cNvSpPr>
          <p:nvPr/>
        </p:nvSpPr>
        <p:spPr bwMode="gray">
          <a:xfrm>
            <a:off x="4965700" y="2692400"/>
            <a:ext cx="675005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6700" lvl="1" indent="-266700">
              <a:spcBef>
                <a:spcPts val="1200"/>
              </a:spcBef>
            </a:pPr>
            <a:r>
              <a:rPr kumimoji="0" lang="ru-RU" sz="1800">
                <a:solidFill>
                  <a:schemeClr val="tx1"/>
                </a:solidFill>
              </a:rPr>
              <a:t>Индустрилизация</a:t>
            </a:r>
            <a:endParaRPr kumimoji="0" lang="en-US" sz="1800">
              <a:solidFill>
                <a:schemeClr val="tx1"/>
              </a:solidFill>
            </a:endParaRPr>
          </a:p>
        </p:txBody>
      </p:sp>
      <p:sp>
        <p:nvSpPr>
          <p:cNvPr id="7175" name="Rectangle 19"/>
          <p:cNvSpPr>
            <a:spLocks noChangeArrowheads="1"/>
          </p:cNvSpPr>
          <p:nvPr/>
        </p:nvSpPr>
        <p:spPr bwMode="gray">
          <a:xfrm>
            <a:off x="4965700" y="3644900"/>
            <a:ext cx="675005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42900" lvl="1" indent="-342900">
              <a:spcBef>
                <a:spcPts val="1200"/>
              </a:spcBef>
            </a:pPr>
            <a:r>
              <a:rPr kumimoji="0" lang="ru-RU" sz="1800">
                <a:solidFill>
                  <a:schemeClr val="tx1"/>
                </a:solidFill>
              </a:rPr>
              <a:t>Формирование промышленных рынков</a:t>
            </a:r>
            <a:endParaRPr kumimoji="0" lang="de-DE" sz="1800">
              <a:solidFill>
                <a:schemeClr val="tx1"/>
              </a:solidFill>
            </a:endParaRPr>
          </a:p>
        </p:txBody>
      </p:sp>
      <p:sp>
        <p:nvSpPr>
          <p:cNvPr id="7176" name="Rectangle 19"/>
          <p:cNvSpPr>
            <a:spLocks noChangeArrowheads="1"/>
          </p:cNvSpPr>
          <p:nvPr/>
        </p:nvSpPr>
        <p:spPr bwMode="gray">
          <a:xfrm>
            <a:off x="4965700" y="4597400"/>
            <a:ext cx="675005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6700" lvl="1" indent="-266700">
              <a:spcBef>
                <a:spcPts val="1200"/>
              </a:spcBef>
            </a:pPr>
            <a:r>
              <a:rPr kumimoji="0" lang="ru-RU" sz="1800">
                <a:solidFill>
                  <a:srgbClr val="000000"/>
                </a:solidFill>
              </a:rPr>
              <a:t>Инновации</a:t>
            </a:r>
            <a:endParaRPr kumimoji="0" lang="en-US" sz="1800">
              <a:solidFill>
                <a:srgbClr val="000000"/>
              </a:solidFill>
            </a:endParaRPr>
          </a:p>
        </p:txBody>
      </p:sp>
      <p:sp>
        <p:nvSpPr>
          <p:cNvPr id="7177" name="Rectangle 19"/>
          <p:cNvSpPr>
            <a:spLocks noChangeArrowheads="1"/>
          </p:cNvSpPr>
          <p:nvPr/>
        </p:nvSpPr>
        <p:spPr bwMode="gray">
          <a:xfrm>
            <a:off x="4965700" y="5551488"/>
            <a:ext cx="67500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6700" lvl="1" indent="-266700">
              <a:spcBef>
                <a:spcPts val="1200"/>
              </a:spcBef>
              <a:tabLst>
                <a:tab pos="812800" algn="l"/>
              </a:tabLst>
            </a:pPr>
            <a:r>
              <a:rPr kumimoji="0" lang="ru-RU" sz="1800">
                <a:solidFill>
                  <a:srgbClr val="000000"/>
                </a:solidFill>
              </a:rPr>
              <a:t>Урбанизация</a:t>
            </a:r>
            <a:endParaRPr kumimoji="0" lang="en-US" sz="1800">
              <a:solidFill>
                <a:srgbClr val="000000"/>
              </a:solidFill>
            </a:endParaRPr>
          </a:p>
        </p:txBody>
      </p:sp>
      <p:cxnSp>
        <p:nvCxnSpPr>
          <p:cNvPr id="7178" name="Gerade Verbindung 11"/>
          <p:cNvCxnSpPr>
            <a:cxnSpLocks noChangeShapeType="1"/>
          </p:cNvCxnSpPr>
          <p:nvPr/>
        </p:nvCxnSpPr>
        <p:spPr bwMode="auto">
          <a:xfrm>
            <a:off x="4229100" y="2354263"/>
            <a:ext cx="748665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 type="none" w="med" len="lg"/>
          </a:ln>
        </p:spPr>
      </p:cxnSp>
      <p:cxnSp>
        <p:nvCxnSpPr>
          <p:cNvPr id="7179" name="Gerade Verbindung 33"/>
          <p:cNvCxnSpPr>
            <a:cxnSpLocks noChangeShapeType="1"/>
          </p:cNvCxnSpPr>
          <p:nvPr/>
        </p:nvCxnSpPr>
        <p:spPr bwMode="auto">
          <a:xfrm>
            <a:off x="655638" y="6165850"/>
            <a:ext cx="1106011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 type="none" w="med" len="lg"/>
          </a:ln>
        </p:spPr>
      </p:cxnSp>
      <p:cxnSp>
        <p:nvCxnSpPr>
          <p:cNvPr id="7180" name="Gerade Verbindung 34"/>
          <p:cNvCxnSpPr>
            <a:cxnSpLocks noChangeShapeType="1"/>
          </p:cNvCxnSpPr>
          <p:nvPr/>
        </p:nvCxnSpPr>
        <p:spPr bwMode="auto">
          <a:xfrm>
            <a:off x="4229100" y="3306763"/>
            <a:ext cx="748665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 type="none" w="med" len="lg"/>
          </a:ln>
        </p:spPr>
      </p:cxnSp>
      <p:cxnSp>
        <p:nvCxnSpPr>
          <p:cNvPr id="7181" name="Gerade Verbindung 35"/>
          <p:cNvCxnSpPr>
            <a:cxnSpLocks noChangeShapeType="1"/>
          </p:cNvCxnSpPr>
          <p:nvPr/>
        </p:nvCxnSpPr>
        <p:spPr bwMode="auto">
          <a:xfrm>
            <a:off x="3876675" y="4260850"/>
            <a:ext cx="783907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 type="none" w="med" len="lg"/>
          </a:ln>
        </p:spPr>
      </p:cxnSp>
      <p:cxnSp>
        <p:nvCxnSpPr>
          <p:cNvPr id="7182" name="Gerade Verbindung 36"/>
          <p:cNvCxnSpPr>
            <a:cxnSpLocks noChangeShapeType="1"/>
          </p:cNvCxnSpPr>
          <p:nvPr/>
        </p:nvCxnSpPr>
        <p:spPr bwMode="auto">
          <a:xfrm>
            <a:off x="2949575" y="5213350"/>
            <a:ext cx="876617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 type="none" w="med" len="lg"/>
          </a:ln>
        </p:spPr>
      </p:cxnSp>
      <p:sp>
        <p:nvSpPr>
          <p:cNvPr id="50" name="Rectangle 19"/>
          <p:cNvSpPr/>
          <p:nvPr/>
        </p:nvSpPr>
        <p:spPr bwMode="gray">
          <a:xfrm>
            <a:off x="4229100" y="2522538"/>
            <a:ext cx="285750" cy="615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spcCol="72000">
            <a:spAutoFit/>
          </a:bodyPr>
          <a:lstStyle/>
          <a:p>
            <a:pPr marL="266700" lvl="1" indent="-266700">
              <a:spcBef>
                <a:spcPts val="1200"/>
              </a:spcBef>
              <a:defRPr/>
            </a:pPr>
            <a:r>
              <a:rPr kumimoji="0" lang="en-US" sz="4000" dirty="0">
                <a:solidFill>
                  <a:schemeClr val="accent5"/>
                </a:solidFill>
                <a:ea typeface="ＭＳ Ｐゴシック" charset="-128"/>
              </a:rPr>
              <a:t>1</a:t>
            </a:r>
          </a:p>
        </p:txBody>
      </p:sp>
      <p:sp>
        <p:nvSpPr>
          <p:cNvPr id="54" name="Rectangle 19"/>
          <p:cNvSpPr/>
          <p:nvPr/>
        </p:nvSpPr>
        <p:spPr bwMode="gray">
          <a:xfrm>
            <a:off x="4229100" y="3476625"/>
            <a:ext cx="285750" cy="6143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spcCol="72000">
            <a:spAutoFit/>
          </a:bodyPr>
          <a:lstStyle/>
          <a:p>
            <a:pPr marL="266700" lvl="1" indent="-266700">
              <a:spcBef>
                <a:spcPts val="1200"/>
              </a:spcBef>
              <a:defRPr/>
            </a:pPr>
            <a:r>
              <a:rPr kumimoji="0" lang="en-US" sz="4000" dirty="0">
                <a:solidFill>
                  <a:schemeClr val="accent5"/>
                </a:solidFill>
                <a:ea typeface="ＭＳ Ｐゴシック" charset="-128"/>
              </a:rPr>
              <a:t>2</a:t>
            </a:r>
          </a:p>
        </p:txBody>
      </p:sp>
      <p:sp>
        <p:nvSpPr>
          <p:cNvPr id="55" name="Rectangle 19"/>
          <p:cNvSpPr/>
          <p:nvPr/>
        </p:nvSpPr>
        <p:spPr bwMode="gray">
          <a:xfrm>
            <a:off x="4229100" y="4429125"/>
            <a:ext cx="285750" cy="615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spcCol="72000">
            <a:spAutoFit/>
          </a:bodyPr>
          <a:lstStyle/>
          <a:p>
            <a:pPr marL="266700" lvl="1" indent="-266700">
              <a:spcBef>
                <a:spcPts val="1200"/>
              </a:spcBef>
              <a:defRPr/>
            </a:pPr>
            <a:r>
              <a:rPr kumimoji="0" lang="en-US" sz="4000" dirty="0">
                <a:solidFill>
                  <a:schemeClr val="accent5"/>
                </a:solidFill>
                <a:ea typeface="ＭＳ Ｐゴシック" charset="-128"/>
              </a:rPr>
              <a:t>3</a:t>
            </a:r>
          </a:p>
        </p:txBody>
      </p:sp>
      <p:sp>
        <p:nvSpPr>
          <p:cNvPr id="56" name="Rectangle 19"/>
          <p:cNvSpPr/>
          <p:nvPr/>
        </p:nvSpPr>
        <p:spPr bwMode="gray">
          <a:xfrm>
            <a:off x="4229100" y="5381625"/>
            <a:ext cx="285750" cy="615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spcCol="72000">
            <a:spAutoFit/>
          </a:bodyPr>
          <a:lstStyle/>
          <a:p>
            <a:pPr marL="266700" lvl="1" indent="-266700">
              <a:spcBef>
                <a:spcPts val="1200"/>
              </a:spcBef>
              <a:defRPr/>
            </a:pPr>
            <a:r>
              <a:rPr kumimoji="0" lang="en-US" sz="4000" dirty="0">
                <a:solidFill>
                  <a:schemeClr val="accent5"/>
                </a:solidFill>
                <a:ea typeface="ＭＳ Ｐゴシック" charset="-128"/>
              </a:rPr>
              <a:t>4</a:t>
            </a:r>
          </a:p>
        </p:txBody>
      </p:sp>
      <p:cxnSp>
        <p:nvCxnSpPr>
          <p:cNvPr id="7187" name="Gerade Verbindung 23"/>
          <p:cNvCxnSpPr>
            <a:cxnSpLocks noChangeShapeType="1"/>
          </p:cNvCxnSpPr>
          <p:nvPr/>
        </p:nvCxnSpPr>
        <p:spPr bwMode="auto">
          <a:xfrm>
            <a:off x="4711700" y="2522538"/>
            <a:ext cx="0" cy="615950"/>
          </a:xfrm>
          <a:prstGeom prst="line">
            <a:avLst/>
          </a:prstGeom>
          <a:noFill/>
          <a:ln w="19050">
            <a:solidFill>
              <a:srgbClr val="006487"/>
            </a:solidFill>
            <a:round/>
            <a:headEnd/>
            <a:tailEnd type="none" w="med" len="lg"/>
          </a:ln>
        </p:spPr>
      </p:cxnSp>
      <p:cxnSp>
        <p:nvCxnSpPr>
          <p:cNvPr id="7188" name="Gerade Verbindung 57"/>
          <p:cNvCxnSpPr>
            <a:cxnSpLocks noChangeShapeType="1"/>
          </p:cNvCxnSpPr>
          <p:nvPr/>
        </p:nvCxnSpPr>
        <p:spPr bwMode="auto">
          <a:xfrm>
            <a:off x="4711700" y="3476625"/>
            <a:ext cx="0" cy="614363"/>
          </a:xfrm>
          <a:prstGeom prst="line">
            <a:avLst/>
          </a:prstGeom>
          <a:noFill/>
          <a:ln w="19050">
            <a:solidFill>
              <a:srgbClr val="006487"/>
            </a:solidFill>
            <a:round/>
            <a:headEnd/>
            <a:tailEnd type="none" w="med" len="lg"/>
          </a:ln>
        </p:spPr>
      </p:cxnSp>
      <p:cxnSp>
        <p:nvCxnSpPr>
          <p:cNvPr id="7189" name="Gerade Verbindung 58"/>
          <p:cNvCxnSpPr>
            <a:cxnSpLocks noChangeShapeType="1"/>
          </p:cNvCxnSpPr>
          <p:nvPr/>
        </p:nvCxnSpPr>
        <p:spPr bwMode="auto">
          <a:xfrm>
            <a:off x="4711700" y="4429125"/>
            <a:ext cx="0" cy="615950"/>
          </a:xfrm>
          <a:prstGeom prst="line">
            <a:avLst/>
          </a:prstGeom>
          <a:noFill/>
          <a:ln w="19050">
            <a:solidFill>
              <a:srgbClr val="006487"/>
            </a:solidFill>
            <a:round/>
            <a:headEnd/>
            <a:tailEnd type="none" w="med" len="lg"/>
          </a:ln>
        </p:spPr>
      </p:cxnSp>
      <p:cxnSp>
        <p:nvCxnSpPr>
          <p:cNvPr id="7190" name="Gerade Verbindung 59"/>
          <p:cNvCxnSpPr>
            <a:cxnSpLocks noChangeShapeType="1"/>
          </p:cNvCxnSpPr>
          <p:nvPr/>
        </p:nvCxnSpPr>
        <p:spPr bwMode="auto">
          <a:xfrm>
            <a:off x="4711700" y="5381625"/>
            <a:ext cx="0" cy="615950"/>
          </a:xfrm>
          <a:prstGeom prst="line">
            <a:avLst/>
          </a:prstGeom>
          <a:noFill/>
          <a:ln w="19050">
            <a:solidFill>
              <a:srgbClr val="006487"/>
            </a:solidFill>
            <a:round/>
            <a:headEnd/>
            <a:tailEnd type="none" w="med" len="lg"/>
          </a:ln>
        </p:spPr>
      </p:cxnSp>
      <p:sp>
        <p:nvSpPr>
          <p:cNvPr id="7191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ts val="300"/>
              </a:spcBef>
            </a:pPr>
            <a:endParaRPr kumimoji="0" lang="ru-RU" sz="100">
              <a:solidFill>
                <a:srgbClr val="FFFFFF"/>
              </a:solidFill>
            </a:endParaRPr>
          </a:p>
        </p:txBody>
      </p:sp>
      <p:sp>
        <p:nvSpPr>
          <p:cNvPr id="7192" name="TextBox 1"/>
          <p:cNvSpPr txBox="1">
            <a:spLocks noChangeArrowheads="1"/>
          </p:cNvSpPr>
          <p:nvPr/>
        </p:nvSpPr>
        <p:spPr bwMode="auto">
          <a:xfrm>
            <a:off x="11664950" y="1922463"/>
            <a:ext cx="0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ts val="300"/>
              </a:spcBef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7193" name="TextBox 2"/>
          <p:cNvSpPr txBox="1">
            <a:spLocks noChangeArrowheads="1"/>
          </p:cNvSpPr>
          <p:nvPr/>
        </p:nvSpPr>
        <p:spPr bwMode="auto">
          <a:xfrm>
            <a:off x="10885488" y="2847975"/>
            <a:ext cx="0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ts val="300"/>
              </a:spcBef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7194" name="TextBox 3"/>
          <p:cNvSpPr txBox="1">
            <a:spLocks noChangeArrowheads="1"/>
          </p:cNvSpPr>
          <p:nvPr/>
        </p:nvSpPr>
        <p:spPr bwMode="auto">
          <a:xfrm>
            <a:off x="9398000" y="3792538"/>
            <a:ext cx="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ts val="300"/>
              </a:spcBef>
            </a:pPr>
            <a:endParaRPr lang="ru-RU" sz="1200">
              <a:solidFill>
                <a:schemeClr val="tx1"/>
              </a:solidFill>
            </a:endParaRPr>
          </a:p>
        </p:txBody>
      </p:sp>
      <p:pic>
        <p:nvPicPr>
          <p:cNvPr id="7195" name="Grafik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80975" y="1968500"/>
            <a:ext cx="3482975" cy="186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97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194" name="think-cell Slide" r:id="rId4" imgW="360" imgH="360" progId="">
              <p:embed/>
            </p:oleObj>
          </a:graphicData>
        </a:graphic>
      </p:graphicFrame>
      <p:sp>
        <p:nvSpPr>
          <p:cNvPr id="8195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/>
              <a:t>Этапы развития производства</a:t>
            </a:r>
            <a:endParaRPr lang="de-DE" smtClean="0"/>
          </a:p>
        </p:txBody>
      </p:sp>
      <p:sp>
        <p:nvSpPr>
          <p:cNvPr id="43" name="L-Form 42"/>
          <p:cNvSpPr/>
          <p:nvPr/>
        </p:nvSpPr>
        <p:spPr>
          <a:xfrm rot="5400000">
            <a:off x="1439069" y="3196432"/>
            <a:ext cx="1163637" cy="2501900"/>
          </a:xfrm>
          <a:prstGeom prst="corner">
            <a:avLst>
              <a:gd name="adj1" fmla="val 16120"/>
              <a:gd name="adj2" fmla="val 16110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>
              <a:spcBef>
                <a:spcPct val="50000"/>
              </a:spcBef>
              <a:defRPr/>
            </a:pPr>
            <a:endParaRPr kumimoji="0" lang="de-DE" sz="1800"/>
          </a:p>
        </p:txBody>
      </p:sp>
      <p:sp>
        <p:nvSpPr>
          <p:cNvPr id="44" name="Freihandform 43"/>
          <p:cNvSpPr/>
          <p:nvPr/>
        </p:nvSpPr>
        <p:spPr>
          <a:xfrm>
            <a:off x="1019175" y="4057650"/>
            <a:ext cx="2343150" cy="1531938"/>
          </a:xfrm>
          <a:custGeom>
            <a:avLst/>
            <a:gdLst>
              <a:gd name="connsiteX0" fmla="*/ 0 w 1746553"/>
              <a:gd name="connsiteY0" fmla="*/ 0 h 1530956"/>
              <a:gd name="connsiteX1" fmla="*/ 1746553 w 1746553"/>
              <a:gd name="connsiteY1" fmla="*/ 0 h 1530956"/>
              <a:gd name="connsiteX2" fmla="*/ 1746553 w 1746553"/>
              <a:gd name="connsiteY2" fmla="*/ 1530956 h 1530956"/>
              <a:gd name="connsiteX3" fmla="*/ 0 w 1746553"/>
              <a:gd name="connsiteY3" fmla="*/ 1530956 h 1530956"/>
              <a:gd name="connsiteX4" fmla="*/ 0 w 1746553"/>
              <a:gd name="connsiteY4" fmla="*/ 0 h 153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46553" h="1530956">
                <a:moveTo>
                  <a:pt x="0" y="0"/>
                </a:moveTo>
                <a:lnTo>
                  <a:pt x="1746553" y="0"/>
                </a:lnTo>
                <a:lnTo>
                  <a:pt x="1746553" y="1530956"/>
                </a:lnTo>
                <a:lnTo>
                  <a:pt x="0" y="153095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68580" tIns="68580" rIns="68580" bIns="68580"/>
          <a:lstStyle/>
          <a:p>
            <a:pPr marL="342900" indent="-342900" defTabSz="800100">
              <a:lnSpc>
                <a:spcPct val="90000"/>
              </a:lnSpc>
              <a:spcBef>
                <a:spcPct val="50000"/>
              </a:spcBef>
              <a:spcAft>
                <a:spcPct val="35000"/>
              </a:spcAft>
              <a:buFontTx/>
              <a:buAutoNum type="arabicPeriod"/>
              <a:defRPr/>
            </a:pPr>
            <a:r>
              <a:rPr kumimoji="0" lang="ru-RU" sz="1600" b="1">
                <a:solidFill>
                  <a:srgbClr val="000000"/>
                </a:solidFill>
                <a:ea typeface="ＭＳ Ｐゴシック" pitchFamily="34" charset="-128"/>
              </a:rPr>
              <a:t>Промышленная революция</a:t>
            </a:r>
            <a: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  <a:t/>
            </a:r>
            <a:b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  <a:t/>
            </a:r>
            <a:b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kumimoji="0" lang="ru-RU" sz="1600">
                <a:solidFill>
                  <a:srgbClr val="000000"/>
                </a:solidFill>
                <a:ea typeface="ＭＳ Ｐゴシック" pitchFamily="34" charset="-128"/>
              </a:rPr>
              <a:t>Внедрение</a:t>
            </a:r>
            <a:r>
              <a:rPr kumimoji="0" lang="de-DE" sz="160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r>
              <a:rPr kumimoji="0" lang="ru-RU" sz="1600">
                <a:solidFill>
                  <a:srgbClr val="000000"/>
                </a:solidFill>
                <a:ea typeface="ＭＳ Ｐゴシック" pitchFamily="34" charset="-128"/>
              </a:rPr>
              <a:t>механического производственного оборудования с использованием воды и энергии пара</a:t>
            </a:r>
            <a:endParaRPr kumimoji="0" lang="de-DE" sz="16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45" name="Gleichschenkliges Dreieck 44"/>
          <p:cNvSpPr/>
          <p:nvPr/>
        </p:nvSpPr>
        <p:spPr>
          <a:xfrm>
            <a:off x="2851150" y="3338513"/>
            <a:ext cx="425450" cy="328612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>
              <a:spcBef>
                <a:spcPct val="50000"/>
              </a:spcBef>
              <a:defRPr/>
            </a:pPr>
            <a:endParaRPr kumimoji="0" lang="de-DE" sz="1800"/>
          </a:p>
        </p:txBody>
      </p:sp>
      <p:sp>
        <p:nvSpPr>
          <p:cNvPr id="46" name="L-Form 45"/>
          <p:cNvSpPr/>
          <p:nvPr/>
        </p:nvSpPr>
        <p:spPr>
          <a:xfrm rot="5400000">
            <a:off x="4204494" y="2667794"/>
            <a:ext cx="1163638" cy="2501900"/>
          </a:xfrm>
          <a:prstGeom prst="corner">
            <a:avLst>
              <a:gd name="adj1" fmla="val 16120"/>
              <a:gd name="adj2" fmla="val 16110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>
              <a:spcBef>
                <a:spcPct val="50000"/>
              </a:spcBef>
              <a:defRPr/>
            </a:pPr>
            <a:endParaRPr kumimoji="0" lang="de-DE" sz="1800"/>
          </a:p>
        </p:txBody>
      </p:sp>
      <p:sp>
        <p:nvSpPr>
          <p:cNvPr id="55" name="Freihandform 54"/>
          <p:cNvSpPr/>
          <p:nvPr/>
        </p:nvSpPr>
        <p:spPr>
          <a:xfrm>
            <a:off x="3794125" y="3665538"/>
            <a:ext cx="2344738" cy="1530350"/>
          </a:xfrm>
          <a:custGeom>
            <a:avLst/>
            <a:gdLst>
              <a:gd name="connsiteX0" fmla="*/ 0 w 1746553"/>
              <a:gd name="connsiteY0" fmla="*/ 0 h 1530956"/>
              <a:gd name="connsiteX1" fmla="*/ 1746553 w 1746553"/>
              <a:gd name="connsiteY1" fmla="*/ 0 h 1530956"/>
              <a:gd name="connsiteX2" fmla="*/ 1746553 w 1746553"/>
              <a:gd name="connsiteY2" fmla="*/ 1530956 h 1530956"/>
              <a:gd name="connsiteX3" fmla="*/ 0 w 1746553"/>
              <a:gd name="connsiteY3" fmla="*/ 1530956 h 1530956"/>
              <a:gd name="connsiteX4" fmla="*/ 0 w 1746553"/>
              <a:gd name="connsiteY4" fmla="*/ 0 h 153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46553" h="1530956">
                <a:moveTo>
                  <a:pt x="0" y="0"/>
                </a:moveTo>
                <a:lnTo>
                  <a:pt x="1746553" y="0"/>
                </a:lnTo>
                <a:lnTo>
                  <a:pt x="1746553" y="1530956"/>
                </a:lnTo>
                <a:lnTo>
                  <a:pt x="0" y="153095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68580" tIns="68580" rIns="68580" bIns="68580"/>
          <a:lstStyle/>
          <a:p>
            <a:pPr marL="342900" indent="-342900" defTabSz="800100">
              <a:lnSpc>
                <a:spcPct val="90000"/>
              </a:lnSpc>
              <a:spcBef>
                <a:spcPct val="50000"/>
              </a:spcBef>
              <a:spcAft>
                <a:spcPct val="35000"/>
              </a:spcAft>
              <a:buFontTx/>
              <a:buAutoNum type="arabicPeriod" startAt="2"/>
              <a:defRPr/>
            </a:pPr>
            <a:r>
              <a:rPr kumimoji="0" lang="ru-RU" sz="1800" b="1">
                <a:solidFill>
                  <a:srgbClr val="000000"/>
                </a:solidFill>
                <a:ea typeface="ＭＳ Ｐゴシック" pitchFamily="34" charset="-128"/>
              </a:rPr>
              <a:t>Промышленная революция</a:t>
            </a:r>
            <a:r>
              <a:rPr kumimoji="0" lang="de-DE" sz="1800">
                <a:solidFill>
                  <a:schemeClr val="bg2"/>
                </a:solidFill>
                <a:ea typeface="ＭＳ Ｐゴシック" pitchFamily="34" charset="-128"/>
              </a:rPr>
              <a:t> </a:t>
            </a:r>
            <a: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  <a:t/>
            </a:r>
            <a:b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  <a:t/>
            </a:r>
            <a:b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kumimoji="0" lang="ru-RU" sz="1600">
                <a:solidFill>
                  <a:srgbClr val="000000"/>
                </a:solidFill>
                <a:ea typeface="ＭＳ Ｐゴシック" pitchFamily="34" charset="-128"/>
              </a:rPr>
              <a:t>Введение массового производства, основанного на разделении труда, с использованием электрической энергии</a:t>
            </a:r>
            <a:endParaRPr kumimoji="0" lang="de-DE" sz="16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8201" name="Textfeld 57"/>
          <p:cNvSpPr txBox="1">
            <a:spLocks noChangeArrowheads="1"/>
          </p:cNvSpPr>
          <p:nvPr/>
        </p:nvSpPr>
        <p:spPr bwMode="auto">
          <a:xfrm>
            <a:off x="769938" y="3557588"/>
            <a:ext cx="1576387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  <a:spcBef>
                <a:spcPct val="50000"/>
              </a:spcBef>
            </a:pPr>
            <a:r>
              <a:rPr kumimoji="0" lang="ru-RU" sz="1800" b="1">
                <a:solidFill>
                  <a:schemeClr val="accent1"/>
                </a:solidFill>
              </a:rPr>
              <a:t>Конец 18 века</a:t>
            </a:r>
            <a:endParaRPr kumimoji="0" lang="de-DE" sz="1800" b="1">
              <a:solidFill>
                <a:schemeClr val="accent1"/>
              </a:solidFill>
            </a:endParaRPr>
          </a:p>
        </p:txBody>
      </p:sp>
      <p:sp>
        <p:nvSpPr>
          <p:cNvPr id="8202" name="Textfeld 58"/>
          <p:cNvSpPr txBox="1">
            <a:spLocks noChangeArrowheads="1"/>
          </p:cNvSpPr>
          <p:nvPr/>
        </p:nvSpPr>
        <p:spPr bwMode="auto">
          <a:xfrm>
            <a:off x="3497263" y="2995613"/>
            <a:ext cx="1576387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  <a:spcBef>
                <a:spcPct val="50000"/>
              </a:spcBef>
            </a:pPr>
            <a:r>
              <a:rPr kumimoji="0" lang="ru-RU" sz="1800" b="1">
                <a:solidFill>
                  <a:schemeClr val="accent1"/>
                </a:solidFill>
              </a:rPr>
              <a:t>Конец 19 века</a:t>
            </a:r>
            <a:endParaRPr kumimoji="0" lang="de-DE" sz="1800" b="1">
              <a:solidFill>
                <a:schemeClr val="accent1"/>
              </a:solidFill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kt 2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218" name="think-cell Slide" r:id="rId4" imgW="360" imgH="360" progId="">
              <p:embed/>
            </p:oleObj>
          </a:graphicData>
        </a:graphic>
      </p:graphicFrame>
      <p:sp>
        <p:nvSpPr>
          <p:cNvPr id="9219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pPr eaLnBrk="1" hangingPunct="1"/>
            <a:r>
              <a:rPr lang="ru-RU" smtClean="0"/>
              <a:t>Вторая промышленная революция </a:t>
            </a:r>
            <a:r>
              <a:rPr lang="en-GB" altLang="ru-RU" smtClean="0"/>
              <a:t>“</a:t>
            </a:r>
            <a:r>
              <a:rPr lang="ru-RU" altLang="ja-JP" smtClean="0"/>
              <a:t>Индустрия 2.0</a:t>
            </a:r>
            <a:r>
              <a:rPr lang="en-GB" altLang="ru-RU" smtClean="0"/>
              <a:t>”</a:t>
            </a:r>
            <a:endParaRPr lang="en-US" b="0" smtClean="0"/>
          </a:p>
        </p:txBody>
      </p:sp>
      <p:sp>
        <p:nvSpPr>
          <p:cNvPr id="9220" name="Rectangle 18"/>
          <p:cNvSpPr>
            <a:spLocks noChangeArrowheads="1"/>
          </p:cNvSpPr>
          <p:nvPr/>
        </p:nvSpPr>
        <p:spPr bwMode="gray">
          <a:xfrm>
            <a:off x="4229100" y="1687513"/>
            <a:ext cx="76993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kumimoji="0" lang="ru-RU" sz="2000" b="1">
                <a:solidFill>
                  <a:schemeClr val="tx1"/>
                </a:solidFill>
              </a:rPr>
              <a:t>Основные черты </a:t>
            </a:r>
            <a:endParaRPr kumimoji="0" lang="en-US" sz="2000" b="1">
              <a:solidFill>
                <a:schemeClr val="tx1"/>
              </a:solidFill>
            </a:endParaRPr>
          </a:p>
        </p:txBody>
      </p:sp>
      <p:sp>
        <p:nvSpPr>
          <p:cNvPr id="9221" name="Ellipse 3"/>
          <p:cNvSpPr>
            <a:spLocks/>
          </p:cNvSpPr>
          <p:nvPr/>
        </p:nvSpPr>
        <p:spPr bwMode="auto">
          <a:xfrm>
            <a:off x="0" y="1412875"/>
            <a:ext cx="3876675" cy="4014788"/>
          </a:xfrm>
          <a:custGeom>
            <a:avLst/>
            <a:gdLst>
              <a:gd name="T0" fmla="*/ 311755443 w 2040567"/>
              <a:gd name="T1" fmla="*/ 0 h 2113077"/>
              <a:gd name="T2" fmla="*/ 346273120 w 2040567"/>
              <a:gd name="T3" fmla="*/ 122533781 h 2113077"/>
              <a:gd name="T4" fmla="*/ 110152700 w 2040567"/>
              <a:gd name="T5" fmla="*/ 358801977 h 2113077"/>
              <a:gd name="T6" fmla="*/ 0 w 2040567"/>
              <a:gd name="T7" fmla="*/ 331440915 h 2113077"/>
              <a:gd name="T8" fmla="*/ 0 60000 65536"/>
              <a:gd name="T9" fmla="*/ 0 60000 65536"/>
              <a:gd name="T10" fmla="*/ 0 60000 65536"/>
              <a:gd name="T11" fmla="*/ 0 60000 65536"/>
              <a:gd name="T12" fmla="*/ 0 w 2040567"/>
              <a:gd name="T13" fmla="*/ 0 h 2113077"/>
              <a:gd name="T14" fmla="*/ 2040567 w 2040567"/>
              <a:gd name="T15" fmla="*/ 2113077 h 211307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040567" h="2113077">
                <a:moveTo>
                  <a:pt x="1837155" y="0"/>
                </a:moveTo>
                <a:cubicBezTo>
                  <a:pt x="1966730" y="209749"/>
                  <a:pt x="2040567" y="457068"/>
                  <a:pt x="2040567" y="721633"/>
                </a:cubicBezTo>
                <a:cubicBezTo>
                  <a:pt x="2040567" y="1490106"/>
                  <a:pt x="1417596" y="2113077"/>
                  <a:pt x="649123" y="2113077"/>
                </a:cubicBezTo>
                <a:cubicBezTo>
                  <a:pt x="414562" y="2113077"/>
                  <a:pt x="193556" y="2055038"/>
                  <a:pt x="0" y="1951940"/>
                </a:cubicBezTo>
              </a:path>
            </a:pathLst>
          </a:custGeom>
          <a:noFill/>
          <a:ln w="19050">
            <a:solidFill>
              <a:srgbClr val="55A0B9"/>
            </a:solidFill>
            <a:round/>
            <a:headEnd/>
            <a:tailEnd/>
          </a:ln>
        </p:spPr>
        <p:txBody>
          <a:bodyPr lIns="108000" tIns="54000" rIns="108000" bIns="54000" anchor="ctr"/>
          <a:lstStyle/>
          <a:p>
            <a:endParaRPr lang="ru-RU"/>
          </a:p>
        </p:txBody>
      </p:sp>
      <p:sp>
        <p:nvSpPr>
          <p:cNvPr id="9222" name="Rectangle 19"/>
          <p:cNvSpPr>
            <a:spLocks noChangeArrowheads="1"/>
          </p:cNvSpPr>
          <p:nvPr/>
        </p:nvSpPr>
        <p:spPr bwMode="gray">
          <a:xfrm>
            <a:off x="4965700" y="2692400"/>
            <a:ext cx="675005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6700" lvl="1" indent="-266700">
              <a:spcBef>
                <a:spcPts val="1200"/>
              </a:spcBef>
            </a:pPr>
            <a:r>
              <a:rPr kumimoji="0" lang="ru-RU" sz="1800">
                <a:solidFill>
                  <a:schemeClr val="tx1"/>
                </a:solidFill>
              </a:rPr>
              <a:t>Разделение труда</a:t>
            </a:r>
            <a:endParaRPr kumimoji="0" lang="en-US" sz="1800">
              <a:solidFill>
                <a:schemeClr val="tx1"/>
              </a:solidFill>
            </a:endParaRPr>
          </a:p>
        </p:txBody>
      </p:sp>
      <p:sp>
        <p:nvSpPr>
          <p:cNvPr id="9223" name="Rectangle 19"/>
          <p:cNvSpPr>
            <a:spLocks noChangeArrowheads="1"/>
          </p:cNvSpPr>
          <p:nvPr/>
        </p:nvSpPr>
        <p:spPr bwMode="gray">
          <a:xfrm>
            <a:off x="4965700" y="3644900"/>
            <a:ext cx="675005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42900" lvl="1" indent="-342900">
              <a:spcBef>
                <a:spcPts val="1200"/>
              </a:spcBef>
            </a:pPr>
            <a:r>
              <a:rPr kumimoji="0" lang="ru-RU" sz="1800">
                <a:solidFill>
                  <a:schemeClr val="tx1"/>
                </a:solidFill>
              </a:rPr>
              <a:t>Распространение логистических связей</a:t>
            </a:r>
            <a:endParaRPr kumimoji="0" lang="de-DE" sz="1800">
              <a:solidFill>
                <a:schemeClr val="tx1"/>
              </a:solidFill>
            </a:endParaRPr>
          </a:p>
        </p:txBody>
      </p:sp>
      <p:sp>
        <p:nvSpPr>
          <p:cNvPr id="9224" name="Rectangle 19"/>
          <p:cNvSpPr>
            <a:spLocks noChangeArrowheads="1"/>
          </p:cNvSpPr>
          <p:nvPr/>
        </p:nvSpPr>
        <p:spPr bwMode="gray">
          <a:xfrm>
            <a:off x="4965700" y="4597400"/>
            <a:ext cx="675005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6700" lvl="1" indent="-266700">
              <a:spcBef>
                <a:spcPts val="1200"/>
              </a:spcBef>
            </a:pPr>
            <a:r>
              <a:rPr kumimoji="0" lang="ru-RU" sz="1800">
                <a:solidFill>
                  <a:srgbClr val="000000"/>
                </a:solidFill>
              </a:rPr>
              <a:t>Инновации</a:t>
            </a:r>
            <a:endParaRPr kumimoji="0" lang="en-US" sz="1800">
              <a:solidFill>
                <a:srgbClr val="000000"/>
              </a:solidFill>
            </a:endParaRPr>
          </a:p>
        </p:txBody>
      </p:sp>
      <p:sp>
        <p:nvSpPr>
          <p:cNvPr id="9225" name="Rectangle 19"/>
          <p:cNvSpPr>
            <a:spLocks noChangeArrowheads="1"/>
          </p:cNvSpPr>
          <p:nvPr/>
        </p:nvSpPr>
        <p:spPr bwMode="gray">
          <a:xfrm>
            <a:off x="4965700" y="5551488"/>
            <a:ext cx="67500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6700" lvl="1" indent="-266700">
              <a:spcBef>
                <a:spcPts val="1200"/>
              </a:spcBef>
              <a:tabLst>
                <a:tab pos="812800" algn="l"/>
              </a:tabLst>
            </a:pPr>
            <a:r>
              <a:rPr kumimoji="0" lang="ru-RU" sz="1800">
                <a:solidFill>
                  <a:srgbClr val="000000"/>
                </a:solidFill>
              </a:rPr>
              <a:t>Фундаментальные открытия в области машиностроения</a:t>
            </a:r>
            <a:endParaRPr kumimoji="0" lang="en-US" sz="1800">
              <a:solidFill>
                <a:srgbClr val="000000"/>
              </a:solidFill>
            </a:endParaRPr>
          </a:p>
        </p:txBody>
      </p:sp>
      <p:cxnSp>
        <p:nvCxnSpPr>
          <p:cNvPr id="9226" name="Gerade Verbindung 11"/>
          <p:cNvCxnSpPr>
            <a:cxnSpLocks noChangeShapeType="1"/>
          </p:cNvCxnSpPr>
          <p:nvPr/>
        </p:nvCxnSpPr>
        <p:spPr bwMode="auto">
          <a:xfrm>
            <a:off x="4229100" y="2354263"/>
            <a:ext cx="748665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 type="none" w="med" len="lg"/>
          </a:ln>
        </p:spPr>
      </p:cxnSp>
      <p:cxnSp>
        <p:nvCxnSpPr>
          <p:cNvPr id="9227" name="Gerade Verbindung 33"/>
          <p:cNvCxnSpPr>
            <a:cxnSpLocks noChangeShapeType="1"/>
          </p:cNvCxnSpPr>
          <p:nvPr/>
        </p:nvCxnSpPr>
        <p:spPr bwMode="auto">
          <a:xfrm>
            <a:off x="655638" y="6165850"/>
            <a:ext cx="1106011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 type="none" w="med" len="lg"/>
          </a:ln>
        </p:spPr>
      </p:cxnSp>
      <p:cxnSp>
        <p:nvCxnSpPr>
          <p:cNvPr id="9228" name="Gerade Verbindung 34"/>
          <p:cNvCxnSpPr>
            <a:cxnSpLocks noChangeShapeType="1"/>
          </p:cNvCxnSpPr>
          <p:nvPr/>
        </p:nvCxnSpPr>
        <p:spPr bwMode="auto">
          <a:xfrm>
            <a:off x="4229100" y="3306763"/>
            <a:ext cx="748665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 type="none" w="med" len="lg"/>
          </a:ln>
        </p:spPr>
      </p:cxnSp>
      <p:cxnSp>
        <p:nvCxnSpPr>
          <p:cNvPr id="9229" name="Gerade Verbindung 35"/>
          <p:cNvCxnSpPr>
            <a:cxnSpLocks noChangeShapeType="1"/>
          </p:cNvCxnSpPr>
          <p:nvPr/>
        </p:nvCxnSpPr>
        <p:spPr bwMode="auto">
          <a:xfrm>
            <a:off x="3876675" y="4260850"/>
            <a:ext cx="783907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 type="none" w="med" len="lg"/>
          </a:ln>
        </p:spPr>
      </p:cxnSp>
      <p:cxnSp>
        <p:nvCxnSpPr>
          <p:cNvPr id="9230" name="Gerade Verbindung 36"/>
          <p:cNvCxnSpPr>
            <a:cxnSpLocks noChangeShapeType="1"/>
          </p:cNvCxnSpPr>
          <p:nvPr/>
        </p:nvCxnSpPr>
        <p:spPr bwMode="auto">
          <a:xfrm>
            <a:off x="2949575" y="5213350"/>
            <a:ext cx="876617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 type="none" w="med" len="lg"/>
          </a:ln>
        </p:spPr>
      </p:cxnSp>
      <p:sp>
        <p:nvSpPr>
          <p:cNvPr id="50" name="Rectangle 19"/>
          <p:cNvSpPr/>
          <p:nvPr/>
        </p:nvSpPr>
        <p:spPr bwMode="gray">
          <a:xfrm>
            <a:off x="4229100" y="2522538"/>
            <a:ext cx="285750" cy="615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spcCol="72000">
            <a:spAutoFit/>
          </a:bodyPr>
          <a:lstStyle/>
          <a:p>
            <a:pPr marL="266700" lvl="1" indent="-266700">
              <a:spcBef>
                <a:spcPts val="1200"/>
              </a:spcBef>
              <a:defRPr/>
            </a:pPr>
            <a:r>
              <a:rPr kumimoji="0" lang="en-US" sz="4000" dirty="0">
                <a:solidFill>
                  <a:schemeClr val="accent5"/>
                </a:solidFill>
                <a:ea typeface="ＭＳ Ｐゴシック" charset="-128"/>
              </a:rPr>
              <a:t>1</a:t>
            </a:r>
          </a:p>
        </p:txBody>
      </p:sp>
      <p:sp>
        <p:nvSpPr>
          <p:cNvPr id="54" name="Rectangle 19"/>
          <p:cNvSpPr/>
          <p:nvPr/>
        </p:nvSpPr>
        <p:spPr bwMode="gray">
          <a:xfrm>
            <a:off x="4229100" y="3476625"/>
            <a:ext cx="285750" cy="6143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spcCol="72000">
            <a:spAutoFit/>
          </a:bodyPr>
          <a:lstStyle/>
          <a:p>
            <a:pPr marL="266700" lvl="1" indent="-266700">
              <a:spcBef>
                <a:spcPts val="1200"/>
              </a:spcBef>
              <a:defRPr/>
            </a:pPr>
            <a:r>
              <a:rPr kumimoji="0" lang="en-US" sz="4000" dirty="0">
                <a:solidFill>
                  <a:schemeClr val="accent5"/>
                </a:solidFill>
                <a:ea typeface="ＭＳ Ｐゴシック" charset="-128"/>
              </a:rPr>
              <a:t>2</a:t>
            </a:r>
          </a:p>
        </p:txBody>
      </p:sp>
      <p:sp>
        <p:nvSpPr>
          <p:cNvPr id="55" name="Rectangle 19"/>
          <p:cNvSpPr/>
          <p:nvPr/>
        </p:nvSpPr>
        <p:spPr bwMode="gray">
          <a:xfrm>
            <a:off x="4229100" y="4429125"/>
            <a:ext cx="285750" cy="615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spcCol="72000">
            <a:spAutoFit/>
          </a:bodyPr>
          <a:lstStyle/>
          <a:p>
            <a:pPr marL="266700" lvl="1" indent="-266700">
              <a:spcBef>
                <a:spcPts val="1200"/>
              </a:spcBef>
              <a:defRPr/>
            </a:pPr>
            <a:r>
              <a:rPr kumimoji="0" lang="en-US" sz="4000" dirty="0">
                <a:solidFill>
                  <a:schemeClr val="accent5"/>
                </a:solidFill>
                <a:ea typeface="ＭＳ Ｐゴシック" charset="-128"/>
              </a:rPr>
              <a:t>3</a:t>
            </a:r>
          </a:p>
        </p:txBody>
      </p:sp>
      <p:sp>
        <p:nvSpPr>
          <p:cNvPr id="56" name="Rectangle 19"/>
          <p:cNvSpPr/>
          <p:nvPr/>
        </p:nvSpPr>
        <p:spPr bwMode="gray">
          <a:xfrm>
            <a:off x="4229100" y="5381625"/>
            <a:ext cx="285750" cy="615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spcCol="72000">
            <a:spAutoFit/>
          </a:bodyPr>
          <a:lstStyle/>
          <a:p>
            <a:pPr marL="266700" lvl="1" indent="-266700">
              <a:spcBef>
                <a:spcPts val="1200"/>
              </a:spcBef>
              <a:defRPr/>
            </a:pPr>
            <a:r>
              <a:rPr kumimoji="0" lang="en-US" sz="4000" dirty="0">
                <a:solidFill>
                  <a:schemeClr val="accent5"/>
                </a:solidFill>
                <a:ea typeface="ＭＳ Ｐゴシック" charset="-128"/>
              </a:rPr>
              <a:t>4</a:t>
            </a:r>
          </a:p>
        </p:txBody>
      </p:sp>
      <p:cxnSp>
        <p:nvCxnSpPr>
          <p:cNvPr id="9235" name="Gerade Verbindung 23"/>
          <p:cNvCxnSpPr>
            <a:cxnSpLocks noChangeShapeType="1"/>
          </p:cNvCxnSpPr>
          <p:nvPr/>
        </p:nvCxnSpPr>
        <p:spPr bwMode="auto">
          <a:xfrm>
            <a:off x="4711700" y="2522538"/>
            <a:ext cx="0" cy="615950"/>
          </a:xfrm>
          <a:prstGeom prst="line">
            <a:avLst/>
          </a:prstGeom>
          <a:noFill/>
          <a:ln w="19050">
            <a:solidFill>
              <a:srgbClr val="006487"/>
            </a:solidFill>
            <a:round/>
            <a:headEnd/>
            <a:tailEnd type="none" w="med" len="lg"/>
          </a:ln>
        </p:spPr>
      </p:cxnSp>
      <p:cxnSp>
        <p:nvCxnSpPr>
          <p:cNvPr id="9236" name="Gerade Verbindung 57"/>
          <p:cNvCxnSpPr>
            <a:cxnSpLocks noChangeShapeType="1"/>
          </p:cNvCxnSpPr>
          <p:nvPr/>
        </p:nvCxnSpPr>
        <p:spPr bwMode="auto">
          <a:xfrm>
            <a:off x="4711700" y="3476625"/>
            <a:ext cx="0" cy="614363"/>
          </a:xfrm>
          <a:prstGeom prst="line">
            <a:avLst/>
          </a:prstGeom>
          <a:noFill/>
          <a:ln w="19050">
            <a:solidFill>
              <a:srgbClr val="006487"/>
            </a:solidFill>
            <a:round/>
            <a:headEnd/>
            <a:tailEnd type="none" w="med" len="lg"/>
          </a:ln>
        </p:spPr>
      </p:cxnSp>
      <p:cxnSp>
        <p:nvCxnSpPr>
          <p:cNvPr id="9237" name="Gerade Verbindung 58"/>
          <p:cNvCxnSpPr>
            <a:cxnSpLocks noChangeShapeType="1"/>
          </p:cNvCxnSpPr>
          <p:nvPr/>
        </p:nvCxnSpPr>
        <p:spPr bwMode="auto">
          <a:xfrm>
            <a:off x="4711700" y="4429125"/>
            <a:ext cx="0" cy="615950"/>
          </a:xfrm>
          <a:prstGeom prst="line">
            <a:avLst/>
          </a:prstGeom>
          <a:noFill/>
          <a:ln w="19050">
            <a:solidFill>
              <a:srgbClr val="006487"/>
            </a:solidFill>
            <a:round/>
            <a:headEnd/>
            <a:tailEnd type="none" w="med" len="lg"/>
          </a:ln>
        </p:spPr>
      </p:cxnSp>
      <p:cxnSp>
        <p:nvCxnSpPr>
          <p:cNvPr id="9238" name="Gerade Verbindung 59"/>
          <p:cNvCxnSpPr>
            <a:cxnSpLocks noChangeShapeType="1"/>
          </p:cNvCxnSpPr>
          <p:nvPr/>
        </p:nvCxnSpPr>
        <p:spPr bwMode="auto">
          <a:xfrm>
            <a:off x="4711700" y="5381625"/>
            <a:ext cx="0" cy="615950"/>
          </a:xfrm>
          <a:prstGeom prst="line">
            <a:avLst/>
          </a:prstGeom>
          <a:noFill/>
          <a:ln w="19050">
            <a:solidFill>
              <a:srgbClr val="006487"/>
            </a:solidFill>
            <a:round/>
            <a:headEnd/>
            <a:tailEnd type="none" w="med" len="lg"/>
          </a:ln>
        </p:spPr>
      </p:cxnSp>
      <p:sp>
        <p:nvSpPr>
          <p:cNvPr id="923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ts val="300"/>
              </a:spcBef>
            </a:pPr>
            <a:endParaRPr kumimoji="0" lang="ru-RU" sz="100">
              <a:solidFill>
                <a:srgbClr val="FFFFFF"/>
              </a:solidFill>
            </a:endParaRPr>
          </a:p>
        </p:txBody>
      </p:sp>
      <p:sp>
        <p:nvSpPr>
          <p:cNvPr id="9240" name="TextBox 1"/>
          <p:cNvSpPr txBox="1">
            <a:spLocks noChangeArrowheads="1"/>
          </p:cNvSpPr>
          <p:nvPr/>
        </p:nvSpPr>
        <p:spPr bwMode="auto">
          <a:xfrm>
            <a:off x="11664950" y="1922463"/>
            <a:ext cx="0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ts val="300"/>
              </a:spcBef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9241" name="TextBox 2"/>
          <p:cNvSpPr txBox="1">
            <a:spLocks noChangeArrowheads="1"/>
          </p:cNvSpPr>
          <p:nvPr/>
        </p:nvSpPr>
        <p:spPr bwMode="auto">
          <a:xfrm>
            <a:off x="10885488" y="2847975"/>
            <a:ext cx="0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ts val="300"/>
              </a:spcBef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9242" name="TextBox 3"/>
          <p:cNvSpPr txBox="1">
            <a:spLocks noChangeArrowheads="1"/>
          </p:cNvSpPr>
          <p:nvPr/>
        </p:nvSpPr>
        <p:spPr bwMode="auto">
          <a:xfrm>
            <a:off x="9398000" y="3792538"/>
            <a:ext cx="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ts val="300"/>
              </a:spcBef>
            </a:pPr>
            <a:endParaRPr lang="ru-RU" sz="1200">
              <a:solidFill>
                <a:schemeClr val="tx1"/>
              </a:solidFill>
            </a:endParaRPr>
          </a:p>
        </p:txBody>
      </p:sp>
      <p:pic>
        <p:nvPicPr>
          <p:cNvPr id="9243" name="Picture 8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54000" y="1858963"/>
            <a:ext cx="3011488" cy="213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97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42" name="think-cell Slide" r:id="rId7" imgW="360" imgH="360" progId="">
              <p:embed/>
            </p:oleObj>
          </a:graphicData>
        </a:graphic>
      </p:graphicFrame>
      <p:grpSp>
        <p:nvGrpSpPr>
          <p:cNvPr id="10243" name="Gruppieren 67"/>
          <p:cNvGrpSpPr>
            <a:grpSpLocks/>
          </p:cNvGrpSpPr>
          <p:nvPr/>
        </p:nvGrpSpPr>
        <p:grpSpPr bwMode="auto">
          <a:xfrm>
            <a:off x="6138863" y="1412875"/>
            <a:ext cx="5616575" cy="4752975"/>
            <a:chOff x="6139049" y="1412748"/>
            <a:chExt cx="5616702" cy="4752594"/>
          </a:xfrm>
        </p:grpSpPr>
        <p:sp>
          <p:nvSpPr>
            <p:cNvPr id="62" name="Rechteck 61"/>
            <p:cNvSpPr/>
            <p:nvPr>
              <p:custDataLst>
                <p:tags r:id="rId2"/>
              </p:custDataLst>
            </p:nvPr>
          </p:nvSpPr>
          <p:spPr bwMode="auto">
            <a:xfrm>
              <a:off x="6139049" y="1412748"/>
              <a:ext cx="5616702" cy="475259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  <a:extLst/>
          </p:spPr>
          <p:txBody>
            <a:bodyPr lIns="108000" tIns="54000" rIns="108000" bIns="54000" spcCol="7200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50000"/>
                </a:spcBef>
                <a:buFont typeface="Wingdings" charset="0"/>
                <a:buNone/>
                <a:defRPr/>
              </a:pPr>
              <a:endParaRPr kumimoji="0" lang="de-DE" sz="1800" b="1" dirty="0">
                <a:solidFill>
                  <a:schemeClr val="tx1"/>
                </a:solidFill>
                <a:ea typeface="ＭＳ Ｐゴシック" charset="-128"/>
              </a:endParaRPr>
            </a:p>
          </p:txBody>
        </p:sp>
        <p:cxnSp>
          <p:nvCxnSpPr>
            <p:cNvPr id="65" name="Gerade Verbindung 64"/>
            <p:cNvCxnSpPr/>
            <p:nvPr>
              <p:custDataLst>
                <p:tags r:id="rId3"/>
              </p:custDataLst>
            </p:nvPr>
          </p:nvCxnSpPr>
          <p:spPr bwMode="auto">
            <a:xfrm>
              <a:off x="6178737" y="5444675"/>
              <a:ext cx="5537325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accent6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sp>
          <p:nvSpPr>
            <p:cNvPr id="63" name="Textfeld 62"/>
            <p:cNvSpPr txBox="1"/>
            <p:nvPr>
              <p:custDataLst>
                <p:tags r:id="rId4"/>
              </p:custDataLst>
            </p:nvPr>
          </p:nvSpPr>
          <p:spPr>
            <a:xfrm>
              <a:off x="7251911" y="5306574"/>
              <a:ext cx="3456066" cy="30160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lIns="0" tIns="0" rIns="0" bIns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50000"/>
                </a:spcBef>
                <a:defRPr/>
              </a:pPr>
              <a:r>
                <a:rPr kumimoji="0" lang="ru-RU" sz="1800" b="1">
                  <a:solidFill>
                    <a:srgbClr val="4B5E22"/>
                  </a:solidFill>
                </a:rPr>
                <a:t>На пути</a:t>
              </a:r>
              <a:r>
                <a:rPr kumimoji="0" lang="en-US" sz="1800" b="1">
                  <a:solidFill>
                    <a:srgbClr val="4B5E22"/>
                  </a:solidFill>
                </a:rPr>
                <a:t> </a:t>
              </a:r>
              <a:r>
                <a:rPr kumimoji="0" lang="ru-RU" sz="1800" b="1">
                  <a:solidFill>
                    <a:srgbClr val="4B5E22"/>
                  </a:solidFill>
                </a:rPr>
                <a:t>к индустрии</a:t>
              </a:r>
              <a:r>
                <a:rPr kumimoji="0" lang="ru-RU" sz="1800" b="1">
                  <a:solidFill>
                    <a:schemeClr val="hlink"/>
                  </a:solidFill>
                </a:rPr>
                <a:t> </a:t>
              </a:r>
              <a:r>
                <a:rPr kumimoji="0" lang="de-DE" sz="1800" b="1">
                  <a:solidFill>
                    <a:srgbClr val="4B5E22"/>
                  </a:solidFill>
                </a:rPr>
                <a:t>4.0</a:t>
              </a:r>
            </a:p>
          </p:txBody>
        </p:sp>
      </p:grpSp>
      <p:sp>
        <p:nvSpPr>
          <p:cNvPr id="10244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/>
              <a:t>Этапы развития производства</a:t>
            </a:r>
            <a:endParaRPr lang="de-DE" smtClean="0"/>
          </a:p>
        </p:txBody>
      </p:sp>
      <p:sp>
        <p:nvSpPr>
          <p:cNvPr id="43" name="L-Form 42"/>
          <p:cNvSpPr/>
          <p:nvPr/>
        </p:nvSpPr>
        <p:spPr>
          <a:xfrm rot="5400000">
            <a:off x="1439069" y="3196432"/>
            <a:ext cx="1163637" cy="2501900"/>
          </a:xfrm>
          <a:prstGeom prst="corner">
            <a:avLst>
              <a:gd name="adj1" fmla="val 16120"/>
              <a:gd name="adj2" fmla="val 16110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>
              <a:spcBef>
                <a:spcPct val="50000"/>
              </a:spcBef>
              <a:defRPr/>
            </a:pPr>
            <a:endParaRPr kumimoji="0" lang="de-DE" sz="1800"/>
          </a:p>
        </p:txBody>
      </p:sp>
      <p:sp>
        <p:nvSpPr>
          <p:cNvPr id="44" name="Freihandform 43"/>
          <p:cNvSpPr/>
          <p:nvPr/>
        </p:nvSpPr>
        <p:spPr>
          <a:xfrm>
            <a:off x="1019175" y="4057650"/>
            <a:ext cx="2343150" cy="1531938"/>
          </a:xfrm>
          <a:custGeom>
            <a:avLst/>
            <a:gdLst>
              <a:gd name="connsiteX0" fmla="*/ 0 w 1746553"/>
              <a:gd name="connsiteY0" fmla="*/ 0 h 1530956"/>
              <a:gd name="connsiteX1" fmla="*/ 1746553 w 1746553"/>
              <a:gd name="connsiteY1" fmla="*/ 0 h 1530956"/>
              <a:gd name="connsiteX2" fmla="*/ 1746553 w 1746553"/>
              <a:gd name="connsiteY2" fmla="*/ 1530956 h 1530956"/>
              <a:gd name="connsiteX3" fmla="*/ 0 w 1746553"/>
              <a:gd name="connsiteY3" fmla="*/ 1530956 h 1530956"/>
              <a:gd name="connsiteX4" fmla="*/ 0 w 1746553"/>
              <a:gd name="connsiteY4" fmla="*/ 0 h 153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46553" h="1530956">
                <a:moveTo>
                  <a:pt x="0" y="0"/>
                </a:moveTo>
                <a:lnTo>
                  <a:pt x="1746553" y="0"/>
                </a:lnTo>
                <a:lnTo>
                  <a:pt x="1746553" y="1530956"/>
                </a:lnTo>
                <a:lnTo>
                  <a:pt x="0" y="153095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68580" tIns="68580" rIns="68580" bIns="68580"/>
          <a:lstStyle/>
          <a:p>
            <a:pPr marL="342900" indent="-342900" defTabSz="800100">
              <a:lnSpc>
                <a:spcPct val="90000"/>
              </a:lnSpc>
              <a:spcBef>
                <a:spcPct val="50000"/>
              </a:spcBef>
              <a:spcAft>
                <a:spcPct val="35000"/>
              </a:spcAft>
              <a:buFontTx/>
              <a:buAutoNum type="arabicPeriod"/>
              <a:defRPr/>
            </a:pPr>
            <a:r>
              <a:rPr kumimoji="0" lang="ru-RU" sz="1600" b="1">
                <a:solidFill>
                  <a:srgbClr val="000000"/>
                </a:solidFill>
                <a:ea typeface="ＭＳ Ｐゴシック" pitchFamily="34" charset="-128"/>
              </a:rPr>
              <a:t>Промышленная революция</a:t>
            </a:r>
            <a: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  <a:t/>
            </a:r>
            <a:b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  <a:t/>
            </a:r>
            <a:b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kumimoji="0" lang="ru-RU" sz="1600">
                <a:solidFill>
                  <a:srgbClr val="000000"/>
                </a:solidFill>
                <a:ea typeface="ＭＳ Ｐゴシック" pitchFamily="34" charset="-128"/>
              </a:rPr>
              <a:t>Внедрение</a:t>
            </a:r>
            <a:r>
              <a:rPr kumimoji="0" lang="de-DE" sz="160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r>
              <a:rPr kumimoji="0" lang="ru-RU" sz="1600">
                <a:solidFill>
                  <a:srgbClr val="000000"/>
                </a:solidFill>
                <a:ea typeface="ＭＳ Ｐゴシック" pitchFamily="34" charset="-128"/>
              </a:rPr>
              <a:t>механического производственного оборудования с использованием воды и энергии пара</a:t>
            </a:r>
            <a:endParaRPr kumimoji="0" lang="de-DE" sz="16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45" name="Gleichschenkliges Dreieck 44"/>
          <p:cNvSpPr/>
          <p:nvPr/>
        </p:nvSpPr>
        <p:spPr>
          <a:xfrm>
            <a:off x="2851150" y="3338513"/>
            <a:ext cx="425450" cy="328612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>
              <a:spcBef>
                <a:spcPct val="50000"/>
              </a:spcBef>
              <a:defRPr/>
            </a:pPr>
            <a:endParaRPr kumimoji="0" lang="de-DE" sz="1800"/>
          </a:p>
        </p:txBody>
      </p:sp>
      <p:sp>
        <p:nvSpPr>
          <p:cNvPr id="46" name="L-Form 45"/>
          <p:cNvSpPr/>
          <p:nvPr/>
        </p:nvSpPr>
        <p:spPr>
          <a:xfrm rot="5400000">
            <a:off x="4204494" y="2667794"/>
            <a:ext cx="1163638" cy="2501900"/>
          </a:xfrm>
          <a:prstGeom prst="corner">
            <a:avLst>
              <a:gd name="adj1" fmla="val 16120"/>
              <a:gd name="adj2" fmla="val 16110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>
              <a:spcBef>
                <a:spcPct val="50000"/>
              </a:spcBef>
              <a:defRPr/>
            </a:pPr>
            <a:endParaRPr kumimoji="0" lang="de-DE" sz="1800"/>
          </a:p>
        </p:txBody>
      </p:sp>
      <p:sp>
        <p:nvSpPr>
          <p:cNvPr id="48" name="Gleichschenkliges Dreieck 47"/>
          <p:cNvSpPr/>
          <p:nvPr/>
        </p:nvSpPr>
        <p:spPr>
          <a:xfrm>
            <a:off x="5616575" y="2808288"/>
            <a:ext cx="425450" cy="3302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>
              <a:spcBef>
                <a:spcPct val="50000"/>
              </a:spcBef>
              <a:defRPr/>
            </a:pPr>
            <a:endParaRPr kumimoji="0" lang="de-DE" sz="1800"/>
          </a:p>
        </p:txBody>
      </p:sp>
      <p:sp>
        <p:nvSpPr>
          <p:cNvPr id="49" name="L-Form 48"/>
          <p:cNvSpPr/>
          <p:nvPr/>
        </p:nvSpPr>
        <p:spPr>
          <a:xfrm rot="5400000">
            <a:off x="6970713" y="2138363"/>
            <a:ext cx="1162050" cy="2501900"/>
          </a:xfrm>
          <a:prstGeom prst="corner">
            <a:avLst>
              <a:gd name="adj1" fmla="val 16120"/>
              <a:gd name="adj2" fmla="val 16110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>
              <a:spcBef>
                <a:spcPct val="50000"/>
              </a:spcBef>
              <a:defRPr/>
            </a:pPr>
            <a:endParaRPr kumimoji="0" lang="de-DE" sz="1800"/>
          </a:p>
        </p:txBody>
      </p:sp>
      <p:sp>
        <p:nvSpPr>
          <p:cNvPr id="55" name="Freihandform 54"/>
          <p:cNvSpPr/>
          <p:nvPr/>
        </p:nvSpPr>
        <p:spPr>
          <a:xfrm>
            <a:off x="3794125" y="3665538"/>
            <a:ext cx="2344738" cy="1530350"/>
          </a:xfrm>
          <a:custGeom>
            <a:avLst/>
            <a:gdLst>
              <a:gd name="connsiteX0" fmla="*/ 0 w 1746553"/>
              <a:gd name="connsiteY0" fmla="*/ 0 h 1530956"/>
              <a:gd name="connsiteX1" fmla="*/ 1746553 w 1746553"/>
              <a:gd name="connsiteY1" fmla="*/ 0 h 1530956"/>
              <a:gd name="connsiteX2" fmla="*/ 1746553 w 1746553"/>
              <a:gd name="connsiteY2" fmla="*/ 1530956 h 1530956"/>
              <a:gd name="connsiteX3" fmla="*/ 0 w 1746553"/>
              <a:gd name="connsiteY3" fmla="*/ 1530956 h 1530956"/>
              <a:gd name="connsiteX4" fmla="*/ 0 w 1746553"/>
              <a:gd name="connsiteY4" fmla="*/ 0 h 153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46553" h="1530956">
                <a:moveTo>
                  <a:pt x="0" y="0"/>
                </a:moveTo>
                <a:lnTo>
                  <a:pt x="1746553" y="0"/>
                </a:lnTo>
                <a:lnTo>
                  <a:pt x="1746553" y="1530956"/>
                </a:lnTo>
                <a:lnTo>
                  <a:pt x="0" y="153095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68580" tIns="68580" rIns="68580" bIns="68580"/>
          <a:lstStyle/>
          <a:p>
            <a:pPr marL="342900" indent="-342900" defTabSz="800100">
              <a:lnSpc>
                <a:spcPct val="90000"/>
              </a:lnSpc>
              <a:spcBef>
                <a:spcPct val="50000"/>
              </a:spcBef>
              <a:spcAft>
                <a:spcPct val="35000"/>
              </a:spcAft>
              <a:buFontTx/>
              <a:buAutoNum type="arabicPeriod" startAt="2"/>
              <a:defRPr/>
            </a:pPr>
            <a:r>
              <a:rPr kumimoji="0" lang="ru-RU" sz="1800" b="1">
                <a:solidFill>
                  <a:srgbClr val="000000"/>
                </a:solidFill>
                <a:ea typeface="ＭＳ Ｐゴシック" pitchFamily="34" charset="-128"/>
              </a:rPr>
              <a:t>Промышленная революция</a:t>
            </a:r>
            <a:r>
              <a:rPr kumimoji="0" lang="de-DE" sz="1800">
                <a:solidFill>
                  <a:schemeClr val="bg2"/>
                </a:solidFill>
                <a:ea typeface="ＭＳ Ｐゴシック" pitchFamily="34" charset="-128"/>
              </a:rPr>
              <a:t> </a:t>
            </a:r>
            <a: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  <a:t/>
            </a:r>
            <a:b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  <a:t/>
            </a:r>
            <a:b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kumimoji="0" lang="ru-RU" sz="1600">
                <a:solidFill>
                  <a:srgbClr val="000000"/>
                </a:solidFill>
                <a:ea typeface="ＭＳ Ｐゴシック" pitchFamily="34" charset="-128"/>
              </a:rPr>
              <a:t>Введение массового производства, основанного на разделении труда, с использованием электрической энергии</a:t>
            </a:r>
            <a:endParaRPr kumimoji="0" lang="de-DE" sz="16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56" name="Freihandform 55"/>
          <p:cNvSpPr/>
          <p:nvPr/>
        </p:nvSpPr>
        <p:spPr>
          <a:xfrm>
            <a:off x="6530975" y="3152775"/>
            <a:ext cx="2305050" cy="1876425"/>
          </a:xfrm>
          <a:custGeom>
            <a:avLst/>
            <a:gdLst>
              <a:gd name="connsiteX0" fmla="*/ 0 w 1746553"/>
              <a:gd name="connsiteY0" fmla="*/ 0 h 1530956"/>
              <a:gd name="connsiteX1" fmla="*/ 1746553 w 1746553"/>
              <a:gd name="connsiteY1" fmla="*/ 0 h 1530956"/>
              <a:gd name="connsiteX2" fmla="*/ 1746553 w 1746553"/>
              <a:gd name="connsiteY2" fmla="*/ 1530956 h 1530956"/>
              <a:gd name="connsiteX3" fmla="*/ 0 w 1746553"/>
              <a:gd name="connsiteY3" fmla="*/ 1530956 h 1530956"/>
              <a:gd name="connsiteX4" fmla="*/ 0 w 1746553"/>
              <a:gd name="connsiteY4" fmla="*/ 0 h 153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46553" h="1530956">
                <a:moveTo>
                  <a:pt x="0" y="0"/>
                </a:moveTo>
                <a:lnTo>
                  <a:pt x="1746553" y="0"/>
                </a:lnTo>
                <a:lnTo>
                  <a:pt x="1746553" y="1530956"/>
                </a:lnTo>
                <a:lnTo>
                  <a:pt x="0" y="153095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68580" tIns="68580" rIns="68580" bIns="68580"/>
          <a:lstStyle/>
          <a:p>
            <a:pPr marL="342900" indent="-342900" defTabSz="800100">
              <a:lnSpc>
                <a:spcPct val="90000"/>
              </a:lnSpc>
              <a:spcBef>
                <a:spcPct val="50000"/>
              </a:spcBef>
              <a:spcAft>
                <a:spcPct val="35000"/>
              </a:spcAft>
              <a:buFontTx/>
              <a:buAutoNum type="arabicPeriod" startAt="3"/>
              <a:defRPr/>
            </a:pPr>
            <a:r>
              <a:rPr kumimoji="0" lang="ru-RU" sz="1800" b="1">
                <a:solidFill>
                  <a:srgbClr val="000000"/>
                </a:solidFill>
                <a:ea typeface="ＭＳ Ｐゴシック" pitchFamily="34" charset="-128"/>
              </a:rPr>
              <a:t>Промышленная революция</a:t>
            </a:r>
            <a:r>
              <a:rPr kumimoji="0" lang="de-DE" sz="1800">
                <a:solidFill>
                  <a:schemeClr val="bg2"/>
                </a:solidFill>
                <a:ea typeface="ＭＳ Ｐゴシック" pitchFamily="34" charset="-128"/>
              </a:rPr>
              <a:t> </a:t>
            </a:r>
            <a: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  <a:t/>
            </a:r>
            <a:b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  <a:t/>
            </a:r>
            <a:b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kumimoji="0" lang="ru-RU" sz="1600">
                <a:solidFill>
                  <a:srgbClr val="000000"/>
                </a:solidFill>
                <a:ea typeface="ＭＳ Ｐゴシック" pitchFamily="34" charset="-128"/>
              </a:rPr>
              <a:t>Внедрение электроники и</a:t>
            </a:r>
            <a:r>
              <a:rPr kumimoji="0" lang="ru-RU" sz="1600" b="1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r>
              <a:rPr kumimoji="0" lang="de-DE" sz="1600">
                <a:solidFill>
                  <a:srgbClr val="000000"/>
                </a:solidFill>
                <a:ea typeface="ＭＳ Ｐゴシック" pitchFamily="34" charset="-128"/>
              </a:rPr>
              <a:t>IT</a:t>
            </a:r>
            <a:r>
              <a:rPr kumimoji="0" lang="ru-RU" sz="1600">
                <a:solidFill>
                  <a:srgbClr val="000000"/>
                </a:solidFill>
                <a:ea typeface="ＭＳ Ｐゴシック" pitchFamily="34" charset="-128"/>
              </a:rPr>
              <a:t> для повышения</a:t>
            </a:r>
            <a:r>
              <a:rPr kumimoji="0" lang="de-DE" sz="160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r>
              <a:rPr kumimoji="0" lang="ru-RU" sz="1600">
                <a:solidFill>
                  <a:srgbClr val="000000"/>
                </a:solidFill>
                <a:ea typeface="ＭＳ Ｐゴシック" pitchFamily="34" charset="-128"/>
              </a:rPr>
              <a:t>уровня автоматизации</a:t>
            </a:r>
            <a:endParaRPr kumimoji="0" lang="de-DE" sz="16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0253" name="Textfeld 57"/>
          <p:cNvSpPr txBox="1">
            <a:spLocks noChangeArrowheads="1"/>
          </p:cNvSpPr>
          <p:nvPr/>
        </p:nvSpPr>
        <p:spPr bwMode="auto">
          <a:xfrm>
            <a:off x="769938" y="3557588"/>
            <a:ext cx="1576387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  <a:spcBef>
                <a:spcPct val="50000"/>
              </a:spcBef>
            </a:pPr>
            <a:r>
              <a:rPr kumimoji="0" lang="ru-RU" sz="1800" b="1">
                <a:solidFill>
                  <a:schemeClr val="accent1"/>
                </a:solidFill>
              </a:rPr>
              <a:t>Конец 18 века</a:t>
            </a:r>
            <a:endParaRPr kumimoji="0" lang="de-DE" sz="1800" b="1">
              <a:solidFill>
                <a:schemeClr val="accent1"/>
              </a:solidFill>
            </a:endParaRPr>
          </a:p>
        </p:txBody>
      </p:sp>
      <p:sp>
        <p:nvSpPr>
          <p:cNvPr id="10254" name="Textfeld 58"/>
          <p:cNvSpPr txBox="1">
            <a:spLocks noChangeArrowheads="1"/>
          </p:cNvSpPr>
          <p:nvPr/>
        </p:nvSpPr>
        <p:spPr bwMode="auto">
          <a:xfrm>
            <a:off x="3497263" y="2995613"/>
            <a:ext cx="1576387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  <a:spcBef>
                <a:spcPct val="50000"/>
              </a:spcBef>
            </a:pPr>
            <a:r>
              <a:rPr kumimoji="0" lang="ru-RU" sz="1800" b="1">
                <a:solidFill>
                  <a:schemeClr val="accent1"/>
                </a:solidFill>
              </a:rPr>
              <a:t>Конец 19 века</a:t>
            </a:r>
            <a:endParaRPr kumimoji="0" lang="de-DE" sz="1800" b="1">
              <a:solidFill>
                <a:schemeClr val="accent1"/>
              </a:solidFill>
            </a:endParaRPr>
          </a:p>
        </p:txBody>
      </p:sp>
      <p:sp>
        <p:nvSpPr>
          <p:cNvPr id="10255" name="Textfeld 59"/>
          <p:cNvSpPr txBox="1">
            <a:spLocks noChangeArrowheads="1"/>
          </p:cNvSpPr>
          <p:nvPr/>
        </p:nvSpPr>
        <p:spPr bwMode="auto">
          <a:xfrm>
            <a:off x="6289675" y="2474913"/>
            <a:ext cx="512763" cy="28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  <a:spcBef>
                <a:spcPct val="50000"/>
              </a:spcBef>
            </a:pPr>
            <a:r>
              <a:rPr kumimoji="0" lang="de-DE" sz="1800" b="1">
                <a:solidFill>
                  <a:schemeClr val="accent1"/>
                </a:solidFill>
              </a:rPr>
              <a:t>1970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kt 2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266" name="think-cell Slide" r:id="rId4" imgW="360" imgH="360" progId="">
              <p:embed/>
            </p:oleObj>
          </a:graphicData>
        </a:graphic>
      </p:graphicFrame>
      <p:sp>
        <p:nvSpPr>
          <p:cNvPr id="1126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pPr eaLnBrk="1" hangingPunct="1"/>
            <a:r>
              <a:rPr lang="ru-RU" smtClean="0"/>
              <a:t>Третья промышленная революция </a:t>
            </a:r>
            <a:r>
              <a:rPr lang="en-GB" altLang="ru-RU" smtClean="0"/>
              <a:t>“</a:t>
            </a:r>
            <a:r>
              <a:rPr lang="ru-RU" altLang="ja-JP" smtClean="0"/>
              <a:t>Индустрия 3.0</a:t>
            </a:r>
            <a:r>
              <a:rPr lang="en-GB" altLang="ru-RU" smtClean="0"/>
              <a:t>”</a:t>
            </a:r>
            <a:endParaRPr lang="en-US" b="0" smtClean="0"/>
          </a:p>
        </p:txBody>
      </p:sp>
      <p:sp>
        <p:nvSpPr>
          <p:cNvPr id="11268" name="Rectangle 18"/>
          <p:cNvSpPr>
            <a:spLocks noChangeArrowheads="1"/>
          </p:cNvSpPr>
          <p:nvPr/>
        </p:nvSpPr>
        <p:spPr bwMode="gray">
          <a:xfrm>
            <a:off x="4229100" y="1687513"/>
            <a:ext cx="76993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kumimoji="0" lang="ru-RU" sz="2000" b="1">
                <a:solidFill>
                  <a:schemeClr val="tx1"/>
                </a:solidFill>
              </a:rPr>
              <a:t>Основные черты </a:t>
            </a:r>
            <a:endParaRPr kumimoji="0" lang="en-US" sz="2000" b="1">
              <a:solidFill>
                <a:schemeClr val="tx1"/>
              </a:solidFill>
            </a:endParaRPr>
          </a:p>
        </p:txBody>
      </p:sp>
      <p:sp>
        <p:nvSpPr>
          <p:cNvPr id="11269" name="Rectangle 19"/>
          <p:cNvSpPr>
            <a:spLocks noChangeArrowheads="1"/>
          </p:cNvSpPr>
          <p:nvPr/>
        </p:nvSpPr>
        <p:spPr bwMode="gray">
          <a:xfrm>
            <a:off x="4965700" y="2692400"/>
            <a:ext cx="675005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6700" lvl="1" indent="-266700">
              <a:spcBef>
                <a:spcPts val="1200"/>
              </a:spcBef>
            </a:pPr>
            <a:r>
              <a:rPr kumimoji="0" lang="en-GB" sz="1800">
                <a:solidFill>
                  <a:schemeClr val="tx1"/>
                </a:solidFill>
              </a:rPr>
              <a:t>IT - </a:t>
            </a:r>
            <a:r>
              <a:rPr kumimoji="0" lang="ru-RU" sz="1800">
                <a:solidFill>
                  <a:schemeClr val="tx1"/>
                </a:solidFill>
              </a:rPr>
              <a:t>технологии</a:t>
            </a:r>
            <a:endParaRPr kumimoji="0" lang="en-US" sz="1800">
              <a:solidFill>
                <a:schemeClr val="tx1"/>
              </a:solidFill>
            </a:endParaRPr>
          </a:p>
        </p:txBody>
      </p:sp>
      <p:sp>
        <p:nvSpPr>
          <p:cNvPr id="11270" name="Rectangle 19"/>
          <p:cNvSpPr>
            <a:spLocks noChangeArrowheads="1"/>
          </p:cNvSpPr>
          <p:nvPr/>
        </p:nvSpPr>
        <p:spPr bwMode="gray">
          <a:xfrm>
            <a:off x="4965700" y="3463925"/>
            <a:ext cx="675005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42900" lvl="1" indent="-342900">
              <a:spcBef>
                <a:spcPts val="1200"/>
              </a:spcBef>
            </a:pPr>
            <a:r>
              <a:rPr kumimoji="0" lang="ru-RU" sz="1800">
                <a:solidFill>
                  <a:schemeClr val="tx1"/>
                </a:solidFill>
              </a:rPr>
              <a:t>Внедрение   микропроцессорной техники и </a:t>
            </a:r>
          </a:p>
          <a:p>
            <a:pPr marL="342900" lvl="1" indent="-342900">
              <a:spcBef>
                <a:spcPts val="1200"/>
              </a:spcBef>
            </a:pPr>
            <a:r>
              <a:rPr kumimoji="0" lang="ru-RU" sz="1800">
                <a:solidFill>
                  <a:schemeClr val="tx1"/>
                </a:solidFill>
              </a:rPr>
              <a:t>процессов автоматизации</a:t>
            </a:r>
            <a:endParaRPr kumimoji="0" lang="de-DE" sz="1800">
              <a:solidFill>
                <a:schemeClr val="tx1"/>
              </a:solidFill>
            </a:endParaRPr>
          </a:p>
        </p:txBody>
      </p:sp>
      <p:sp>
        <p:nvSpPr>
          <p:cNvPr id="11271" name="Rectangle 19"/>
          <p:cNvSpPr>
            <a:spLocks noChangeArrowheads="1"/>
          </p:cNvSpPr>
          <p:nvPr/>
        </p:nvSpPr>
        <p:spPr bwMode="gray">
          <a:xfrm>
            <a:off x="4965700" y="4597400"/>
            <a:ext cx="675005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6700" lvl="1" indent="-266700">
              <a:spcBef>
                <a:spcPts val="1200"/>
              </a:spcBef>
            </a:pPr>
            <a:r>
              <a:rPr kumimoji="0" lang="ru-RU" sz="1800">
                <a:solidFill>
                  <a:srgbClr val="000000"/>
                </a:solidFill>
              </a:rPr>
              <a:t>Инновации</a:t>
            </a:r>
            <a:endParaRPr kumimoji="0" lang="en-US" sz="1800">
              <a:solidFill>
                <a:srgbClr val="000000"/>
              </a:solidFill>
            </a:endParaRPr>
          </a:p>
        </p:txBody>
      </p:sp>
      <p:sp>
        <p:nvSpPr>
          <p:cNvPr id="11272" name="Rectangle 19"/>
          <p:cNvSpPr>
            <a:spLocks noChangeArrowheads="1"/>
          </p:cNvSpPr>
          <p:nvPr/>
        </p:nvSpPr>
        <p:spPr bwMode="gray">
          <a:xfrm>
            <a:off x="4965700" y="5551488"/>
            <a:ext cx="67500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6700" lvl="1" indent="-266700">
              <a:spcBef>
                <a:spcPts val="1200"/>
              </a:spcBef>
            </a:pPr>
            <a:r>
              <a:rPr kumimoji="0" lang="ru-RU" sz="1800">
                <a:solidFill>
                  <a:srgbClr val="000000"/>
                </a:solidFill>
              </a:rPr>
              <a:t>Моделирование технологических процессов</a:t>
            </a:r>
            <a:endParaRPr kumimoji="0" lang="en-US" sz="1800">
              <a:solidFill>
                <a:srgbClr val="000000"/>
              </a:solidFill>
            </a:endParaRPr>
          </a:p>
        </p:txBody>
      </p:sp>
      <p:cxnSp>
        <p:nvCxnSpPr>
          <p:cNvPr id="11273" name="Gerade Verbindung 11"/>
          <p:cNvCxnSpPr>
            <a:cxnSpLocks noChangeShapeType="1"/>
          </p:cNvCxnSpPr>
          <p:nvPr/>
        </p:nvCxnSpPr>
        <p:spPr bwMode="auto">
          <a:xfrm>
            <a:off x="4229100" y="2354263"/>
            <a:ext cx="748665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 type="none" w="med" len="lg"/>
          </a:ln>
        </p:spPr>
      </p:cxnSp>
      <p:cxnSp>
        <p:nvCxnSpPr>
          <p:cNvPr id="11274" name="Gerade Verbindung 33"/>
          <p:cNvCxnSpPr>
            <a:cxnSpLocks noChangeShapeType="1"/>
          </p:cNvCxnSpPr>
          <p:nvPr/>
        </p:nvCxnSpPr>
        <p:spPr bwMode="auto">
          <a:xfrm>
            <a:off x="655638" y="6165850"/>
            <a:ext cx="1106011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 type="none" w="med" len="lg"/>
          </a:ln>
        </p:spPr>
      </p:cxnSp>
      <p:cxnSp>
        <p:nvCxnSpPr>
          <p:cNvPr id="11275" name="Gerade Verbindung 34"/>
          <p:cNvCxnSpPr>
            <a:cxnSpLocks noChangeShapeType="1"/>
          </p:cNvCxnSpPr>
          <p:nvPr/>
        </p:nvCxnSpPr>
        <p:spPr bwMode="auto">
          <a:xfrm>
            <a:off x="4229100" y="3306763"/>
            <a:ext cx="748665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 type="none" w="med" len="lg"/>
          </a:ln>
        </p:spPr>
      </p:cxnSp>
      <p:cxnSp>
        <p:nvCxnSpPr>
          <p:cNvPr id="11276" name="Gerade Verbindung 35"/>
          <p:cNvCxnSpPr>
            <a:cxnSpLocks noChangeShapeType="1"/>
          </p:cNvCxnSpPr>
          <p:nvPr/>
        </p:nvCxnSpPr>
        <p:spPr bwMode="auto">
          <a:xfrm>
            <a:off x="3876675" y="4260850"/>
            <a:ext cx="783907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 type="none" w="med" len="lg"/>
          </a:ln>
        </p:spPr>
      </p:cxnSp>
      <p:cxnSp>
        <p:nvCxnSpPr>
          <p:cNvPr id="11277" name="Gerade Verbindung 36"/>
          <p:cNvCxnSpPr>
            <a:cxnSpLocks noChangeShapeType="1"/>
          </p:cNvCxnSpPr>
          <p:nvPr/>
        </p:nvCxnSpPr>
        <p:spPr bwMode="auto">
          <a:xfrm>
            <a:off x="2949575" y="5213350"/>
            <a:ext cx="876617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 type="none" w="med" len="lg"/>
          </a:ln>
        </p:spPr>
      </p:cxnSp>
      <p:sp>
        <p:nvSpPr>
          <p:cNvPr id="50" name="Rectangle 19"/>
          <p:cNvSpPr/>
          <p:nvPr/>
        </p:nvSpPr>
        <p:spPr bwMode="gray">
          <a:xfrm>
            <a:off x="4229100" y="2522538"/>
            <a:ext cx="285750" cy="615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spcCol="72000">
            <a:spAutoFit/>
          </a:bodyPr>
          <a:lstStyle/>
          <a:p>
            <a:pPr marL="266700" lvl="1" indent="-266700">
              <a:spcBef>
                <a:spcPts val="1200"/>
              </a:spcBef>
              <a:defRPr/>
            </a:pPr>
            <a:r>
              <a:rPr kumimoji="0" lang="en-US" sz="4000" dirty="0">
                <a:solidFill>
                  <a:schemeClr val="accent5"/>
                </a:solidFill>
                <a:ea typeface="ＭＳ Ｐゴシック" charset="-128"/>
              </a:rPr>
              <a:t>1</a:t>
            </a:r>
          </a:p>
        </p:txBody>
      </p:sp>
      <p:sp>
        <p:nvSpPr>
          <p:cNvPr id="54" name="Rectangle 19"/>
          <p:cNvSpPr/>
          <p:nvPr/>
        </p:nvSpPr>
        <p:spPr bwMode="gray">
          <a:xfrm>
            <a:off x="4229100" y="3476625"/>
            <a:ext cx="285750" cy="6143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spcCol="72000">
            <a:spAutoFit/>
          </a:bodyPr>
          <a:lstStyle/>
          <a:p>
            <a:pPr marL="266700" lvl="1" indent="-266700">
              <a:spcBef>
                <a:spcPts val="1200"/>
              </a:spcBef>
              <a:defRPr/>
            </a:pPr>
            <a:r>
              <a:rPr kumimoji="0" lang="en-US" sz="4000" dirty="0">
                <a:solidFill>
                  <a:schemeClr val="accent5"/>
                </a:solidFill>
                <a:ea typeface="ＭＳ Ｐゴシック" charset="-128"/>
              </a:rPr>
              <a:t>2</a:t>
            </a:r>
          </a:p>
        </p:txBody>
      </p:sp>
      <p:sp>
        <p:nvSpPr>
          <p:cNvPr id="55" name="Rectangle 19"/>
          <p:cNvSpPr/>
          <p:nvPr/>
        </p:nvSpPr>
        <p:spPr bwMode="gray">
          <a:xfrm>
            <a:off x="4229100" y="4429125"/>
            <a:ext cx="285750" cy="615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spcCol="72000">
            <a:spAutoFit/>
          </a:bodyPr>
          <a:lstStyle/>
          <a:p>
            <a:pPr marL="266700" lvl="1" indent="-266700">
              <a:spcBef>
                <a:spcPts val="1200"/>
              </a:spcBef>
              <a:defRPr/>
            </a:pPr>
            <a:r>
              <a:rPr kumimoji="0" lang="en-US" sz="4000" dirty="0">
                <a:solidFill>
                  <a:schemeClr val="accent5"/>
                </a:solidFill>
                <a:ea typeface="ＭＳ Ｐゴシック" charset="-128"/>
              </a:rPr>
              <a:t>3</a:t>
            </a:r>
          </a:p>
        </p:txBody>
      </p:sp>
      <p:sp>
        <p:nvSpPr>
          <p:cNvPr id="56" name="Rectangle 19"/>
          <p:cNvSpPr/>
          <p:nvPr/>
        </p:nvSpPr>
        <p:spPr bwMode="gray">
          <a:xfrm>
            <a:off x="4229100" y="5381625"/>
            <a:ext cx="285750" cy="615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spcCol="72000">
            <a:spAutoFit/>
          </a:bodyPr>
          <a:lstStyle/>
          <a:p>
            <a:pPr marL="266700" lvl="1" indent="-266700">
              <a:spcBef>
                <a:spcPts val="1200"/>
              </a:spcBef>
              <a:defRPr/>
            </a:pPr>
            <a:r>
              <a:rPr kumimoji="0" lang="en-US" sz="4000" dirty="0">
                <a:solidFill>
                  <a:schemeClr val="accent5"/>
                </a:solidFill>
                <a:ea typeface="ＭＳ Ｐゴシック" charset="-128"/>
              </a:rPr>
              <a:t>4</a:t>
            </a:r>
          </a:p>
        </p:txBody>
      </p:sp>
      <p:cxnSp>
        <p:nvCxnSpPr>
          <p:cNvPr id="11282" name="Gerade Verbindung 23"/>
          <p:cNvCxnSpPr>
            <a:cxnSpLocks noChangeShapeType="1"/>
          </p:cNvCxnSpPr>
          <p:nvPr/>
        </p:nvCxnSpPr>
        <p:spPr bwMode="auto">
          <a:xfrm>
            <a:off x="4711700" y="2522538"/>
            <a:ext cx="0" cy="615950"/>
          </a:xfrm>
          <a:prstGeom prst="line">
            <a:avLst/>
          </a:prstGeom>
          <a:noFill/>
          <a:ln w="19050">
            <a:solidFill>
              <a:srgbClr val="006487"/>
            </a:solidFill>
            <a:round/>
            <a:headEnd/>
            <a:tailEnd type="none" w="med" len="lg"/>
          </a:ln>
        </p:spPr>
      </p:cxnSp>
      <p:cxnSp>
        <p:nvCxnSpPr>
          <p:cNvPr id="11283" name="Gerade Verbindung 57"/>
          <p:cNvCxnSpPr>
            <a:cxnSpLocks noChangeShapeType="1"/>
          </p:cNvCxnSpPr>
          <p:nvPr/>
        </p:nvCxnSpPr>
        <p:spPr bwMode="auto">
          <a:xfrm>
            <a:off x="4711700" y="3476625"/>
            <a:ext cx="0" cy="614363"/>
          </a:xfrm>
          <a:prstGeom prst="line">
            <a:avLst/>
          </a:prstGeom>
          <a:noFill/>
          <a:ln w="19050">
            <a:solidFill>
              <a:srgbClr val="006487"/>
            </a:solidFill>
            <a:round/>
            <a:headEnd/>
            <a:tailEnd type="none" w="med" len="lg"/>
          </a:ln>
        </p:spPr>
      </p:cxnSp>
      <p:cxnSp>
        <p:nvCxnSpPr>
          <p:cNvPr id="11284" name="Gerade Verbindung 58"/>
          <p:cNvCxnSpPr>
            <a:cxnSpLocks noChangeShapeType="1"/>
          </p:cNvCxnSpPr>
          <p:nvPr/>
        </p:nvCxnSpPr>
        <p:spPr bwMode="auto">
          <a:xfrm>
            <a:off x="4711700" y="4429125"/>
            <a:ext cx="0" cy="615950"/>
          </a:xfrm>
          <a:prstGeom prst="line">
            <a:avLst/>
          </a:prstGeom>
          <a:noFill/>
          <a:ln w="19050">
            <a:solidFill>
              <a:srgbClr val="006487"/>
            </a:solidFill>
            <a:round/>
            <a:headEnd/>
            <a:tailEnd type="none" w="med" len="lg"/>
          </a:ln>
        </p:spPr>
      </p:cxnSp>
      <p:cxnSp>
        <p:nvCxnSpPr>
          <p:cNvPr id="11285" name="Gerade Verbindung 59"/>
          <p:cNvCxnSpPr>
            <a:cxnSpLocks noChangeShapeType="1"/>
          </p:cNvCxnSpPr>
          <p:nvPr/>
        </p:nvCxnSpPr>
        <p:spPr bwMode="auto">
          <a:xfrm>
            <a:off x="4711700" y="5381625"/>
            <a:ext cx="0" cy="615950"/>
          </a:xfrm>
          <a:prstGeom prst="line">
            <a:avLst/>
          </a:prstGeom>
          <a:noFill/>
          <a:ln w="19050">
            <a:solidFill>
              <a:srgbClr val="006487"/>
            </a:solidFill>
            <a:round/>
            <a:headEnd/>
            <a:tailEnd type="none" w="med" len="lg"/>
          </a:ln>
        </p:spPr>
      </p:cxnSp>
      <p:sp>
        <p:nvSpPr>
          <p:cNvPr id="11286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ts val="300"/>
              </a:spcBef>
            </a:pPr>
            <a:endParaRPr kumimoji="0" lang="ru-RU" sz="100">
              <a:solidFill>
                <a:srgbClr val="FFFFFF"/>
              </a:solidFill>
            </a:endParaRPr>
          </a:p>
        </p:txBody>
      </p:sp>
      <p:sp>
        <p:nvSpPr>
          <p:cNvPr id="11287" name="TextBox 1"/>
          <p:cNvSpPr txBox="1">
            <a:spLocks noChangeArrowheads="1"/>
          </p:cNvSpPr>
          <p:nvPr/>
        </p:nvSpPr>
        <p:spPr bwMode="auto">
          <a:xfrm>
            <a:off x="11664950" y="1922463"/>
            <a:ext cx="0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ts val="300"/>
              </a:spcBef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11288" name="TextBox 2"/>
          <p:cNvSpPr txBox="1">
            <a:spLocks noChangeArrowheads="1"/>
          </p:cNvSpPr>
          <p:nvPr/>
        </p:nvSpPr>
        <p:spPr bwMode="auto">
          <a:xfrm>
            <a:off x="10885488" y="2847975"/>
            <a:ext cx="0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ts val="300"/>
              </a:spcBef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11289" name="TextBox 3"/>
          <p:cNvSpPr txBox="1">
            <a:spLocks noChangeArrowheads="1"/>
          </p:cNvSpPr>
          <p:nvPr/>
        </p:nvSpPr>
        <p:spPr bwMode="auto">
          <a:xfrm>
            <a:off x="9398000" y="3792538"/>
            <a:ext cx="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ts val="300"/>
              </a:spcBef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11290" name="Ellipse 3"/>
          <p:cNvSpPr>
            <a:spLocks/>
          </p:cNvSpPr>
          <p:nvPr/>
        </p:nvSpPr>
        <p:spPr bwMode="auto">
          <a:xfrm>
            <a:off x="0" y="1412875"/>
            <a:ext cx="3876675" cy="4014788"/>
          </a:xfrm>
          <a:custGeom>
            <a:avLst/>
            <a:gdLst>
              <a:gd name="T0" fmla="*/ 311755443 w 2040567"/>
              <a:gd name="T1" fmla="*/ 0 h 2113077"/>
              <a:gd name="T2" fmla="*/ 346273120 w 2040567"/>
              <a:gd name="T3" fmla="*/ 122533781 h 2113077"/>
              <a:gd name="T4" fmla="*/ 110152700 w 2040567"/>
              <a:gd name="T5" fmla="*/ 358801977 h 2113077"/>
              <a:gd name="T6" fmla="*/ 0 w 2040567"/>
              <a:gd name="T7" fmla="*/ 331440915 h 2113077"/>
              <a:gd name="T8" fmla="*/ 0 60000 65536"/>
              <a:gd name="T9" fmla="*/ 0 60000 65536"/>
              <a:gd name="T10" fmla="*/ 0 60000 65536"/>
              <a:gd name="T11" fmla="*/ 0 60000 65536"/>
              <a:gd name="T12" fmla="*/ 0 w 2040567"/>
              <a:gd name="T13" fmla="*/ 0 h 2113077"/>
              <a:gd name="T14" fmla="*/ 2040567 w 2040567"/>
              <a:gd name="T15" fmla="*/ 2113077 h 211307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040567" h="2113077">
                <a:moveTo>
                  <a:pt x="1837155" y="0"/>
                </a:moveTo>
                <a:cubicBezTo>
                  <a:pt x="1966730" y="209749"/>
                  <a:pt x="2040567" y="457068"/>
                  <a:pt x="2040567" y="721633"/>
                </a:cubicBezTo>
                <a:cubicBezTo>
                  <a:pt x="2040567" y="1490106"/>
                  <a:pt x="1417596" y="2113077"/>
                  <a:pt x="649123" y="2113077"/>
                </a:cubicBezTo>
                <a:cubicBezTo>
                  <a:pt x="414562" y="2113077"/>
                  <a:pt x="193556" y="2055038"/>
                  <a:pt x="0" y="1951940"/>
                </a:cubicBezTo>
              </a:path>
            </a:pathLst>
          </a:custGeom>
          <a:noFill/>
          <a:ln w="19050">
            <a:solidFill>
              <a:srgbClr val="55A0B9"/>
            </a:solidFill>
            <a:round/>
            <a:headEnd/>
            <a:tailEnd/>
          </a:ln>
        </p:spPr>
        <p:txBody>
          <a:bodyPr lIns="108000" tIns="54000" rIns="108000" bIns="54000" anchor="ctr"/>
          <a:lstStyle/>
          <a:p>
            <a:endParaRPr lang="ru-RU"/>
          </a:p>
        </p:txBody>
      </p:sp>
      <p:pic>
        <p:nvPicPr>
          <p:cNvPr id="11291" name="Изображение 5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234950" y="1431925"/>
            <a:ext cx="4262438" cy="319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97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290" name="think-cell Slide" r:id="rId7" imgW="360" imgH="360" progId="">
              <p:embed/>
            </p:oleObj>
          </a:graphicData>
        </a:graphic>
      </p:graphicFrame>
      <p:grpSp>
        <p:nvGrpSpPr>
          <p:cNvPr id="12291" name="Gruppieren 67"/>
          <p:cNvGrpSpPr>
            <a:grpSpLocks/>
          </p:cNvGrpSpPr>
          <p:nvPr/>
        </p:nvGrpSpPr>
        <p:grpSpPr bwMode="auto">
          <a:xfrm>
            <a:off x="6138863" y="1412875"/>
            <a:ext cx="5616575" cy="4752975"/>
            <a:chOff x="6139049" y="1412748"/>
            <a:chExt cx="5616702" cy="4752594"/>
          </a:xfrm>
        </p:grpSpPr>
        <p:sp>
          <p:nvSpPr>
            <p:cNvPr id="62" name="Rechteck 61"/>
            <p:cNvSpPr/>
            <p:nvPr>
              <p:custDataLst>
                <p:tags r:id="rId2"/>
              </p:custDataLst>
            </p:nvPr>
          </p:nvSpPr>
          <p:spPr bwMode="auto">
            <a:xfrm>
              <a:off x="6139049" y="1412748"/>
              <a:ext cx="5616702" cy="475259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  <a:extLst/>
          </p:spPr>
          <p:txBody>
            <a:bodyPr lIns="108000" tIns="54000" rIns="108000" bIns="54000" spcCol="7200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50000"/>
                </a:spcBef>
                <a:buFont typeface="Wingdings" charset="0"/>
                <a:buNone/>
                <a:defRPr/>
              </a:pPr>
              <a:endParaRPr kumimoji="0" lang="de-DE" sz="1800" b="1" dirty="0">
                <a:solidFill>
                  <a:schemeClr val="tx1"/>
                </a:solidFill>
                <a:ea typeface="ＭＳ Ｐゴシック" charset="-128"/>
              </a:endParaRPr>
            </a:p>
          </p:txBody>
        </p:sp>
        <p:cxnSp>
          <p:nvCxnSpPr>
            <p:cNvPr id="65" name="Gerade Verbindung 64"/>
            <p:cNvCxnSpPr/>
            <p:nvPr>
              <p:custDataLst>
                <p:tags r:id="rId3"/>
              </p:custDataLst>
            </p:nvPr>
          </p:nvCxnSpPr>
          <p:spPr bwMode="auto">
            <a:xfrm>
              <a:off x="6178737" y="5444675"/>
              <a:ext cx="5537325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accent6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sp>
          <p:nvSpPr>
            <p:cNvPr id="63" name="Textfeld 62"/>
            <p:cNvSpPr txBox="1"/>
            <p:nvPr>
              <p:custDataLst>
                <p:tags r:id="rId4"/>
              </p:custDataLst>
            </p:nvPr>
          </p:nvSpPr>
          <p:spPr>
            <a:xfrm>
              <a:off x="7251911" y="5306574"/>
              <a:ext cx="3456066" cy="30160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lIns="0" tIns="0" rIns="0" bIns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50000"/>
                </a:spcBef>
                <a:defRPr/>
              </a:pPr>
              <a:r>
                <a:rPr kumimoji="0" lang="ru-RU" sz="1800" b="1">
                  <a:solidFill>
                    <a:srgbClr val="4B5E22"/>
                  </a:solidFill>
                </a:rPr>
                <a:t>На пути</a:t>
              </a:r>
              <a:r>
                <a:rPr kumimoji="0" lang="en-US" sz="1800" b="1">
                  <a:solidFill>
                    <a:srgbClr val="4B5E22"/>
                  </a:solidFill>
                </a:rPr>
                <a:t> </a:t>
              </a:r>
              <a:r>
                <a:rPr kumimoji="0" lang="ru-RU" sz="1800" b="1">
                  <a:solidFill>
                    <a:srgbClr val="4B5E22"/>
                  </a:solidFill>
                </a:rPr>
                <a:t>к индустрии</a:t>
              </a:r>
              <a:r>
                <a:rPr kumimoji="0" lang="ru-RU" sz="1800" b="1">
                  <a:solidFill>
                    <a:schemeClr val="hlink"/>
                  </a:solidFill>
                </a:rPr>
                <a:t> </a:t>
              </a:r>
              <a:r>
                <a:rPr kumimoji="0" lang="de-DE" sz="1800" b="1">
                  <a:solidFill>
                    <a:srgbClr val="4B5E22"/>
                  </a:solidFill>
                </a:rPr>
                <a:t>4.0</a:t>
              </a:r>
            </a:p>
          </p:txBody>
        </p:sp>
      </p:grpSp>
      <p:sp>
        <p:nvSpPr>
          <p:cNvPr id="1229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/>
              <a:t>Этапы развития производства</a:t>
            </a:r>
            <a:endParaRPr lang="de-DE" smtClean="0"/>
          </a:p>
        </p:txBody>
      </p:sp>
      <p:sp>
        <p:nvSpPr>
          <p:cNvPr id="43" name="L-Form 42"/>
          <p:cNvSpPr/>
          <p:nvPr/>
        </p:nvSpPr>
        <p:spPr>
          <a:xfrm rot="5400000">
            <a:off x="1439069" y="3196432"/>
            <a:ext cx="1163637" cy="2501900"/>
          </a:xfrm>
          <a:prstGeom prst="corner">
            <a:avLst>
              <a:gd name="adj1" fmla="val 16120"/>
              <a:gd name="adj2" fmla="val 16110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>
              <a:spcBef>
                <a:spcPct val="50000"/>
              </a:spcBef>
              <a:defRPr/>
            </a:pPr>
            <a:endParaRPr kumimoji="0" lang="de-DE" sz="1800"/>
          </a:p>
        </p:txBody>
      </p:sp>
      <p:sp>
        <p:nvSpPr>
          <p:cNvPr id="44" name="Freihandform 43"/>
          <p:cNvSpPr/>
          <p:nvPr/>
        </p:nvSpPr>
        <p:spPr>
          <a:xfrm>
            <a:off x="1019175" y="4057650"/>
            <a:ext cx="2343150" cy="1531938"/>
          </a:xfrm>
          <a:custGeom>
            <a:avLst/>
            <a:gdLst>
              <a:gd name="connsiteX0" fmla="*/ 0 w 1746553"/>
              <a:gd name="connsiteY0" fmla="*/ 0 h 1530956"/>
              <a:gd name="connsiteX1" fmla="*/ 1746553 w 1746553"/>
              <a:gd name="connsiteY1" fmla="*/ 0 h 1530956"/>
              <a:gd name="connsiteX2" fmla="*/ 1746553 w 1746553"/>
              <a:gd name="connsiteY2" fmla="*/ 1530956 h 1530956"/>
              <a:gd name="connsiteX3" fmla="*/ 0 w 1746553"/>
              <a:gd name="connsiteY3" fmla="*/ 1530956 h 1530956"/>
              <a:gd name="connsiteX4" fmla="*/ 0 w 1746553"/>
              <a:gd name="connsiteY4" fmla="*/ 0 h 153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46553" h="1530956">
                <a:moveTo>
                  <a:pt x="0" y="0"/>
                </a:moveTo>
                <a:lnTo>
                  <a:pt x="1746553" y="0"/>
                </a:lnTo>
                <a:lnTo>
                  <a:pt x="1746553" y="1530956"/>
                </a:lnTo>
                <a:lnTo>
                  <a:pt x="0" y="153095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68580" tIns="68580" rIns="68580" bIns="68580"/>
          <a:lstStyle/>
          <a:p>
            <a:pPr marL="342900" indent="-342900" defTabSz="800100">
              <a:lnSpc>
                <a:spcPct val="90000"/>
              </a:lnSpc>
              <a:spcBef>
                <a:spcPct val="50000"/>
              </a:spcBef>
              <a:spcAft>
                <a:spcPct val="35000"/>
              </a:spcAft>
              <a:buFontTx/>
              <a:buAutoNum type="arabicPeriod"/>
              <a:defRPr/>
            </a:pPr>
            <a:r>
              <a:rPr kumimoji="0" lang="ru-RU" sz="1600" b="1">
                <a:solidFill>
                  <a:srgbClr val="000000"/>
                </a:solidFill>
                <a:ea typeface="ＭＳ Ｐゴシック" pitchFamily="34" charset="-128"/>
              </a:rPr>
              <a:t>Промышленная революция</a:t>
            </a:r>
            <a: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  <a:t/>
            </a:r>
            <a:b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  <a:t/>
            </a:r>
            <a:b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kumimoji="0" lang="ru-RU" sz="1600">
                <a:solidFill>
                  <a:srgbClr val="000000"/>
                </a:solidFill>
                <a:ea typeface="ＭＳ Ｐゴシック" pitchFamily="34" charset="-128"/>
              </a:rPr>
              <a:t>Внедрение</a:t>
            </a:r>
            <a:r>
              <a:rPr kumimoji="0" lang="de-DE" sz="160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r>
              <a:rPr kumimoji="0" lang="ru-RU" sz="1600">
                <a:solidFill>
                  <a:srgbClr val="000000"/>
                </a:solidFill>
                <a:ea typeface="ＭＳ Ｐゴシック" pitchFamily="34" charset="-128"/>
              </a:rPr>
              <a:t>механического производственного оборудования с использованием воды и энергии пара</a:t>
            </a:r>
            <a:endParaRPr kumimoji="0" lang="de-DE" sz="16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45" name="Gleichschenkliges Dreieck 44"/>
          <p:cNvSpPr/>
          <p:nvPr/>
        </p:nvSpPr>
        <p:spPr>
          <a:xfrm>
            <a:off x="2851150" y="3338513"/>
            <a:ext cx="425450" cy="328612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>
              <a:spcBef>
                <a:spcPct val="50000"/>
              </a:spcBef>
              <a:defRPr/>
            </a:pPr>
            <a:endParaRPr kumimoji="0" lang="de-DE" sz="1800"/>
          </a:p>
        </p:txBody>
      </p:sp>
      <p:sp>
        <p:nvSpPr>
          <p:cNvPr id="46" name="L-Form 45"/>
          <p:cNvSpPr/>
          <p:nvPr/>
        </p:nvSpPr>
        <p:spPr>
          <a:xfrm rot="5400000">
            <a:off x="4204494" y="2667794"/>
            <a:ext cx="1163638" cy="2501900"/>
          </a:xfrm>
          <a:prstGeom prst="corner">
            <a:avLst>
              <a:gd name="adj1" fmla="val 16120"/>
              <a:gd name="adj2" fmla="val 16110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>
              <a:spcBef>
                <a:spcPct val="50000"/>
              </a:spcBef>
              <a:defRPr/>
            </a:pPr>
            <a:endParaRPr kumimoji="0" lang="de-DE" sz="1800"/>
          </a:p>
        </p:txBody>
      </p:sp>
      <p:sp>
        <p:nvSpPr>
          <p:cNvPr id="48" name="Gleichschenkliges Dreieck 47"/>
          <p:cNvSpPr/>
          <p:nvPr/>
        </p:nvSpPr>
        <p:spPr>
          <a:xfrm>
            <a:off x="5616575" y="2808288"/>
            <a:ext cx="425450" cy="3302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>
              <a:spcBef>
                <a:spcPct val="50000"/>
              </a:spcBef>
              <a:defRPr/>
            </a:pPr>
            <a:endParaRPr kumimoji="0" lang="de-DE" sz="1800"/>
          </a:p>
        </p:txBody>
      </p:sp>
      <p:sp>
        <p:nvSpPr>
          <p:cNvPr id="49" name="L-Form 48"/>
          <p:cNvSpPr/>
          <p:nvPr/>
        </p:nvSpPr>
        <p:spPr>
          <a:xfrm rot="5400000">
            <a:off x="6970713" y="2138363"/>
            <a:ext cx="1162050" cy="2501900"/>
          </a:xfrm>
          <a:prstGeom prst="corner">
            <a:avLst>
              <a:gd name="adj1" fmla="val 16120"/>
              <a:gd name="adj2" fmla="val 16110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>
              <a:spcBef>
                <a:spcPct val="50000"/>
              </a:spcBef>
              <a:defRPr/>
            </a:pPr>
            <a:endParaRPr kumimoji="0" lang="de-DE" sz="1800"/>
          </a:p>
        </p:txBody>
      </p:sp>
      <p:sp>
        <p:nvSpPr>
          <p:cNvPr id="51" name="Gleichschenkliges Dreieck 50"/>
          <p:cNvSpPr/>
          <p:nvPr/>
        </p:nvSpPr>
        <p:spPr>
          <a:xfrm>
            <a:off x="8380413" y="2279650"/>
            <a:ext cx="427037" cy="330200"/>
          </a:xfrm>
          <a:prstGeom prst="triangle">
            <a:avLst>
              <a:gd name="adj" fmla="val 100000"/>
            </a:avLst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>
              <a:spcBef>
                <a:spcPct val="50000"/>
              </a:spcBef>
              <a:defRPr/>
            </a:pPr>
            <a:endParaRPr kumimoji="0" lang="de-DE" sz="1800"/>
          </a:p>
        </p:txBody>
      </p:sp>
      <p:sp>
        <p:nvSpPr>
          <p:cNvPr id="52" name="L-Form 51"/>
          <p:cNvSpPr/>
          <p:nvPr/>
        </p:nvSpPr>
        <p:spPr>
          <a:xfrm rot="5400000">
            <a:off x="9734550" y="1609725"/>
            <a:ext cx="1162050" cy="2501900"/>
          </a:xfrm>
          <a:prstGeom prst="corner">
            <a:avLst>
              <a:gd name="adj1" fmla="val 16120"/>
              <a:gd name="adj2" fmla="val 16110"/>
            </a:avLst>
          </a:prstGeom>
          <a:solidFill>
            <a:schemeClr val="accent3"/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>
              <a:spcBef>
                <a:spcPct val="50000"/>
              </a:spcBef>
              <a:defRPr/>
            </a:pPr>
            <a:endParaRPr kumimoji="0" lang="de-DE" sz="1800"/>
          </a:p>
        </p:txBody>
      </p:sp>
      <p:sp>
        <p:nvSpPr>
          <p:cNvPr id="55" name="Freihandform 54"/>
          <p:cNvSpPr/>
          <p:nvPr/>
        </p:nvSpPr>
        <p:spPr>
          <a:xfrm>
            <a:off x="3794125" y="3665538"/>
            <a:ext cx="2344738" cy="1530350"/>
          </a:xfrm>
          <a:custGeom>
            <a:avLst/>
            <a:gdLst>
              <a:gd name="connsiteX0" fmla="*/ 0 w 1746553"/>
              <a:gd name="connsiteY0" fmla="*/ 0 h 1530956"/>
              <a:gd name="connsiteX1" fmla="*/ 1746553 w 1746553"/>
              <a:gd name="connsiteY1" fmla="*/ 0 h 1530956"/>
              <a:gd name="connsiteX2" fmla="*/ 1746553 w 1746553"/>
              <a:gd name="connsiteY2" fmla="*/ 1530956 h 1530956"/>
              <a:gd name="connsiteX3" fmla="*/ 0 w 1746553"/>
              <a:gd name="connsiteY3" fmla="*/ 1530956 h 1530956"/>
              <a:gd name="connsiteX4" fmla="*/ 0 w 1746553"/>
              <a:gd name="connsiteY4" fmla="*/ 0 h 153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46553" h="1530956">
                <a:moveTo>
                  <a:pt x="0" y="0"/>
                </a:moveTo>
                <a:lnTo>
                  <a:pt x="1746553" y="0"/>
                </a:lnTo>
                <a:lnTo>
                  <a:pt x="1746553" y="1530956"/>
                </a:lnTo>
                <a:lnTo>
                  <a:pt x="0" y="153095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68580" tIns="68580" rIns="68580" bIns="68580"/>
          <a:lstStyle/>
          <a:p>
            <a:pPr marL="342900" indent="-342900" defTabSz="800100">
              <a:lnSpc>
                <a:spcPct val="90000"/>
              </a:lnSpc>
              <a:spcBef>
                <a:spcPct val="50000"/>
              </a:spcBef>
              <a:spcAft>
                <a:spcPct val="35000"/>
              </a:spcAft>
              <a:buFontTx/>
              <a:buAutoNum type="arabicPeriod" startAt="2"/>
              <a:defRPr/>
            </a:pPr>
            <a:r>
              <a:rPr kumimoji="0" lang="ru-RU" sz="1800" b="1">
                <a:solidFill>
                  <a:srgbClr val="000000"/>
                </a:solidFill>
                <a:ea typeface="ＭＳ Ｐゴシック" pitchFamily="34" charset="-128"/>
              </a:rPr>
              <a:t>Промышленная революция</a:t>
            </a:r>
            <a:r>
              <a:rPr kumimoji="0" lang="de-DE" sz="1800">
                <a:solidFill>
                  <a:schemeClr val="bg2"/>
                </a:solidFill>
                <a:ea typeface="ＭＳ Ｐゴシック" pitchFamily="34" charset="-128"/>
              </a:rPr>
              <a:t> </a:t>
            </a:r>
            <a: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  <a:t/>
            </a:r>
            <a:b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  <a:t/>
            </a:r>
            <a:b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kumimoji="0" lang="ru-RU" sz="1600">
                <a:solidFill>
                  <a:srgbClr val="000000"/>
                </a:solidFill>
                <a:ea typeface="ＭＳ Ｐゴシック" pitchFamily="34" charset="-128"/>
              </a:rPr>
              <a:t>Введение массового производства, основанного на разделении труда, с использованием электрической энергии</a:t>
            </a:r>
            <a:endParaRPr kumimoji="0" lang="de-DE" sz="16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56" name="Freihandform 55"/>
          <p:cNvSpPr/>
          <p:nvPr/>
        </p:nvSpPr>
        <p:spPr>
          <a:xfrm>
            <a:off x="6530975" y="3152775"/>
            <a:ext cx="2305050" cy="1876425"/>
          </a:xfrm>
          <a:custGeom>
            <a:avLst/>
            <a:gdLst>
              <a:gd name="connsiteX0" fmla="*/ 0 w 1746553"/>
              <a:gd name="connsiteY0" fmla="*/ 0 h 1530956"/>
              <a:gd name="connsiteX1" fmla="*/ 1746553 w 1746553"/>
              <a:gd name="connsiteY1" fmla="*/ 0 h 1530956"/>
              <a:gd name="connsiteX2" fmla="*/ 1746553 w 1746553"/>
              <a:gd name="connsiteY2" fmla="*/ 1530956 h 1530956"/>
              <a:gd name="connsiteX3" fmla="*/ 0 w 1746553"/>
              <a:gd name="connsiteY3" fmla="*/ 1530956 h 1530956"/>
              <a:gd name="connsiteX4" fmla="*/ 0 w 1746553"/>
              <a:gd name="connsiteY4" fmla="*/ 0 h 153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46553" h="1530956">
                <a:moveTo>
                  <a:pt x="0" y="0"/>
                </a:moveTo>
                <a:lnTo>
                  <a:pt x="1746553" y="0"/>
                </a:lnTo>
                <a:lnTo>
                  <a:pt x="1746553" y="1530956"/>
                </a:lnTo>
                <a:lnTo>
                  <a:pt x="0" y="153095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68580" tIns="68580" rIns="68580" bIns="68580"/>
          <a:lstStyle/>
          <a:p>
            <a:pPr marL="342900" indent="-342900" defTabSz="800100">
              <a:lnSpc>
                <a:spcPct val="90000"/>
              </a:lnSpc>
              <a:spcBef>
                <a:spcPct val="50000"/>
              </a:spcBef>
              <a:spcAft>
                <a:spcPct val="35000"/>
              </a:spcAft>
              <a:buFontTx/>
              <a:buAutoNum type="arabicPeriod" startAt="3"/>
              <a:defRPr/>
            </a:pPr>
            <a:r>
              <a:rPr kumimoji="0" lang="ru-RU" sz="1800" b="1">
                <a:solidFill>
                  <a:srgbClr val="000000"/>
                </a:solidFill>
                <a:ea typeface="ＭＳ Ｐゴシック" pitchFamily="34" charset="-128"/>
              </a:rPr>
              <a:t>Промышленная революция</a:t>
            </a:r>
            <a:r>
              <a:rPr kumimoji="0" lang="de-DE" sz="1800">
                <a:solidFill>
                  <a:schemeClr val="bg2"/>
                </a:solidFill>
                <a:ea typeface="ＭＳ Ｐゴシック" pitchFamily="34" charset="-128"/>
              </a:rPr>
              <a:t> </a:t>
            </a:r>
            <a: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  <a:t/>
            </a:r>
            <a:b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  <a:t/>
            </a:r>
            <a:b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kumimoji="0" lang="ru-RU" sz="1600">
                <a:solidFill>
                  <a:srgbClr val="000000"/>
                </a:solidFill>
                <a:ea typeface="ＭＳ Ｐゴシック" pitchFamily="34" charset="-128"/>
              </a:rPr>
              <a:t>Внедрение электроники и</a:t>
            </a:r>
            <a:r>
              <a:rPr kumimoji="0" lang="ru-RU" sz="1600" b="1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r>
              <a:rPr kumimoji="0" lang="de-DE" sz="1600">
                <a:solidFill>
                  <a:srgbClr val="000000"/>
                </a:solidFill>
                <a:ea typeface="ＭＳ Ｐゴシック" pitchFamily="34" charset="-128"/>
              </a:rPr>
              <a:t>IT</a:t>
            </a:r>
            <a:r>
              <a:rPr kumimoji="0" lang="ru-RU" sz="1600">
                <a:solidFill>
                  <a:srgbClr val="000000"/>
                </a:solidFill>
                <a:ea typeface="ＭＳ Ｐゴシック" pitchFamily="34" charset="-128"/>
              </a:rPr>
              <a:t> для повышения</a:t>
            </a:r>
            <a:r>
              <a:rPr kumimoji="0" lang="de-DE" sz="160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r>
              <a:rPr kumimoji="0" lang="ru-RU" sz="1600">
                <a:solidFill>
                  <a:srgbClr val="000000"/>
                </a:solidFill>
                <a:ea typeface="ＭＳ Ｐゴシック" pitchFamily="34" charset="-128"/>
              </a:rPr>
              <a:t>уровня автоматизации</a:t>
            </a:r>
            <a:endParaRPr kumimoji="0" lang="de-DE" sz="16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57" name="Freihandform 56"/>
          <p:cNvSpPr/>
          <p:nvPr/>
        </p:nvSpPr>
        <p:spPr>
          <a:xfrm>
            <a:off x="9412288" y="2571750"/>
            <a:ext cx="2343150" cy="1530350"/>
          </a:xfrm>
          <a:custGeom>
            <a:avLst/>
            <a:gdLst>
              <a:gd name="connsiteX0" fmla="*/ 0 w 1746553"/>
              <a:gd name="connsiteY0" fmla="*/ 0 h 1530956"/>
              <a:gd name="connsiteX1" fmla="*/ 1746553 w 1746553"/>
              <a:gd name="connsiteY1" fmla="*/ 0 h 1530956"/>
              <a:gd name="connsiteX2" fmla="*/ 1746553 w 1746553"/>
              <a:gd name="connsiteY2" fmla="*/ 1530956 h 1530956"/>
              <a:gd name="connsiteX3" fmla="*/ 0 w 1746553"/>
              <a:gd name="connsiteY3" fmla="*/ 1530956 h 1530956"/>
              <a:gd name="connsiteX4" fmla="*/ 0 w 1746553"/>
              <a:gd name="connsiteY4" fmla="*/ 0 h 153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46553" h="1530956">
                <a:moveTo>
                  <a:pt x="0" y="0"/>
                </a:moveTo>
                <a:lnTo>
                  <a:pt x="1746553" y="0"/>
                </a:lnTo>
                <a:lnTo>
                  <a:pt x="1746553" y="1530956"/>
                </a:lnTo>
                <a:lnTo>
                  <a:pt x="0" y="153095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68580" tIns="68580" rIns="68580" bIns="68580"/>
          <a:lstStyle/>
          <a:p>
            <a:pPr marL="342900" indent="-342900" defTabSz="800100">
              <a:lnSpc>
                <a:spcPct val="90000"/>
              </a:lnSpc>
              <a:spcBef>
                <a:spcPct val="50000"/>
              </a:spcBef>
              <a:spcAft>
                <a:spcPct val="35000"/>
              </a:spcAft>
              <a:buFontTx/>
              <a:buAutoNum type="arabicPeriod" startAt="4"/>
              <a:defRPr/>
            </a:pPr>
            <a:r>
              <a:rPr kumimoji="0" lang="ru-RU" sz="1800" b="1">
                <a:solidFill>
                  <a:srgbClr val="000000"/>
                </a:solidFill>
                <a:ea typeface="ＭＳ Ｐゴシック" pitchFamily="34" charset="-128"/>
              </a:rPr>
              <a:t>Промышленная революция</a:t>
            </a:r>
            <a:r>
              <a:rPr kumimoji="0" lang="de-DE" sz="1800">
                <a:solidFill>
                  <a:schemeClr val="bg2"/>
                </a:solidFill>
                <a:ea typeface="ＭＳ Ｐゴシック" pitchFamily="34" charset="-128"/>
              </a:rPr>
              <a:t> </a:t>
            </a:r>
            <a: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  <a:t/>
            </a:r>
            <a:b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  <a:t/>
            </a:r>
            <a:br>
              <a:rPr kumimoji="0" lang="de-DE" sz="1600" b="1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kumimoji="0" lang="ru-RU" sz="1600">
                <a:solidFill>
                  <a:srgbClr val="000000"/>
                </a:solidFill>
                <a:ea typeface="ＭＳ Ｐゴシック" pitchFamily="34" charset="-128"/>
              </a:rPr>
              <a:t>Внедрение виртуальных производств</a:t>
            </a:r>
            <a:endParaRPr kumimoji="0" lang="de-DE" sz="16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2304" name="Textfeld 57"/>
          <p:cNvSpPr txBox="1">
            <a:spLocks noChangeArrowheads="1"/>
          </p:cNvSpPr>
          <p:nvPr/>
        </p:nvSpPr>
        <p:spPr bwMode="auto">
          <a:xfrm>
            <a:off x="769938" y="3557588"/>
            <a:ext cx="1576387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  <a:spcBef>
                <a:spcPct val="50000"/>
              </a:spcBef>
            </a:pPr>
            <a:r>
              <a:rPr kumimoji="0" lang="ru-RU" sz="1800" b="1">
                <a:solidFill>
                  <a:schemeClr val="accent1"/>
                </a:solidFill>
              </a:rPr>
              <a:t>Конец 18 века</a:t>
            </a:r>
            <a:endParaRPr kumimoji="0" lang="de-DE" sz="1800" b="1">
              <a:solidFill>
                <a:schemeClr val="accent1"/>
              </a:solidFill>
            </a:endParaRPr>
          </a:p>
        </p:txBody>
      </p:sp>
      <p:sp>
        <p:nvSpPr>
          <p:cNvPr id="12305" name="Textfeld 58"/>
          <p:cNvSpPr txBox="1">
            <a:spLocks noChangeArrowheads="1"/>
          </p:cNvSpPr>
          <p:nvPr/>
        </p:nvSpPr>
        <p:spPr bwMode="auto">
          <a:xfrm>
            <a:off x="3497263" y="2995613"/>
            <a:ext cx="1576387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  <a:spcBef>
                <a:spcPct val="50000"/>
              </a:spcBef>
            </a:pPr>
            <a:r>
              <a:rPr kumimoji="0" lang="ru-RU" sz="1800" b="1">
                <a:solidFill>
                  <a:schemeClr val="accent1"/>
                </a:solidFill>
              </a:rPr>
              <a:t>Конец 19 века</a:t>
            </a:r>
            <a:endParaRPr kumimoji="0" lang="de-DE" sz="1800" b="1">
              <a:solidFill>
                <a:schemeClr val="accent1"/>
              </a:solidFill>
            </a:endParaRPr>
          </a:p>
        </p:txBody>
      </p:sp>
      <p:sp>
        <p:nvSpPr>
          <p:cNvPr id="12306" name="Textfeld 59"/>
          <p:cNvSpPr txBox="1">
            <a:spLocks noChangeArrowheads="1"/>
          </p:cNvSpPr>
          <p:nvPr/>
        </p:nvSpPr>
        <p:spPr bwMode="auto">
          <a:xfrm>
            <a:off x="6289675" y="2474913"/>
            <a:ext cx="512763" cy="28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  <a:spcBef>
                <a:spcPct val="50000"/>
              </a:spcBef>
            </a:pPr>
            <a:r>
              <a:rPr kumimoji="0" lang="de-DE" sz="1800" b="1">
                <a:solidFill>
                  <a:schemeClr val="accent1"/>
                </a:solidFill>
              </a:rPr>
              <a:t>1970</a:t>
            </a:r>
          </a:p>
        </p:txBody>
      </p:sp>
      <p:sp>
        <p:nvSpPr>
          <p:cNvPr id="12307" name="Textfeld 60"/>
          <p:cNvSpPr txBox="1">
            <a:spLocks noChangeArrowheads="1"/>
          </p:cNvSpPr>
          <p:nvPr/>
        </p:nvSpPr>
        <p:spPr bwMode="auto">
          <a:xfrm>
            <a:off x="9078913" y="1966913"/>
            <a:ext cx="514350" cy="28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  <a:spcBef>
                <a:spcPct val="50000"/>
              </a:spcBef>
            </a:pPr>
            <a:r>
              <a:rPr kumimoji="0" lang="de-DE" sz="1800" b="1">
                <a:solidFill>
                  <a:schemeClr val="accent1"/>
                </a:solidFill>
              </a:rPr>
              <a:t>2030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kt 2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314" name="think-cell Slide" r:id="rId4" imgW="360" imgH="360" progId="">
              <p:embed/>
            </p:oleObj>
          </a:graphicData>
        </a:graphic>
      </p:graphicFrame>
      <p:sp>
        <p:nvSpPr>
          <p:cNvPr id="13315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pPr eaLnBrk="1" hangingPunct="1"/>
            <a:r>
              <a:rPr lang="ru-RU" smtClean="0"/>
              <a:t>Четвертая промышленная революция </a:t>
            </a:r>
            <a:r>
              <a:rPr lang="en-GB" altLang="ru-RU" smtClean="0"/>
              <a:t>“</a:t>
            </a:r>
            <a:r>
              <a:rPr lang="ru-RU" altLang="ja-JP" smtClean="0"/>
              <a:t>Индустрия 4.0</a:t>
            </a:r>
            <a:r>
              <a:rPr lang="en-GB" altLang="ru-RU" smtClean="0"/>
              <a:t>”</a:t>
            </a:r>
            <a:endParaRPr lang="en-US" b="0" smtClean="0"/>
          </a:p>
        </p:txBody>
      </p:sp>
      <p:sp>
        <p:nvSpPr>
          <p:cNvPr id="13316" name="Rectangle 18"/>
          <p:cNvSpPr>
            <a:spLocks noChangeArrowheads="1"/>
          </p:cNvSpPr>
          <p:nvPr/>
        </p:nvSpPr>
        <p:spPr bwMode="gray">
          <a:xfrm>
            <a:off x="4229100" y="1687513"/>
            <a:ext cx="76993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kumimoji="0" lang="ru-RU" sz="2000" b="1">
                <a:solidFill>
                  <a:schemeClr val="tx1"/>
                </a:solidFill>
              </a:rPr>
              <a:t>Основные черты </a:t>
            </a:r>
            <a:endParaRPr kumimoji="0" lang="en-US" sz="2000" b="1">
              <a:solidFill>
                <a:schemeClr val="tx1"/>
              </a:solidFill>
            </a:endParaRPr>
          </a:p>
        </p:txBody>
      </p:sp>
      <p:sp>
        <p:nvSpPr>
          <p:cNvPr id="13317" name="Ellipse 3"/>
          <p:cNvSpPr>
            <a:spLocks/>
          </p:cNvSpPr>
          <p:nvPr/>
        </p:nvSpPr>
        <p:spPr bwMode="auto">
          <a:xfrm>
            <a:off x="0" y="1412875"/>
            <a:ext cx="3876675" cy="4014788"/>
          </a:xfrm>
          <a:custGeom>
            <a:avLst/>
            <a:gdLst>
              <a:gd name="T0" fmla="*/ 311755443 w 2040567"/>
              <a:gd name="T1" fmla="*/ 0 h 2113077"/>
              <a:gd name="T2" fmla="*/ 346273120 w 2040567"/>
              <a:gd name="T3" fmla="*/ 122533781 h 2113077"/>
              <a:gd name="T4" fmla="*/ 110152700 w 2040567"/>
              <a:gd name="T5" fmla="*/ 358801977 h 2113077"/>
              <a:gd name="T6" fmla="*/ 0 w 2040567"/>
              <a:gd name="T7" fmla="*/ 331440915 h 2113077"/>
              <a:gd name="T8" fmla="*/ 0 60000 65536"/>
              <a:gd name="T9" fmla="*/ 0 60000 65536"/>
              <a:gd name="T10" fmla="*/ 0 60000 65536"/>
              <a:gd name="T11" fmla="*/ 0 60000 65536"/>
              <a:gd name="T12" fmla="*/ 0 w 2040567"/>
              <a:gd name="T13" fmla="*/ 0 h 2113077"/>
              <a:gd name="T14" fmla="*/ 2040567 w 2040567"/>
              <a:gd name="T15" fmla="*/ 2113077 h 211307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040567" h="2113077">
                <a:moveTo>
                  <a:pt x="1837155" y="0"/>
                </a:moveTo>
                <a:cubicBezTo>
                  <a:pt x="1966730" y="209749"/>
                  <a:pt x="2040567" y="457068"/>
                  <a:pt x="2040567" y="721633"/>
                </a:cubicBezTo>
                <a:cubicBezTo>
                  <a:pt x="2040567" y="1490106"/>
                  <a:pt x="1417596" y="2113077"/>
                  <a:pt x="649123" y="2113077"/>
                </a:cubicBezTo>
                <a:cubicBezTo>
                  <a:pt x="414562" y="2113077"/>
                  <a:pt x="193556" y="2055038"/>
                  <a:pt x="0" y="1951940"/>
                </a:cubicBezTo>
              </a:path>
            </a:pathLst>
          </a:custGeom>
          <a:noFill/>
          <a:ln w="19050">
            <a:solidFill>
              <a:srgbClr val="55A0B9"/>
            </a:solidFill>
            <a:round/>
            <a:headEnd/>
            <a:tailEnd/>
          </a:ln>
        </p:spPr>
        <p:txBody>
          <a:bodyPr lIns="108000" tIns="54000" rIns="108000" bIns="54000" anchor="ctr"/>
          <a:lstStyle/>
          <a:p>
            <a:endParaRPr lang="ru-RU"/>
          </a:p>
        </p:txBody>
      </p:sp>
      <p:sp>
        <p:nvSpPr>
          <p:cNvPr id="13318" name="Rectangle 19"/>
          <p:cNvSpPr>
            <a:spLocks noChangeArrowheads="1"/>
          </p:cNvSpPr>
          <p:nvPr/>
        </p:nvSpPr>
        <p:spPr bwMode="gray">
          <a:xfrm>
            <a:off x="4965700" y="2692400"/>
            <a:ext cx="675005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6700" lvl="1" indent="-266700">
              <a:spcBef>
                <a:spcPts val="1200"/>
              </a:spcBef>
            </a:pPr>
            <a:r>
              <a:rPr kumimoji="0" lang="ru-RU" sz="1800">
                <a:solidFill>
                  <a:schemeClr val="tx1"/>
                </a:solidFill>
              </a:rPr>
              <a:t>Цифровизация производств</a:t>
            </a:r>
            <a:endParaRPr kumimoji="0" lang="en-US" sz="1800">
              <a:solidFill>
                <a:schemeClr val="tx1"/>
              </a:solidFill>
            </a:endParaRPr>
          </a:p>
        </p:txBody>
      </p:sp>
      <p:sp>
        <p:nvSpPr>
          <p:cNvPr id="13319" name="Rectangle 19"/>
          <p:cNvSpPr>
            <a:spLocks noChangeArrowheads="1"/>
          </p:cNvSpPr>
          <p:nvPr/>
        </p:nvSpPr>
        <p:spPr bwMode="gray">
          <a:xfrm>
            <a:off x="4965700" y="3644900"/>
            <a:ext cx="675005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42900" lvl="1" indent="-342900">
              <a:spcBef>
                <a:spcPts val="1200"/>
              </a:spcBef>
            </a:pPr>
            <a:r>
              <a:rPr kumimoji="0" lang="ru-RU" sz="1800">
                <a:solidFill>
                  <a:schemeClr val="tx1"/>
                </a:solidFill>
              </a:rPr>
              <a:t>Взаимодействие оборудования в виртуальном пространстве</a:t>
            </a:r>
            <a:endParaRPr kumimoji="0" lang="de-DE" sz="1800">
              <a:solidFill>
                <a:schemeClr val="tx1"/>
              </a:solidFill>
            </a:endParaRPr>
          </a:p>
        </p:txBody>
      </p:sp>
      <p:sp>
        <p:nvSpPr>
          <p:cNvPr id="13320" name="Rectangle 19"/>
          <p:cNvSpPr>
            <a:spLocks noChangeArrowheads="1"/>
          </p:cNvSpPr>
          <p:nvPr/>
        </p:nvSpPr>
        <p:spPr bwMode="gray">
          <a:xfrm>
            <a:off x="4965700" y="4597400"/>
            <a:ext cx="675005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6700" lvl="1" indent="-266700">
              <a:spcBef>
                <a:spcPts val="1200"/>
              </a:spcBef>
            </a:pPr>
            <a:r>
              <a:rPr kumimoji="0" lang="ru-RU" sz="1800">
                <a:solidFill>
                  <a:srgbClr val="000000"/>
                </a:solidFill>
              </a:rPr>
              <a:t>Инновации</a:t>
            </a:r>
            <a:endParaRPr kumimoji="0" lang="en-US" sz="1800">
              <a:solidFill>
                <a:srgbClr val="000000"/>
              </a:solidFill>
            </a:endParaRPr>
          </a:p>
        </p:txBody>
      </p:sp>
      <p:cxnSp>
        <p:nvCxnSpPr>
          <p:cNvPr id="13321" name="Gerade Verbindung 11"/>
          <p:cNvCxnSpPr>
            <a:cxnSpLocks noChangeShapeType="1"/>
          </p:cNvCxnSpPr>
          <p:nvPr/>
        </p:nvCxnSpPr>
        <p:spPr bwMode="auto">
          <a:xfrm>
            <a:off x="4229100" y="2354263"/>
            <a:ext cx="748665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 type="none" w="med" len="lg"/>
          </a:ln>
        </p:spPr>
      </p:cxnSp>
      <p:cxnSp>
        <p:nvCxnSpPr>
          <p:cNvPr id="13322" name="Gerade Verbindung 33"/>
          <p:cNvCxnSpPr>
            <a:cxnSpLocks noChangeShapeType="1"/>
          </p:cNvCxnSpPr>
          <p:nvPr/>
        </p:nvCxnSpPr>
        <p:spPr bwMode="auto">
          <a:xfrm>
            <a:off x="655638" y="6165850"/>
            <a:ext cx="11060112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 type="none" w="med" len="lg"/>
          </a:ln>
        </p:spPr>
      </p:cxnSp>
      <p:cxnSp>
        <p:nvCxnSpPr>
          <p:cNvPr id="13323" name="Gerade Verbindung 34"/>
          <p:cNvCxnSpPr>
            <a:cxnSpLocks noChangeShapeType="1"/>
          </p:cNvCxnSpPr>
          <p:nvPr/>
        </p:nvCxnSpPr>
        <p:spPr bwMode="auto">
          <a:xfrm>
            <a:off x="4229100" y="3306763"/>
            <a:ext cx="748665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 type="none" w="med" len="lg"/>
          </a:ln>
        </p:spPr>
      </p:cxnSp>
      <p:cxnSp>
        <p:nvCxnSpPr>
          <p:cNvPr id="13324" name="Gerade Verbindung 35"/>
          <p:cNvCxnSpPr>
            <a:cxnSpLocks noChangeShapeType="1"/>
          </p:cNvCxnSpPr>
          <p:nvPr/>
        </p:nvCxnSpPr>
        <p:spPr bwMode="auto">
          <a:xfrm>
            <a:off x="3876675" y="4260850"/>
            <a:ext cx="783907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 type="none" w="med" len="lg"/>
          </a:ln>
        </p:spPr>
      </p:cxnSp>
      <p:cxnSp>
        <p:nvCxnSpPr>
          <p:cNvPr id="13325" name="Gerade Verbindung 36"/>
          <p:cNvCxnSpPr>
            <a:cxnSpLocks noChangeShapeType="1"/>
          </p:cNvCxnSpPr>
          <p:nvPr/>
        </p:nvCxnSpPr>
        <p:spPr bwMode="auto">
          <a:xfrm>
            <a:off x="2949575" y="5213350"/>
            <a:ext cx="876617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 type="none" w="med" len="lg"/>
          </a:ln>
        </p:spPr>
      </p:cxnSp>
      <p:sp>
        <p:nvSpPr>
          <p:cNvPr id="50" name="Rectangle 19"/>
          <p:cNvSpPr/>
          <p:nvPr/>
        </p:nvSpPr>
        <p:spPr bwMode="gray">
          <a:xfrm>
            <a:off x="4229100" y="2522538"/>
            <a:ext cx="285750" cy="615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spcCol="72000">
            <a:spAutoFit/>
          </a:bodyPr>
          <a:lstStyle/>
          <a:p>
            <a:pPr marL="266700" lvl="1" indent="-266700">
              <a:spcBef>
                <a:spcPts val="1200"/>
              </a:spcBef>
              <a:defRPr/>
            </a:pPr>
            <a:r>
              <a:rPr kumimoji="0" lang="en-US" sz="4000" dirty="0">
                <a:solidFill>
                  <a:schemeClr val="accent5"/>
                </a:solidFill>
                <a:ea typeface="ＭＳ Ｐゴシック" charset="-128"/>
              </a:rPr>
              <a:t>1</a:t>
            </a:r>
          </a:p>
        </p:txBody>
      </p:sp>
      <p:sp>
        <p:nvSpPr>
          <p:cNvPr id="54" name="Rectangle 19"/>
          <p:cNvSpPr/>
          <p:nvPr/>
        </p:nvSpPr>
        <p:spPr bwMode="gray">
          <a:xfrm>
            <a:off x="4229100" y="3476625"/>
            <a:ext cx="285750" cy="6143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spcCol="72000">
            <a:spAutoFit/>
          </a:bodyPr>
          <a:lstStyle/>
          <a:p>
            <a:pPr marL="266700" lvl="1" indent="-266700">
              <a:spcBef>
                <a:spcPts val="1200"/>
              </a:spcBef>
              <a:defRPr/>
            </a:pPr>
            <a:r>
              <a:rPr kumimoji="0" lang="en-US" sz="4000" dirty="0">
                <a:solidFill>
                  <a:schemeClr val="accent5"/>
                </a:solidFill>
                <a:ea typeface="ＭＳ Ｐゴシック" charset="-128"/>
              </a:rPr>
              <a:t>2</a:t>
            </a:r>
          </a:p>
        </p:txBody>
      </p:sp>
      <p:sp>
        <p:nvSpPr>
          <p:cNvPr id="55" name="Rectangle 19"/>
          <p:cNvSpPr/>
          <p:nvPr/>
        </p:nvSpPr>
        <p:spPr bwMode="gray">
          <a:xfrm>
            <a:off x="4229100" y="4429125"/>
            <a:ext cx="285750" cy="615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spcCol="72000">
            <a:spAutoFit/>
          </a:bodyPr>
          <a:lstStyle/>
          <a:p>
            <a:pPr marL="266700" lvl="1" indent="-266700">
              <a:spcBef>
                <a:spcPts val="1200"/>
              </a:spcBef>
              <a:defRPr/>
            </a:pPr>
            <a:r>
              <a:rPr kumimoji="0" lang="en-US" sz="4000" dirty="0">
                <a:solidFill>
                  <a:schemeClr val="accent5"/>
                </a:solidFill>
                <a:ea typeface="ＭＳ Ｐゴシック" charset="-128"/>
              </a:rPr>
              <a:t>3</a:t>
            </a:r>
          </a:p>
        </p:txBody>
      </p:sp>
      <p:sp>
        <p:nvSpPr>
          <p:cNvPr id="56" name="Rectangle 19"/>
          <p:cNvSpPr/>
          <p:nvPr/>
        </p:nvSpPr>
        <p:spPr bwMode="gray">
          <a:xfrm>
            <a:off x="4229100" y="5381625"/>
            <a:ext cx="285750" cy="615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spcCol="72000">
            <a:spAutoFit/>
          </a:bodyPr>
          <a:lstStyle/>
          <a:p>
            <a:pPr marL="266700" lvl="1" indent="-266700">
              <a:spcBef>
                <a:spcPts val="1200"/>
              </a:spcBef>
              <a:defRPr/>
            </a:pPr>
            <a:r>
              <a:rPr kumimoji="0" lang="en-US" sz="4000" dirty="0">
                <a:solidFill>
                  <a:schemeClr val="accent5"/>
                </a:solidFill>
                <a:ea typeface="ＭＳ Ｐゴシック" charset="-128"/>
              </a:rPr>
              <a:t>4</a:t>
            </a:r>
          </a:p>
        </p:txBody>
      </p:sp>
      <p:cxnSp>
        <p:nvCxnSpPr>
          <p:cNvPr id="13330" name="Gerade Verbindung 23"/>
          <p:cNvCxnSpPr>
            <a:cxnSpLocks noChangeShapeType="1"/>
          </p:cNvCxnSpPr>
          <p:nvPr/>
        </p:nvCxnSpPr>
        <p:spPr bwMode="auto">
          <a:xfrm>
            <a:off x="4711700" y="2522538"/>
            <a:ext cx="0" cy="615950"/>
          </a:xfrm>
          <a:prstGeom prst="line">
            <a:avLst/>
          </a:prstGeom>
          <a:noFill/>
          <a:ln w="19050">
            <a:solidFill>
              <a:srgbClr val="006487"/>
            </a:solidFill>
            <a:round/>
            <a:headEnd/>
            <a:tailEnd type="none" w="med" len="lg"/>
          </a:ln>
        </p:spPr>
      </p:cxnSp>
      <p:cxnSp>
        <p:nvCxnSpPr>
          <p:cNvPr id="13331" name="Gerade Verbindung 57"/>
          <p:cNvCxnSpPr>
            <a:cxnSpLocks noChangeShapeType="1"/>
          </p:cNvCxnSpPr>
          <p:nvPr/>
        </p:nvCxnSpPr>
        <p:spPr bwMode="auto">
          <a:xfrm>
            <a:off x="4711700" y="3476625"/>
            <a:ext cx="0" cy="614363"/>
          </a:xfrm>
          <a:prstGeom prst="line">
            <a:avLst/>
          </a:prstGeom>
          <a:noFill/>
          <a:ln w="19050">
            <a:solidFill>
              <a:srgbClr val="006487"/>
            </a:solidFill>
            <a:round/>
            <a:headEnd/>
            <a:tailEnd type="none" w="med" len="lg"/>
          </a:ln>
        </p:spPr>
      </p:cxnSp>
      <p:cxnSp>
        <p:nvCxnSpPr>
          <p:cNvPr id="13332" name="Gerade Verbindung 58"/>
          <p:cNvCxnSpPr>
            <a:cxnSpLocks noChangeShapeType="1"/>
          </p:cNvCxnSpPr>
          <p:nvPr/>
        </p:nvCxnSpPr>
        <p:spPr bwMode="auto">
          <a:xfrm>
            <a:off x="4711700" y="4429125"/>
            <a:ext cx="0" cy="615950"/>
          </a:xfrm>
          <a:prstGeom prst="line">
            <a:avLst/>
          </a:prstGeom>
          <a:noFill/>
          <a:ln w="19050">
            <a:solidFill>
              <a:srgbClr val="006487"/>
            </a:solidFill>
            <a:round/>
            <a:headEnd/>
            <a:tailEnd type="none" w="med" len="lg"/>
          </a:ln>
        </p:spPr>
      </p:cxnSp>
      <p:cxnSp>
        <p:nvCxnSpPr>
          <p:cNvPr id="13333" name="Gerade Verbindung 59"/>
          <p:cNvCxnSpPr>
            <a:cxnSpLocks noChangeShapeType="1"/>
          </p:cNvCxnSpPr>
          <p:nvPr/>
        </p:nvCxnSpPr>
        <p:spPr bwMode="auto">
          <a:xfrm>
            <a:off x="4711700" y="5381625"/>
            <a:ext cx="0" cy="615950"/>
          </a:xfrm>
          <a:prstGeom prst="line">
            <a:avLst/>
          </a:prstGeom>
          <a:noFill/>
          <a:ln w="19050">
            <a:solidFill>
              <a:srgbClr val="006487"/>
            </a:solidFill>
            <a:round/>
            <a:headEnd/>
            <a:tailEnd type="none" w="med" len="lg"/>
          </a:ln>
        </p:spPr>
      </p:cxnSp>
      <p:sp>
        <p:nvSpPr>
          <p:cNvPr id="13334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ts val="300"/>
              </a:spcBef>
            </a:pPr>
            <a:endParaRPr kumimoji="0" lang="ru-RU" sz="100">
              <a:solidFill>
                <a:srgbClr val="FFFFFF"/>
              </a:solidFill>
            </a:endParaRPr>
          </a:p>
        </p:txBody>
      </p:sp>
      <p:sp>
        <p:nvSpPr>
          <p:cNvPr id="13335" name="TextBox 1"/>
          <p:cNvSpPr txBox="1">
            <a:spLocks noChangeArrowheads="1"/>
          </p:cNvSpPr>
          <p:nvPr/>
        </p:nvSpPr>
        <p:spPr bwMode="auto">
          <a:xfrm>
            <a:off x="11664950" y="1922463"/>
            <a:ext cx="0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ts val="300"/>
              </a:spcBef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13336" name="TextBox 2"/>
          <p:cNvSpPr txBox="1">
            <a:spLocks noChangeArrowheads="1"/>
          </p:cNvSpPr>
          <p:nvPr/>
        </p:nvSpPr>
        <p:spPr bwMode="auto">
          <a:xfrm>
            <a:off x="10885488" y="2847975"/>
            <a:ext cx="0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ts val="300"/>
              </a:spcBef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13337" name="TextBox 3"/>
          <p:cNvSpPr txBox="1">
            <a:spLocks noChangeArrowheads="1"/>
          </p:cNvSpPr>
          <p:nvPr/>
        </p:nvSpPr>
        <p:spPr bwMode="auto">
          <a:xfrm>
            <a:off x="9398000" y="3792538"/>
            <a:ext cx="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ts val="300"/>
              </a:spcBef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13338" name="Rectangle 19"/>
          <p:cNvSpPr>
            <a:spLocks noChangeArrowheads="1"/>
          </p:cNvSpPr>
          <p:nvPr/>
        </p:nvSpPr>
        <p:spPr bwMode="gray">
          <a:xfrm>
            <a:off x="4973638" y="5565775"/>
            <a:ext cx="675005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66700" lvl="1" indent="-266700">
              <a:spcBef>
                <a:spcPts val="1200"/>
              </a:spcBef>
            </a:pPr>
            <a:r>
              <a:rPr kumimoji="0" lang="ru-RU" sz="1800">
                <a:solidFill>
                  <a:srgbClr val="000000"/>
                </a:solidFill>
              </a:rPr>
              <a:t>Модульные производства</a:t>
            </a:r>
            <a:endParaRPr kumimoji="0" lang="en-US" sz="1800">
              <a:solidFill>
                <a:srgbClr val="000000"/>
              </a:solidFill>
            </a:endParaRPr>
          </a:p>
        </p:txBody>
      </p:sp>
      <p:pic>
        <p:nvPicPr>
          <p:cNvPr id="13339" name="Изображение 9"/>
          <p:cNvPicPr>
            <a:picLocks noChangeAspect="1"/>
          </p:cNvPicPr>
          <p:nvPr/>
        </p:nvPicPr>
        <p:blipFill>
          <a:blip r:embed="rId5"/>
          <a:srcRect b="13844"/>
          <a:stretch>
            <a:fillRect/>
          </a:stretch>
        </p:blipFill>
        <p:spPr bwMode="auto">
          <a:xfrm>
            <a:off x="269875" y="2217738"/>
            <a:ext cx="3054350" cy="191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CUSTOMER" val="Siemens_I_2013_16x9"/>
  <p:tag name="CDT_CUSTOMER_NAME" val="Siemens AG, Industry Sector"/>
  <p:tag name="CDT_VERSION" val="4.1.2.0"/>
  <p:tag name="CDT_CREATORVERSION" val="4.1.2.0"/>
  <p:tag name="CDT_TEMPLATEVERSION" val="2.0.0"/>
  <p:tag name="CDT_LANGUAGE" val="1033"/>
  <p:tag name="CDT_FONTSET" val="Arial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6&quot;&gt;&lt;elem m_fUsage=&quot;1.90973790000000010000E+000&quot;&gt;&lt;m_msothmcolidx val=&quot;0&quot;/&gt;&lt;m_rgb r=&quot;64&quot; g=&quot;7d&quot; b=&quot;2d&quot;/&gt;&lt;m_ppcolschidx tagver0=&quot;23004&quot; tagname0=&quot;m_ppcolschidxUNRECOGNIZED&quot; val=&quot;0&quot;/&gt;&lt;m_nBrightness val=&quot;0&quot;/&gt;&lt;/elem&gt;&lt;elem m_fUsage=&quot;1.87291953648100010000E+000&quot;&gt;&lt;m_msothmcolidx val=&quot;0&quot;/&gt;&lt;m_rgb r=&quot;55&quot; g=&quot;a0&quot; b=&quot;b9&quot;/&gt;&lt;m_ppcolschidx tagver0=&quot;23004&quot; tagname0=&quot;m_ppcolschidxUNRECOGNIZED&quot; val=&quot;0&quot;/&gt;&lt;m_nBrightness val=&quot;0&quot;/&gt;&lt;/elem&gt;&lt;elem m_fUsage=&quot;1.54609892910000000000E+000&quot;&gt;&lt;m_msothmcolidx val=&quot;0&quot;/&gt;&lt;m_rgb r=&quot;0&quot; g=&quot;87&quot; b=&quot;87&quot;/&gt;&lt;m_ppcolschidx tagver0=&quot;23004&quot; tagname0=&quot;m_ppcolschidxUNRECOGNIZED&quot; val=&quot;0&quot;/&gt;&lt;m_nBrightness val=&quot;0&quot;/&gt;&lt;/elem&gt;&lt;elem m_fUsage=&quot;1.29699717892290020000E+000&quot;&gt;&lt;m_msothmcolidx val=&quot;0&quot;/&gt;&lt;m_rgb r=&quot;0&quot; g=&quot;64&quot; b=&quot;87&quot;/&gt;&lt;m_ppcolschidx tagver0=&quot;23004&quot; tagname0=&quot;m_ppcolschidxUNRECOGNIZED&quot; val=&quot;0&quot;/&gt;&lt;m_nBrightness val=&quot;0&quot;/&gt;&lt;/elem&gt;&lt;elem m_fUsage=&quot;6.56100000000000130000E-001&quot;&gt;&lt;m_msothmcolidx val=&quot;0&quot;/&gt;&lt;m_rgb r=&quot;aa&quot; g=&quot;b4&quot; b=&quot;14&quot;/&gt;&lt;m_ppcolschidx tagver0=&quot;23004&quot; tagname0=&quot;m_ppcolschidxUNRECOGNIZED&quot; val=&quot;0&quot;/&gt;&lt;m_nBrightness val=&quot;0&quot;/&gt;&lt;/elem&gt;&lt;elem m_fUsage=&quot;4.30467210000000160000E-001&quot;&gt;&lt;m_msothmcolidx val=&quot;0&quot;/&gt;&lt;m_rgb r=&quot;32&quot; g=&quot;86&quot; b=&quot;f0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EKKOFORMATS" val="&lt;?xml version=&quot;1.0&quot; encoding=&quot;utf-8&quot;?&gt;&lt;MekkoFormats&gt;&lt;NumberFormat DecimalSeparator=&quot;,&quot; ThousandSeparator=&quot;.&quot; NegativeNumberFormat=&quot;1&quot; /&gt;&lt;/MekkoFormats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  <p:tag name="CDT_FILLUNVISIBLE" val="True"/>
  <p:tag name="CDT_LINEUNVISIBLE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  <p:tag name="CDT_FILLUNVISIBLE" val="True"/>
  <p:tag name="CDT_LINEUNVISIBLE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406,500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809,1249"/>
  <p:tag name="CDT_PROT_WIDTH" val="113,375"/>
  <p:tag name="CDT_PROT_HEIGHT" val="63,3750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906"/>
  <p:tag name="CDT_PROT_LEFT" val="212,1243"/>
  <p:tag name="CDT_PROT_WIDTH" val="507,8756"/>
  <p:tag name="CDT_PROT_HEIGHT" val="20,4094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809,1142"/>
  <p:tag name="CDT_PROT_WIDTH" val="113,3858"/>
  <p:tag name="CDT_PROT_HEIGHT" val="63,5062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  <p:tag name="CDT_FILLUNVISIBLE" val="True"/>
  <p:tag name="CDT_LINEUNVISIBLE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  <p:tag name="CDT_FILLUNVISIBLE" val="True"/>
  <p:tag name="CDT_LINEUNVISIBLE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ELETE_ONEVENT_NEWPRES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Title slide - Big bar down"/>
  <p:tag name="CDT_SLIDE_NAME_GER" val="Titelfolie - Big Bar unten"/>
  <p:tag name="CDT_ORIGINAL_DESIGNS_NAME" val="Siemens 2013 – 16:9"/>
  <p:tag name="CDT_ORIGINAL_MASTERS_NAME" val="Title (big bar down)"/>
  <p:tag name="CDT_ORIGINAL_LAYOUT_TYPE" val="1"/>
  <p:tag name="CDT_DEFAULT_SLIDE" val="True"/>
  <p:tag name="CDT_TITLE2" val=""/>
  <p:tag name="CDT_TITLE3" val=""/>
  <p:tag name="CDT_NAVBARONTHISSLIDE" val="True"/>
  <p:tag name="CDT_DESIGNS_NAME" val="Siemens 2013 – 16:9"/>
  <p:tag name="CDT_MASTERS_NAME" val="Title (big bar down)"/>
  <p:tag name="CDT_LAYOUT_TYPE" val="1"/>
  <p:tag name="CDT_INTERSECT_SLIDE" val="False"/>
  <p:tag name="CDT_OLDSLIDEHIDDEN" val="False"/>
  <p:tag name="CDT_OLDSLIDEINDEX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0l80_BTEqgy04WFPhS4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J4i.seIkWicRkeYwycB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QA2gplskOJpYBd6sX2u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0l80_BTEqgy04WFPhS4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J4i.seIkWicRkeYwycB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QA2gplskOJpYBd6sX2u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Title slide - Big bar down"/>
  <p:tag name="CDT_SLIDE_NAME_GER" val="Titelfolie - Big Bar unten"/>
  <p:tag name="CDT_ORIGINAL_DESIGNS_NAME" val="Siemens 2013 – 16:9"/>
  <p:tag name="CDT_ORIGINAL_MASTERS_NAME" val="Title (big bar down)"/>
  <p:tag name="CDT_ORIGINAL_LAYOUT_TYPE" val="1"/>
  <p:tag name="CDT_DEFAULT_SLIDE" val="True"/>
  <p:tag name="CDT_TITLE2" val=""/>
  <p:tag name="CDT_TITLE3" val=""/>
  <p:tag name="CDT_NAVBARONTHISSLIDE" val="True"/>
  <p:tag name="CDT_DESIGNS_NAME" val="Siemens 2013 – 16:9"/>
  <p:tag name="CDT_MASTERS_NAME" val="Title (big bar down)"/>
  <p:tag name="CDT_LAYOUT_TYPE" val="1"/>
  <p:tag name="CDT_INTERSECT_SLIDE" val="False"/>
  <p:tag name="CDT_OLDSLIDEHIDDEN" val="False"/>
  <p:tag name="CDT_OLDSLIDEINDEX" val="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Empty content slide"/>
  <p:tag name="CDT_SLIDE_NAME_FRE" val="Empty content slide"/>
  <p:tag name="CDT_SLIDE_NAME_GER" val="Leere Inhaltsfolie"/>
  <p:tag name="CDT_SLIDE_NAME_SPA" val="Empty content slide"/>
  <p:tag name="CDT_SLIDE_NAME_ITA" val="Empty content slide"/>
  <p:tag name="CDT_ORIGINAL_DESIGNS_NAME" val="Siemens 2013 – 4:3"/>
  <p:tag name="CDT_ORIGINAL_MASTERS_NAME" val="One object (large)"/>
  <p:tag name="CDT_ORIGINAL_LAYOUT_TYPE" val="16"/>
  <p:tag name="CDT_DEFAULT_SLIDE" val="True"/>
  <p:tag name="CDT_OLDSLIDEHIDDEN" val="False"/>
  <p:tag name="CDT_OLDSLIDEINDEX" val="4"/>
  <p:tag name="CDT_DESIGNS_NAME" val="Siemens 2013 – 4:3"/>
  <p:tag name="CDT_MASTERS_NAME" val="Two rows"/>
  <p:tag name="CDT_LAYOUT_TYPE" val="32"/>
  <p:tag name="CDT_INTERSECT_SLIDE" val="False"/>
  <p:tag name="CDT_NAVBARONTHISSLIDE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7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7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DESIGNS_NAME" val="Siemens 2013 – 16:9"/>
  <p:tag name="CDT_MASTERS_NAME" val="Free Content"/>
  <p:tag name="CDT_LAYOUT_TYPE" val="11"/>
  <p:tag name="CDT_INTERSECT_SLIDE" val="False"/>
  <p:tag name="CDT_OLDSLIDEHIDDEN" val="False"/>
  <p:tag name="CDT_OLDSLIDEINDEX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LaPYtFp0qxtqazkAvcY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j5xj4qDky9uexmRmjlz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srIVt9jkizEaw36JRtZ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36zADV8kKgjBEQNS0td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Jw539_xkS.D8NPyFn39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QI5L.zEEODG0PMIppAJ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xYDOaiwUGEAd._dd_aS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NHeJ0nw0KQMJ7O8x.ef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xJO7oALUCR66g1ClcNa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MHx4xgVUK2G2MqtQbot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iIdY.uwUedGeVMISsEh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siquY3v0WIlqggXCVvY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_pdkgKiEKkr_ac2d1Lp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wMHgviq0G_YlWvOMkS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1TxKj37UicJc8YsjIqL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33t.B5_U6Wi2hEaXMZy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N9ZD_qcky90wY7j1ap6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ikQy_3D0WZmV5USRz_a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dRXgWJ_4Uef9Cnm8E5Zm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f1Gpcpn0yWchQkZkqhO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6Gfj0vRUGNSqEDWQ2vk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PxGM2SxkeduhnQaABA4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BLWi_L5kaKrcYBZXXtt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KsmUAA80iHb4Xb9LfU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o7Jqm3FEuY8XkUfUhcS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fP9.gefEODeReiscFGq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L8kickz0WpZYiamY1og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z2Kyxbl0S9PlKdy7zSr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tU3s4X_kSbX.9xTNQ7G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6_RlEATka8tvccFHBXi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J3ECdEbECV_vU9MUzWE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Opj89QWkCpZxc1JDC4l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WW9XSlZ0.Th0eS0NG_4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8fuyXIwUSCTB46OFQT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IGJj8blUairoeN7qYJu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bbV37hqUeV2fbMVgNm5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QuqmA9D0ylTQq.iBF6F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oEHarjlkyk4zlVUSjLt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6.esDSMnUKeZoR7bTLAw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VzId0Q20Cx_2QqG9KVT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JdF9LiNkKpnxh_ezdoL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sJafAIG0em544MVQMmC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7fIrZD10aW39h5oFoiR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_xLrT3GEKjjNh98ts_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906"/>
  <p:tag name="CDT_PROT_LEFT" val="212,1243"/>
  <p:tag name="CDT_PROT_WIDTH" val="507,8756"/>
  <p:tag name="CDT_PROT_HEIGHT" val="20,4094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GFcd9OXk.b48UuopHq1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VVIeskPki36p3JLgw73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FgTIZeLku6yVwF.j_uh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Zj74iN1067ymSvtnhtY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D18_l_wUaIV9zPAD0dv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3b2CyEQ06VqCDa4fZj2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tXreLqqUWOSYLk_JanI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O3cbuky0OK25Vw1xzWB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Y3UvO.VEG_N5tNuYChy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Dqt3Z.wECtbHnR77gZ3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Q4J69p3bUO2RgBAOsKct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a2_QsZDk6M0N2lwRESP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cJlvL_6km2DmQ6Ri0yg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fjjHdhPk69DlQiONQ3Q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iAzB8nvkCiJQ5AbPKOv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2Hun0aOEGbJnB5GYyga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YkVTWeQUW_wFJq2oXUv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uT2mtqm0WNcoYBEOUhu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roKv4Z40a_iT3p39TJo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JvN5S1qEO19yuEZXiGb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_dDU6VQUOosAZSZp875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kNnLWfuUu8cmdQvKKp3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4pUt1uVkux3cGjBIpvF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YUSHpblEyt1kHdJ3nX.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C1x9ISSkymsVVBxjTVS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6y7TnuQUSMvLXmCSVsx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Ozq5qwIUeB1blOroAGl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xXZaxtREaB92y1vUe5x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sJG4OL7UWZuiZTXm.21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2VxSvfukuZd6YZhK2W5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FJjABrM0mxT2yVNTnzL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786WsjDESaTHPjQLkAy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T2Ibt2T0OlgbRkIooSL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aZ0puo00yRm8puClEp3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tOisyz.k2IszFZl.oMs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jPkKsGrUiVx7X5U6kYp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r9pPck7kWE6szFWNSmG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M0PmJOxkG8wKKOA23T3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JsUAUTt0KPY2A.5TK1U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4.5jHydUma0AC9iIU5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Iy7HguVUWvN94oGVTeN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cXRlg4B0aTAnAO1LnuI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p98WF7YkKHoHvPiHKpA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EgvPqUrEe_e4TrSNRzs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w7JjrOekK9cEKRoyJOe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8VAnQWKE6HtCtQzbDjn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bE9O9C406uWOZ.BZ360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XBZxdqVUG2v0ZiwrmZe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VePLcU.0yi2iD8fTKt2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QSa_awIU2nRWMhPdTF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zKmsep00yg0L_jaxJ7C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K4hg_w_kiYXIHSfINT5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aUFo9QlUm8eHmY77y0o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1OWY5V2U2f8Fl_OM3NA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5H_YpjS0u3b48WZuKqV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G0CJ9o6UK8UbAUrs98K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1Ht8c4iUClFnQIOC1.2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nCT9wL7k2n7aTbvKW7o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lbmA4iV0.AFhXGgaIoo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pIkolTR0yLokfnJugsi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rP6IxGcUC48D4RThezb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N5GI_6wkaTEQJfiV9aQ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toEiz2EUmv.9S2o2tIk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5ee4VL30agVPfdZyxuz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ADsynADUa2hJCN8QvMa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UruOVloEy4PHMYp4NTz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pznDA78ECSpjMXWz5vR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34lfW5P026UwzzT31mu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_Aqduv3kK2JsF45cbhH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eAjhfXgkGyW9WR8jmG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GWFSrIFUSeYLjPVl0sq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9_WoqKBE6G7cXCsGEp2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qhfua9FUe04XT25GRvC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wuQjUKNEmwESF_IbVxJ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kthF9qYEiEpeBk1Zzgl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hN8kMQYUeH8oaYfbnx0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2YIPP7RkqDeV4bluKrj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DVbE_Nj0WeEkjIkwkPG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AfGPTUqkOn6MXHpPp.d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xivYKmjkaXJj4r2UQH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_gkAgyuUiOP5iD79Bri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sy5LwjBk67RLBJh_9Bk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XVT.p5bUmfelsigYgIa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kGaU3wP0C8mbDaWvSOd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MtVkEFDEuPYZKTCC6pc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l5MP0WhUGsy4hbvd5sb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hz0lYwT02O6jTiOqIjO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brN4RPL0q9nSGs1Oe2G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ijVLaRNkymQ9TinGEL5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55ymsjwE6NKw4twpflt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B3Z3NeiUyvoclBUs1t0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PBT1SgsEil.ObHaGPC7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8vbAf9RmUK1UTFQ627va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BSoMAu8kG3mDANfT.Wl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NQFnLtgU2zKJo5rX2jW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o4lWIf8UCadeJt_1XOw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3YkvRGA0.5SoxCN5iQO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HdLOtvVkCXCMdanZOT3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lFYaL8eUCy1Vo8e4XqW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RzrRttUEK4.Wd.W1re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epIgIbWk29RDiSUqr4A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zLNQ0SiUeGsCrKf1hoN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.Gp5minkm3I_zczkhv7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aWJziK7k.gi9ayLFYSx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mA8lu0G0iL1WcxntPLB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zHi4Su2UqkFYTH.A.T8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OQJ1C6L0W1jt7VY5Y3g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XMFhiaJEiWEBS4cUYdI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QcigeWUkqBkIA5G.eCi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gB325_8Uu5zBMR_DNEp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qw82Ja8kur0Y4zuO5er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sPT.F.0UukdLA2Mzm1y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hczbhV_EmXevZcgXJW_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MOO1wCzEGlozgZ8S5IY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._Y72kokiiSDSNR.gr_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1p3tQc60aMXECS7vYt_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srMyOoY0KND_YIdiP9l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nofAeVm028UWUF9zdyh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mgUbDuHU.wNTl8tzpRz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zabhHim0mCaqUkJeQzm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9,37504"/>
  <p:tag name="CDT_PROT_WIDTH" val="136,063"/>
  <p:tag name="CDT_PROT_HEIGHT" val="76,20732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XTY.dRoEmAQ9RXbN8Ke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ILdrKj7UiMaqLaCN92j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c1ksqEkkqmS6aMWgg5A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zGCv77a02Sytd5NGOfq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iFmTo9eEWr.mm1skXUd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hVATAzkkWXOkY.7zZms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8Ff4zdqE6AW6Bw06mrA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OBxX9RDkqSA.cuU7g.P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vuuvzTw0Gp7KYstRABj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YwC0bmVkaur_ByoaUd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2vpGU.tEGtxwYfvnfs9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TAWT.N2Uef4i711bYFc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IlhJmbEky9PjqRRP6cA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R5eCj7KECAaMIXHziyy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lzW8ldvE.ooabuALOuI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0Pf_dhN0SiFuC5abebB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wB0dDxP0iBA4McJW_5_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YWJcAkh02lFaUvJQH1b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gTPwSs.EyX_jj_A85ZF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yDbhbkU.IYQU4HURrl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540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NnUJjkJUubfNDZMHyLW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M41n.9Y0eubJNXztku_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fO5yalbk.d_a6z4EyTh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jCAUG910Wok8CN01bpD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EwXEljrECkf_8QP5wq5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2IxF1AC0m.L1UxTT1l_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Oca97yIEuuESBrJpJ0_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byJs5YHEiwXooXc8PXo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SmP8tPw0urLcZGwcsV9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aD553KGkSb9tCqY6cc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DUMMYPICTURE" val="True"/>
  <p:tag name="CDT_FILLUNVISIBLE" val="False"/>
  <p:tag name="CDT_LINEUNVISIBLE" val="True"/>
  <p:tag name="CDT_AUTODIALOG" val="2"/>
  <p:tag name="CDT_TARGETSHAPE_NEW" val="14"/>
  <p:tag name="CDT_PROT" val="3"/>
  <p:tag name="CDT_PROT_TOP" val="0"/>
  <p:tag name="CDT_PROT_LEFT" val="0"/>
  <p:tag name="CDT_PROT_WIDTH" val="960,5"/>
  <p:tag name="CDT_PROT_HEIGHT" val="540"/>
  <p:tag name="CDT_DELETE_ONEVENT_NEWPRES" val="Fals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u4AbkEK0qviTX_gSS6L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rvOyF5MkSn1_.OkXUMx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jCfz1hSkadyeZ9DALKH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KZJmHmIkumJUIg_B81f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ps1VKpUk6smwIay7PUu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Syaw.Qf0uozW4IJJUu3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rP4oiDH02HeCrDBOCGK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BSv_xbS0aaw1bT6VUri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Xr9DhXdUS0uUQ3Aeccr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pHHGWn40u0gNUvSVWN6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m_XnbxQkWsCxGoUN07n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mYuDeQ9ky6h_FvAsO1L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cL.qxdeE6GefN41UE9g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IBtDzpw0eD9mGWKkR8R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8kmcceLUCtID1Eee5Av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xcAtY_AE.bqIo8nzitp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YzhA7L5kmcFWKCcjulD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dkku5p7Ue4yvmSnnfx6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7CZ9UMikayv_9QhsWEF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hX73F9L0qyEDeQFO5Y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9,37504"/>
  <p:tag name="CDT_PROT_WIDTH" val="136,063"/>
  <p:tag name="CDT_PROT_HEIGHT" val="76,2073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Gg5nm3Z0OOn51IDkvwN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ENVRgH5ES9J17xETNXm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opvqkQy0Swf5yUkXT6t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5C2BEZeo0Oq72cD3tLa0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adkKwLIkGlUdHAxfacK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TViLRgh0upOCu1Z8S4b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cy81SsR0SsNQh.Mrk2A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qipCl5M0i_MjyTNAkvu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rTGh1MP0WI11rg9UCzX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n1Wtmup0iXYMbtIS171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3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JKCaCz3EWE9YwBOgEsv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Kf.v1crEO.iqJRjkPix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NXgOlGb0.ukQNET_ynP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7Cfpe4ZkGpJT0E8Vpav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89OJr9.ESYC4lDp8KGE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fdfO80B02PkgWqjCx_X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u5hDI.cEKqR6QRRcAxD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Svp9IFXU6S7qH1W2nvz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Ycw1aE5k6PU0uKbmyAw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K2OL7eykuyZRQBnevsN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4"/>
  <p:tag name="CDT_PROT" val="3"/>
  <p:tag name="CDT_PROT_TOP" val="485,5"/>
  <p:tag name="CDT_PROT_LEFT" val="695,75"/>
  <p:tag name="CDT_PROT_WIDTH" val="264,75"/>
  <p:tag name="CDT_PROT_HEIGHT" val="34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eWyzvijkOrq.gMTmHcp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aGHbKrakeqfOW44VQvw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N2kD70zEynG2fKcQq6I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wfNapxek66sFUU.u64s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D1Z6nlNkC8ub8yDMK6a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yZlMOUTE.2d2rrnxSpS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bABDd1mkiQvUJtkTwWc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8xQ.RiPU.G9BWizdoo4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6Zam.LiHEqbdGQSGbYwK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9FMgjOMEaGVcuVDMtx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540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0EP58qakq635y8Hdm.x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FVNlp4SUCvqrf.aKWxC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ZBQ6WDPE2cDrlF6maIO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5ZZxMn802XC3mu5.BqT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Z71wkrZ063LwiGrY278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_tWD6AqUe6o1IBA0NLj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aCXJuTpUedUYipHeDMF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ALzyyq_0Od0WoOXCOGW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mR4UqWlkW3jbLg4.Rkg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Vvn_FawkOeknZx_.wTo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DUMMYPICTURE" val="True"/>
  <p:tag name="CDT_FILLUNVISIBLE" val="False"/>
  <p:tag name="CDT_LINEUNVISIBLE" val="True"/>
  <p:tag name="CDT_AUTODIALOG" val="2"/>
  <p:tag name="CDT_TARGETSHAPE_NEW" val="14"/>
  <p:tag name="CDT_PROT" val="3"/>
  <p:tag name="CDT_PROT_TOP" val="0"/>
  <p:tag name="CDT_PROT_LEFT" val="0"/>
  <p:tag name="CDT_PROT_WIDTH" val="960,5"/>
  <p:tag name="CDT_PROT_HEIGHT" val="540"/>
  <p:tag name="CDT_DELETE_ONEVENT_NEWPRES" val="Fals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YEXbT2NECDl4_qu2ytG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42Q.Tid0yETCUq4LDwU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LR1EcWKkixcdczryb0X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GusB.c50isOvyXirttj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K403nNe0CGU83JkA96o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mXnHtt30m5BUMpXHSrM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6FBWf6m0a3od1JHhnLn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RKiE31WUm2d95xn7k.l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6YbjfY3kytUsBszLeim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gTJS4hEK9iqPguVMd3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4NdG4KI0GwSUzKc2x0.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24ROaqHEyhizGwFhQNT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LyL2Id6km8UeHKwjVZT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1vlWyLa0qPO5WxioJCJ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Z59FxUxku.EyETFoyd5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u7kQ9DgU.c1CYHldXOW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Grw3uSsEKIjLb7fXUvy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C49fxBgEyt1qOc4bU.I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cT8WMIJk20mqIGKwOkP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m9mR_ikUWOsgKFKr0IH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9,37504"/>
  <p:tag name="CDT_PROT_WIDTH" val="136,063"/>
  <p:tag name="CDT_PROT_HEIGHT" val="76,20732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reZSFTbE65DgoZG8DCe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SjYuGEE0ukEMAVpNSWE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BgqFH9u0KWWK.h8G.AL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jQ43_ULUWQy97_.5QKL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w2fHn4rUSXUNELAJd5kA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h7TZPw6EeAtH7VKoZUj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D6G3_jbEGd80WCZe76R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QKLuF8qk6eYMDFc_EKN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LeJkIGKUaMVimC5L2qD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QdxkQzXE.z45HoN_a9.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3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fosqsrMkyG4xM.ywnWe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kfOOr08Eij2Bfbu0EP3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ESIGNS_NAME" val="Siemens 2013 – 4:3"/>
  <p:tag name="CDT_MASTERS_NAME" val="Title only"/>
  <p:tag name="CDT_LAYOUT_TYPE" val="32"/>
  <p:tag name="CDT_INTERSECT_SLIDE" val="False"/>
  <p:tag name="CDT_NAVBARONTHISSLIDE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4"/>
  <p:tag name="CDT_PROT" val="3"/>
  <p:tag name="CDT_PROT_TOP" val="485,5"/>
  <p:tag name="CDT_PROT_LEFT" val="695,75"/>
  <p:tag name="CDT_PROT_WIDTH" val="264,75"/>
  <p:tag name="CDT_PROT_HEIGHT" val="3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906"/>
  <p:tag name="CDT_PROT_LEFT" val="212,1243"/>
  <p:tag name="CDT_PROT_WIDTH" val="507,8756"/>
  <p:tag name="CDT_PROT_HEIGHT" val="20,4094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809,1142"/>
  <p:tag name="CDT_PROT_WIDTH" val="113,3858"/>
  <p:tag name="CDT_PROT_HEIGHT" val="63,5062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  <p:tag name="CDT_FILLUNVISIBLE" val="True"/>
  <p:tag name="CDT_LINEUNVISIBLE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  <p:tag name="CDT_FILLUNVISIBLE" val="True"/>
  <p:tag name="CDT_LINEUNVISIBLE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326,7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809,1249"/>
  <p:tag name="CDT_PROT_WIDTH" val="113,375"/>
  <p:tag name="CDT_PROT_HEIGHT" val="63,3750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906"/>
  <p:tag name="CDT_PROT_LEFT" val="212,1243"/>
  <p:tag name="CDT_PROT_WIDTH" val="507,8756"/>
  <p:tag name="CDT_PROT_HEIGHT" val="20,4094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809,1142"/>
  <p:tag name="CDT_PROT_WIDTH" val="113,3858"/>
  <p:tag name="CDT_PROT_HEIGHT" val="63,5062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heme/theme1.xml><?xml version="1.0" encoding="utf-8"?>
<a:theme xmlns:a="http://schemas.openxmlformats.org/drawingml/2006/main" name="Siemens 2013 – 16:9">
  <a:themeElements>
    <a:clrScheme name="Siemens AG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lg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30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large) + Navigation</Name>
  <PpLayout>32</PpLayout>
  <Index>17</Index>
</p4ppTags>
</file>

<file path=customXml/item10.xml><?xml version="1.0" encoding="utf-8"?>
<p4ppTags>
  <Name>Two columns + Navigation</Name>
  <PpLayout>32</PpLayout>
  <Index>18</Index>
</p4ppTags>
</file>

<file path=customXml/item11.xml><?xml version="1.0" encoding="utf-8"?>
<p4ppTags>
  <Name>Two columns</Name>
  <PpLayout>29</PpLayout>
  <Index>12</Index>
</p4ppTags>
</file>

<file path=customXml/item12.xml><?xml version="1.0" encoding="utf-8"?>
<p4ppTags>
  <Name>Four objects</Name>
  <PpLayout>24</PpLayout>
  <Index>15</Index>
</p4ppTags>
</file>

<file path=customXml/item13.xml><?xml version="1.0" encoding="utf-8"?>
<p4ppTags>
  <Name>Two columns + Navigation</Name>
  <PpLayout>32</PpLayout>
  <Index>19</Index>
</p4ppTags>
</file>

<file path=customXml/item14.xml><?xml version="1.0" encoding="utf-8"?>
<p4ppTags>
  <Name>One object (large)</Name>
  <PpLayout>16</PpLayout>
  <Index>10</Index>
</p4ppTags>
</file>

<file path=customXml/item15.xml><?xml version="1.0" encoding="utf-8"?>
<p4ppTags>
  <Name>Three columns</Name>
  <PpLayout>32</PpLayout>
  <Index>14</Index>
</p4ppTags>
</file>

<file path=customXml/item16.xml><?xml version="1.0" encoding="utf-8"?>
<p4ppTags>
  <Name>One object (small) + Navigation</Name>
  <PpLayout>32</PpLayout>
  <Index>18</Index>
</p4ppTags>
</file>

<file path=customXml/item17.xml><?xml version="1.0" encoding="utf-8"?>
<p4ppTags>
  <Name>Title (big bar down)</Name>
  <PpLayout>1</PpLayout>
  <Index>1</Index>
</p4ppTags>
</file>

<file path=customXml/item18.xml><?xml version="1.0" encoding="utf-8"?>
<p4ppTags>
  <Name>Two columns</Name>
  <PpLayout>29</PpLayout>
  <Index>12</Index>
</p4ppTags>
</file>

<file path=customXml/item19.xml><?xml version="1.0" encoding="utf-8"?>
<p4ppTags>
  <Name>Two columns + Navigation</Name>
  <PpLayout>32</PpLayout>
  <Index>18</Index>
</p4ppTags>
</file>

<file path=customXml/item2.xml><?xml version="1.0" encoding="utf-8"?>
<p4ppTags>
  <Name>Title (big bar down)</Name>
  <PpLayout>1</PpLayout>
  <Index>1</Index>
</p4ppTags>
</file>

<file path=customXml/item20.xml><?xml version="1.0" encoding="utf-8"?>
<p4ppTags/>
</file>

<file path=customXml/item21.xml><?xml version="1.0" encoding="utf-8"?>
<p4ppTags>
  <Name>One object (large)</Name>
  <PpLayout>16</PpLayout>
  <Index>10</Index>
</p4ppTags>
</file>

<file path=customXml/item22.xml><?xml version="1.0" encoding="utf-8"?>
<p4ppTags>
  <Name>Title fullscreen (big bar up)</Name>
  <PpLayout>1</PpLayout>
  <Index>4</Index>
</p4ppTags>
</file>

<file path=customXml/item23.xml><?xml version="1.0" encoding="utf-8"?>
<p4ppTags>
  <Name>One object (large)</Name>
  <PpLayout>16</PpLayout>
  <Index>10</Index>
</p4ppTags>
</file>

<file path=customXml/item24.xml><?xml version="1.0" encoding="utf-8"?>
<p4ppTags>
  <Name>One object (small)</Name>
  <PpLayout>16</PpLayout>
  <Index>11</Index>
</p4ppTags>
</file>

<file path=customXml/item25.xml><?xml version="1.0" encoding="utf-8"?>
<p4ppTags>
  <Name>Title (big bar down)</Name>
  <PpLayout>1</PpLayout>
  <Index>1</Index>
</p4ppTags>
</file>

<file path=customXml/item26.xml><?xml version="1.0" encoding="utf-8"?>
<p4ppTags>
  <Name>Free Content</Name>
  <PpLayout>11</PpLayout>
  <Index>9</Index>
</p4ppTags>
</file>

<file path=customXml/item27.xml><?xml version="1.0" encoding="utf-8"?>
<p4ppTags>
  <Name>Title fullscreen (big bar up)</Name>
  <PpLayout>1</PpLayout>
  <Index>4</Index>
</p4ppTags>
</file>

<file path=customXml/item28.xml><?xml version="1.0" encoding="utf-8"?>
<p4ppTags>
  <Name>Two columns</Name>
  <PpLayout>29</PpLayout>
  <Index>12</Index>
</p4ppTags>
</file>

<file path=customXml/item29.xml><?xml version="1.0" encoding="utf-8"?>
<p4ppTags>
  <Name>Text + Index</Name>
  <PpLayout>32</PpLayout>
  <Index>8</Index>
</p4ppTags>
</file>

<file path=customXml/item3.xml><?xml version="1.0" encoding="utf-8"?>
<p4ppTags>
  <Name>Title (big bar up)</Name>
  <PpLayout>1</PpLayout>
  <Index>2</Index>
</p4ppTags>
</file>

<file path=customXml/item30.xml><?xml version="1.0" encoding="utf-8"?>
<p4ppTags>
  <Name>Two columns + Navigation</Name>
  <PpLayout>32</PpLayout>
  <Index>18</Index>
</p4ppTags>
</file>

<file path=customXml/item31.xml><?xml version="1.0" encoding="utf-8"?>
<p4ppTags>
  <Name>Free Content</Name>
  <PpLayout>11</PpLayout>
  <Index>9</Index>
</p4ppTags>
</file>

<file path=customXml/item32.xml><?xml version="1.0" encoding="utf-8"?>
<p4ppTags>
  <Name>Free Content + Navigation</Name>
  <PpLayout>32</PpLayout>
  <Index>16</Index>
</p4ppTags>
</file>

<file path=customXml/item33.xml><?xml version="1.0" encoding="utf-8"?>
<p4ppTags>
  <Name>Text + Index</Name>
  <PpLayout>32</PpLayout>
  <Index>8</Index>
</p4ppTags>
</file>

<file path=customXml/item34.xml><?xml version="1.0" encoding="utf-8"?>
<p4ppTags>
  <Name>Two rows + Navigation</Name>
  <PpLayout>32</PpLayout>
  <Index>19</Index>
</p4ppTags>
</file>

<file path=customXml/item35.xml><?xml version="1.0" encoding="utf-8"?>
<p4ppTags>
  <Name>Image + Index/Contact</Name>
  <PpLayout>32</PpLayout>
  <Index>7</Index>
</p4ppTags>
</file>

<file path=customXml/item36.xml><?xml version="1.0" encoding="utf-8"?>
<p4ppTags>
  <Name>Three columns</Name>
  <PpLayout>32</PpLayout>
  <Index>14</Index>
</p4ppTags>
</file>

<file path=customXml/item37.xml><?xml version="1.0" encoding="utf-8"?>
<p4ppTags>
  <Name>Title (big bar down)</Name>
  <PpLayout>1</PpLayout>
  <Index>1</Index>
</p4ppTags>
</file>

<file path=customXml/item38.xml><?xml version="1.0" encoding="utf-8"?>
<p4ppTags>
  <Name>Text + Index</Name>
  <PpLayout>32</PpLayout>
  <Index>8</Index>
</p4ppTags>
</file>

<file path=customXml/item39.xml><?xml version="1.0" encoding="utf-8"?>
<p4ppTags>
  <Name>Three columns + Navigation</Name>
  <PpLayout>32</PpLayout>
  <Index>20</Index>
</p4ppTags>
</file>

<file path=customXml/item4.xml><?xml version="1.0" encoding="utf-8"?>
<p4ppTags>
  <Name>Text + Index</Name>
  <PpLayout>32</PpLayout>
  <Index>8</Index>
</p4ppTags>
</file>

<file path=customXml/item40.xml><?xml version="1.0" encoding="utf-8"?>
<p4ppTags>
  <Name>One object (small)</Name>
  <PpLayout>16</PpLayout>
  <Index>11</Index>
</p4ppTags>
</file>

<file path=customXml/item41.xml><?xml version="1.0" encoding="utf-8"?>
<p4ppTags>
  <Name>Four objects</Name>
  <PpLayout>24</PpLayout>
  <Index>15</Index>
</p4ppTags>
</file>

<file path=customXml/item42.xml><?xml version="1.0" encoding="utf-8"?>
<p4ppTags>
  <Name>Image + Index/Contact</Name>
  <PpLayout>32</PpLayout>
  <Index>7</Index>
</p4ppTags>
</file>

<file path=customXml/item43.xml><?xml version="1.0" encoding="utf-8"?>
<p4ppTags>
  <Name>Title fullscreen (big bar down)</Name>
  <PpLayout>1</PpLayout>
  <Index>3</Index>
</p4ppTags>
</file>

<file path=customXml/item44.xml><?xml version="1.0" encoding="utf-8"?>
<p4ppTags>
  <Name>Chapter title (big bar down)</Name>
  <PpLayout>1</PpLayout>
  <Index>5</Index>
</p4ppTags>
</file>

<file path=customXml/item45.xml><?xml version="1.0" encoding="utf-8"?>
<p4ppTags>
  <Name>Chapter title (big bar up)</Name>
  <PpLayout>1</PpLayout>
  <Index>6</Index>
</p4ppTags>
</file>

<file path=customXml/item46.xml><?xml version="1.0" encoding="utf-8"?>
<p4ppTags>
  <Name>Title fullscreen (big bar up)</Name>
  <PpLayout>1</PpLayout>
  <Index>4</Index>
</p4ppTags>
</file>

<file path=customXml/item47.xml><?xml version="1.0" encoding="utf-8"?>
<p4ppTags>
  <Name>Four objects + Navigation</Name>
  <PpLayout>32</PpLayout>
  <Index>22</Index>
</p4ppTags>
</file>

<file path=customXml/item48.xml><?xml version="1.0" encoding="utf-8"?>
<p4ppTags>
  <Name>Two rows</Name>
  <PpLayout>32</PpLayout>
  <Index>13</Index>
</p4ppTags>
</file>

<file path=customXml/item49.xml><?xml version="1.0" encoding="utf-8"?>
<p4ppTags>
  <Name>Two rows + Navigation</Name>
  <PpLayout>32</PpLayout>
  <Index>19</Index>
</p4ppTags>
</file>

<file path=customXml/item5.xml><?xml version="1.0" encoding="utf-8"?>
<p4ppTags>
  <Name>Title (big bar up)</Name>
  <PpLayout>1</PpLayout>
  <Index>2</Index>
</p4ppTags>
</file>

<file path=customXml/item50.xml><?xml version="1.0" encoding="utf-8"?>
<p4ppTags>
  <Name>One object (large)</Name>
  <PpLayout>16</PpLayout>
  <Index>10</Index>
</p4ppTags>
</file>

<file path=customXml/item51.xml><?xml version="1.0" encoding="utf-8"?>
<p4ppTags>
  <Name>Two rows + Navigation</Name>
  <PpLayout>32</PpLayout>
  <Index>19</Index>
</p4ppTags>
</file>

<file path=customXml/item52.xml><?xml version="1.0" encoding="utf-8"?>
<p4ppTags>
  <Name>Title (big bar down)</Name>
  <PpLayout>1</PpLayout>
  <Index>1</Index>
</p4ppTags>
</file>

<file path=customXml/item6.xml><?xml version="1.0" encoding="utf-8"?>
<p4ppTags>
  <Name>Four objects</Name>
  <PpLayout>24</PpLayout>
  <Index>15</Index>
</p4ppTags>
</file>

<file path=customXml/item7.xml><?xml version="1.0" encoding="utf-8"?>
<p4ppTags>
  <Name>Three columns</Name>
  <PpLayout>32</PpLayout>
  <Index>14</Index>
</p4ppTags>
</file>

<file path=customXml/item8.xml><?xml version="1.0" encoding="utf-8"?>
<p4ppTags>
  <Name>Four objects</Name>
  <PpLayout>24</PpLayout>
  <Index>15</Index>
</p4ppTags>
</file>

<file path=customXml/item9.xml><?xml version="1.0" encoding="utf-8"?>
<p4ppTags>
  <Name>Two rows + Navigation</Name>
  <PpLayout>32</PpLayout>
  <Index>21</Index>
</p4ppTags>
</file>

<file path=customXml/itemProps1.xml><?xml version="1.0" encoding="utf-8"?>
<ds:datastoreItem xmlns:ds="http://schemas.openxmlformats.org/officeDocument/2006/customXml" ds:itemID="{B27F640E-84DF-4F97-BC70-D045F1E6594F}">
  <ds:schemaRefs/>
</ds:datastoreItem>
</file>

<file path=customXml/itemProps10.xml><?xml version="1.0" encoding="utf-8"?>
<ds:datastoreItem xmlns:ds="http://schemas.openxmlformats.org/officeDocument/2006/customXml" ds:itemID="{CE45537F-5024-489F-9FE9-0AC967D7FCCB}">
  <ds:schemaRefs/>
</ds:datastoreItem>
</file>

<file path=customXml/itemProps11.xml><?xml version="1.0" encoding="utf-8"?>
<ds:datastoreItem xmlns:ds="http://schemas.openxmlformats.org/officeDocument/2006/customXml" ds:itemID="{161FFF6C-77FF-4D4E-A768-930E0F1CF338}">
  <ds:schemaRefs/>
</ds:datastoreItem>
</file>

<file path=customXml/itemProps12.xml><?xml version="1.0" encoding="utf-8"?>
<ds:datastoreItem xmlns:ds="http://schemas.openxmlformats.org/officeDocument/2006/customXml" ds:itemID="{A323081F-5E7C-470D-BD1A-73A0E60B4287}">
  <ds:schemaRefs/>
</ds:datastoreItem>
</file>

<file path=customXml/itemProps13.xml><?xml version="1.0" encoding="utf-8"?>
<ds:datastoreItem xmlns:ds="http://schemas.openxmlformats.org/officeDocument/2006/customXml" ds:itemID="{D7BABA95-BFFE-422B-8591-3271669EEA88}">
  <ds:schemaRefs/>
</ds:datastoreItem>
</file>

<file path=customXml/itemProps14.xml><?xml version="1.0" encoding="utf-8"?>
<ds:datastoreItem xmlns:ds="http://schemas.openxmlformats.org/officeDocument/2006/customXml" ds:itemID="{0E465D0D-3B3B-4042-A305-99B05B4D31E1}">
  <ds:schemaRefs/>
</ds:datastoreItem>
</file>

<file path=customXml/itemProps15.xml><?xml version="1.0" encoding="utf-8"?>
<ds:datastoreItem xmlns:ds="http://schemas.openxmlformats.org/officeDocument/2006/customXml" ds:itemID="{15CF3461-70D1-4B54-AFAB-DAFDA0A238CD}">
  <ds:schemaRefs/>
</ds:datastoreItem>
</file>

<file path=customXml/itemProps16.xml><?xml version="1.0" encoding="utf-8"?>
<ds:datastoreItem xmlns:ds="http://schemas.openxmlformats.org/officeDocument/2006/customXml" ds:itemID="{D9FE249F-833E-4CF0-BECB-552D01D7DC9E}">
  <ds:schemaRefs/>
</ds:datastoreItem>
</file>

<file path=customXml/itemProps17.xml><?xml version="1.0" encoding="utf-8"?>
<ds:datastoreItem xmlns:ds="http://schemas.openxmlformats.org/officeDocument/2006/customXml" ds:itemID="{7791F4BA-D8DE-43DC-9E51-D4FDC9148344}">
  <ds:schemaRefs/>
</ds:datastoreItem>
</file>

<file path=customXml/itemProps18.xml><?xml version="1.0" encoding="utf-8"?>
<ds:datastoreItem xmlns:ds="http://schemas.openxmlformats.org/officeDocument/2006/customXml" ds:itemID="{1666F4C2-68F5-4840-A44A-1A646C0925A1}">
  <ds:schemaRefs/>
</ds:datastoreItem>
</file>

<file path=customXml/itemProps19.xml><?xml version="1.0" encoding="utf-8"?>
<ds:datastoreItem xmlns:ds="http://schemas.openxmlformats.org/officeDocument/2006/customXml" ds:itemID="{F3393CE0-A4BD-43FB-A54E-8D2DEAABA546}">
  <ds:schemaRefs/>
</ds:datastoreItem>
</file>

<file path=customXml/itemProps2.xml><?xml version="1.0" encoding="utf-8"?>
<ds:datastoreItem xmlns:ds="http://schemas.openxmlformats.org/officeDocument/2006/customXml" ds:itemID="{29659C26-9805-4A90-AACA-C01A0D73B4B3}">
  <ds:schemaRefs/>
</ds:datastoreItem>
</file>

<file path=customXml/itemProps20.xml><?xml version="1.0" encoding="utf-8"?>
<ds:datastoreItem xmlns:ds="http://schemas.openxmlformats.org/officeDocument/2006/customXml" ds:itemID="{572FBA73-6DBF-45DA-8282-9342320CFAB0}">
  <ds:schemaRefs/>
</ds:datastoreItem>
</file>

<file path=customXml/itemProps21.xml><?xml version="1.0" encoding="utf-8"?>
<ds:datastoreItem xmlns:ds="http://schemas.openxmlformats.org/officeDocument/2006/customXml" ds:itemID="{EDDE911A-A7A5-433A-8FA7-23E846A4E92A}">
  <ds:schemaRefs/>
</ds:datastoreItem>
</file>

<file path=customXml/itemProps22.xml><?xml version="1.0" encoding="utf-8"?>
<ds:datastoreItem xmlns:ds="http://schemas.openxmlformats.org/officeDocument/2006/customXml" ds:itemID="{5BC22A60-C0AD-4D52-8959-760F0772AFDD}">
  <ds:schemaRefs/>
</ds:datastoreItem>
</file>

<file path=customXml/itemProps23.xml><?xml version="1.0" encoding="utf-8"?>
<ds:datastoreItem xmlns:ds="http://schemas.openxmlformats.org/officeDocument/2006/customXml" ds:itemID="{80661B8B-A327-44F9-823B-4D9EE0B3EC78}">
  <ds:schemaRefs/>
</ds:datastoreItem>
</file>

<file path=customXml/itemProps24.xml><?xml version="1.0" encoding="utf-8"?>
<ds:datastoreItem xmlns:ds="http://schemas.openxmlformats.org/officeDocument/2006/customXml" ds:itemID="{6D7691B2-B3A3-406E-9E71-A83D9C625DDB}">
  <ds:schemaRefs/>
</ds:datastoreItem>
</file>

<file path=customXml/itemProps25.xml><?xml version="1.0" encoding="utf-8"?>
<ds:datastoreItem xmlns:ds="http://schemas.openxmlformats.org/officeDocument/2006/customXml" ds:itemID="{7374FCEA-16BE-4B85-9CBD-0A7EB35B4F67}">
  <ds:schemaRefs/>
</ds:datastoreItem>
</file>

<file path=customXml/itemProps26.xml><?xml version="1.0" encoding="utf-8"?>
<ds:datastoreItem xmlns:ds="http://schemas.openxmlformats.org/officeDocument/2006/customXml" ds:itemID="{D8097D0C-BE3E-4AEC-9593-65CFCCB19297}">
  <ds:schemaRefs/>
</ds:datastoreItem>
</file>

<file path=customXml/itemProps27.xml><?xml version="1.0" encoding="utf-8"?>
<ds:datastoreItem xmlns:ds="http://schemas.openxmlformats.org/officeDocument/2006/customXml" ds:itemID="{362ED032-3DD1-4BB5-8D6C-5906A6D54E28}">
  <ds:schemaRefs/>
</ds:datastoreItem>
</file>

<file path=customXml/itemProps28.xml><?xml version="1.0" encoding="utf-8"?>
<ds:datastoreItem xmlns:ds="http://schemas.openxmlformats.org/officeDocument/2006/customXml" ds:itemID="{34A15597-C3FD-4E5D-80B1-52117018987F}">
  <ds:schemaRefs/>
</ds:datastoreItem>
</file>

<file path=customXml/itemProps29.xml><?xml version="1.0" encoding="utf-8"?>
<ds:datastoreItem xmlns:ds="http://schemas.openxmlformats.org/officeDocument/2006/customXml" ds:itemID="{7E35FEDB-1F0E-4D67-A313-4AC59C26FF29}">
  <ds:schemaRefs/>
</ds:datastoreItem>
</file>

<file path=customXml/itemProps3.xml><?xml version="1.0" encoding="utf-8"?>
<ds:datastoreItem xmlns:ds="http://schemas.openxmlformats.org/officeDocument/2006/customXml" ds:itemID="{35B1EC64-F9C0-413A-BF48-8F9A454C0A65}">
  <ds:schemaRefs/>
</ds:datastoreItem>
</file>

<file path=customXml/itemProps30.xml><?xml version="1.0" encoding="utf-8"?>
<ds:datastoreItem xmlns:ds="http://schemas.openxmlformats.org/officeDocument/2006/customXml" ds:itemID="{6455B0FD-5771-45CC-86C3-252B193B3029}">
  <ds:schemaRefs/>
</ds:datastoreItem>
</file>

<file path=customXml/itemProps31.xml><?xml version="1.0" encoding="utf-8"?>
<ds:datastoreItem xmlns:ds="http://schemas.openxmlformats.org/officeDocument/2006/customXml" ds:itemID="{F437BE72-5239-4AB5-9A75-E6D31D79B4A6}">
  <ds:schemaRefs/>
</ds:datastoreItem>
</file>

<file path=customXml/itemProps32.xml><?xml version="1.0" encoding="utf-8"?>
<ds:datastoreItem xmlns:ds="http://schemas.openxmlformats.org/officeDocument/2006/customXml" ds:itemID="{7CC5F709-E74B-4E5F-A728-923D5062EBEF}">
  <ds:schemaRefs/>
</ds:datastoreItem>
</file>

<file path=customXml/itemProps33.xml><?xml version="1.0" encoding="utf-8"?>
<ds:datastoreItem xmlns:ds="http://schemas.openxmlformats.org/officeDocument/2006/customXml" ds:itemID="{D276E10E-D838-4233-83CF-758275B2C129}">
  <ds:schemaRefs/>
</ds:datastoreItem>
</file>

<file path=customXml/itemProps34.xml><?xml version="1.0" encoding="utf-8"?>
<ds:datastoreItem xmlns:ds="http://schemas.openxmlformats.org/officeDocument/2006/customXml" ds:itemID="{1ACF7252-CDB5-4498-8B06-6FA04C4AEC43}">
  <ds:schemaRefs/>
</ds:datastoreItem>
</file>

<file path=customXml/itemProps35.xml><?xml version="1.0" encoding="utf-8"?>
<ds:datastoreItem xmlns:ds="http://schemas.openxmlformats.org/officeDocument/2006/customXml" ds:itemID="{8BC43C65-3C2F-4752-BAB4-1B8BADD5D292}">
  <ds:schemaRefs/>
</ds:datastoreItem>
</file>

<file path=customXml/itemProps36.xml><?xml version="1.0" encoding="utf-8"?>
<ds:datastoreItem xmlns:ds="http://schemas.openxmlformats.org/officeDocument/2006/customXml" ds:itemID="{F5AB6596-A639-4CB7-8B10-89CA0A82E70D}">
  <ds:schemaRefs/>
</ds:datastoreItem>
</file>

<file path=customXml/itemProps37.xml><?xml version="1.0" encoding="utf-8"?>
<ds:datastoreItem xmlns:ds="http://schemas.openxmlformats.org/officeDocument/2006/customXml" ds:itemID="{127E6BAF-936F-4264-ABFD-08FF377322FF}">
  <ds:schemaRefs/>
</ds:datastoreItem>
</file>

<file path=customXml/itemProps38.xml><?xml version="1.0" encoding="utf-8"?>
<ds:datastoreItem xmlns:ds="http://schemas.openxmlformats.org/officeDocument/2006/customXml" ds:itemID="{8BBBEAD0-AB91-4CD7-B719-308A3107AAAF}">
  <ds:schemaRefs/>
</ds:datastoreItem>
</file>

<file path=customXml/itemProps39.xml><?xml version="1.0" encoding="utf-8"?>
<ds:datastoreItem xmlns:ds="http://schemas.openxmlformats.org/officeDocument/2006/customXml" ds:itemID="{85D77EE6-52B7-48BE-9EDB-748F1EBB53DE}">
  <ds:schemaRefs/>
</ds:datastoreItem>
</file>

<file path=customXml/itemProps4.xml><?xml version="1.0" encoding="utf-8"?>
<ds:datastoreItem xmlns:ds="http://schemas.openxmlformats.org/officeDocument/2006/customXml" ds:itemID="{437074BF-38EC-45BD-9849-0A0747593BF0}">
  <ds:schemaRefs/>
</ds:datastoreItem>
</file>

<file path=customXml/itemProps40.xml><?xml version="1.0" encoding="utf-8"?>
<ds:datastoreItem xmlns:ds="http://schemas.openxmlformats.org/officeDocument/2006/customXml" ds:itemID="{1618AA06-B22E-4D19-9680-0D7830426729}">
  <ds:schemaRefs/>
</ds:datastoreItem>
</file>

<file path=customXml/itemProps41.xml><?xml version="1.0" encoding="utf-8"?>
<ds:datastoreItem xmlns:ds="http://schemas.openxmlformats.org/officeDocument/2006/customXml" ds:itemID="{1581BFFB-B4CE-47A8-BE77-DC1339B1E5A7}">
  <ds:schemaRefs/>
</ds:datastoreItem>
</file>

<file path=customXml/itemProps42.xml><?xml version="1.0" encoding="utf-8"?>
<ds:datastoreItem xmlns:ds="http://schemas.openxmlformats.org/officeDocument/2006/customXml" ds:itemID="{17E2436E-C9A9-41F0-BD4E-B0231726090B}">
  <ds:schemaRefs/>
</ds:datastoreItem>
</file>

<file path=customXml/itemProps43.xml><?xml version="1.0" encoding="utf-8"?>
<ds:datastoreItem xmlns:ds="http://schemas.openxmlformats.org/officeDocument/2006/customXml" ds:itemID="{ACF78F0D-713B-46D3-8FAD-6E70E92EC862}">
  <ds:schemaRefs/>
</ds:datastoreItem>
</file>

<file path=customXml/itemProps44.xml><?xml version="1.0" encoding="utf-8"?>
<ds:datastoreItem xmlns:ds="http://schemas.openxmlformats.org/officeDocument/2006/customXml" ds:itemID="{AB7EE923-C3FC-4B3A-A4A4-5156CA0884C8}">
  <ds:schemaRefs/>
</ds:datastoreItem>
</file>

<file path=customXml/itemProps45.xml><?xml version="1.0" encoding="utf-8"?>
<ds:datastoreItem xmlns:ds="http://schemas.openxmlformats.org/officeDocument/2006/customXml" ds:itemID="{F0D32D62-F16D-41E9-A11D-FC8705C261B2}">
  <ds:schemaRefs/>
</ds:datastoreItem>
</file>

<file path=customXml/itemProps46.xml><?xml version="1.0" encoding="utf-8"?>
<ds:datastoreItem xmlns:ds="http://schemas.openxmlformats.org/officeDocument/2006/customXml" ds:itemID="{074D41AA-781E-4FC6-A8B5-2AA3E42800B4}">
  <ds:schemaRefs/>
</ds:datastoreItem>
</file>

<file path=customXml/itemProps47.xml><?xml version="1.0" encoding="utf-8"?>
<ds:datastoreItem xmlns:ds="http://schemas.openxmlformats.org/officeDocument/2006/customXml" ds:itemID="{EAB520BC-C6EC-457E-8AB5-55DB67C86858}">
  <ds:schemaRefs/>
</ds:datastoreItem>
</file>

<file path=customXml/itemProps48.xml><?xml version="1.0" encoding="utf-8"?>
<ds:datastoreItem xmlns:ds="http://schemas.openxmlformats.org/officeDocument/2006/customXml" ds:itemID="{38AB8DE4-FD9B-4166-BEC3-3F1753596133}">
  <ds:schemaRefs/>
</ds:datastoreItem>
</file>

<file path=customXml/itemProps49.xml><?xml version="1.0" encoding="utf-8"?>
<ds:datastoreItem xmlns:ds="http://schemas.openxmlformats.org/officeDocument/2006/customXml" ds:itemID="{E8E4064B-0CE9-4112-8398-B8172678B96F}">
  <ds:schemaRefs/>
</ds:datastoreItem>
</file>

<file path=customXml/itemProps5.xml><?xml version="1.0" encoding="utf-8"?>
<ds:datastoreItem xmlns:ds="http://schemas.openxmlformats.org/officeDocument/2006/customXml" ds:itemID="{B893464B-AF76-49EA-968D-6744BB7C6C36}">
  <ds:schemaRefs/>
</ds:datastoreItem>
</file>

<file path=customXml/itemProps50.xml><?xml version="1.0" encoding="utf-8"?>
<ds:datastoreItem xmlns:ds="http://schemas.openxmlformats.org/officeDocument/2006/customXml" ds:itemID="{AA58C6C9-7FE5-4F31-9905-EF0E4C61D759}">
  <ds:schemaRefs/>
</ds:datastoreItem>
</file>

<file path=customXml/itemProps51.xml><?xml version="1.0" encoding="utf-8"?>
<ds:datastoreItem xmlns:ds="http://schemas.openxmlformats.org/officeDocument/2006/customXml" ds:itemID="{5BBEC36D-1B49-4BA6-961F-C8F4EE954AAC}">
  <ds:schemaRefs/>
</ds:datastoreItem>
</file>

<file path=customXml/itemProps52.xml><?xml version="1.0" encoding="utf-8"?>
<ds:datastoreItem xmlns:ds="http://schemas.openxmlformats.org/officeDocument/2006/customXml" ds:itemID="{66004075-85AB-4F4F-BCF8-D62AEDB7CF7D}">
  <ds:schemaRefs/>
</ds:datastoreItem>
</file>

<file path=customXml/itemProps6.xml><?xml version="1.0" encoding="utf-8"?>
<ds:datastoreItem xmlns:ds="http://schemas.openxmlformats.org/officeDocument/2006/customXml" ds:itemID="{DE2235AC-D8B0-439E-87BB-3AAF27EBD4AB}">
  <ds:schemaRefs/>
</ds:datastoreItem>
</file>

<file path=customXml/itemProps7.xml><?xml version="1.0" encoding="utf-8"?>
<ds:datastoreItem xmlns:ds="http://schemas.openxmlformats.org/officeDocument/2006/customXml" ds:itemID="{B7192FCA-9882-4F5C-8A37-438BFEC4BC4C}">
  <ds:schemaRefs/>
</ds:datastoreItem>
</file>

<file path=customXml/itemProps8.xml><?xml version="1.0" encoding="utf-8"?>
<ds:datastoreItem xmlns:ds="http://schemas.openxmlformats.org/officeDocument/2006/customXml" ds:itemID="{835563E5-8648-4389-AC20-E0D936EFCE49}">
  <ds:schemaRefs/>
</ds:datastoreItem>
</file>

<file path=customXml/itemProps9.xml><?xml version="1.0" encoding="utf-8"?>
<ds:datastoreItem xmlns:ds="http://schemas.openxmlformats.org/officeDocument/2006/customXml" ds:itemID="{6C79E4F8-DCFB-483C-880A-AEEC6AAFC83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Ареал.thmx</Template>
  <TotalTime>462</TotalTime>
  <Words>489</Words>
  <Application>Microsoft Office PowerPoint</Application>
  <PresentationFormat>Произвольный</PresentationFormat>
  <Paragraphs>181</Paragraphs>
  <Slides>15</Slides>
  <Notes>1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7" baseType="lpstr">
      <vt:lpstr>Siemens 2013 – 16:9</vt:lpstr>
      <vt:lpstr>think-cell Slide</vt:lpstr>
      <vt:lpstr>Инновационные кластеры и Индустрия 4.0: в цифровой экономике:  сущность, перспективы развития ЧАСТЬ 3 Бабкин А.В. </vt:lpstr>
      <vt:lpstr>Этапы развития производства</vt:lpstr>
      <vt:lpstr>Первая промышленная революция “Индустрия 1.0”</vt:lpstr>
      <vt:lpstr>Этапы развития производства</vt:lpstr>
      <vt:lpstr>Вторая промышленная революция “Индустрия 2.0”</vt:lpstr>
      <vt:lpstr>Этапы развития производства</vt:lpstr>
      <vt:lpstr>Третья промышленная революция “Индустрия 3.0”</vt:lpstr>
      <vt:lpstr>Этапы развития производства</vt:lpstr>
      <vt:lpstr>Четвертая промышленная революция “Индустрия 4.0”</vt:lpstr>
      <vt:lpstr>На пути к Индустрии 4.0 – Цифровое предприятие в инновационной экономике</vt:lpstr>
      <vt:lpstr>Индустрия 4.0 – проект будущего, отражающий видение промышленного производства после 2025 г.</vt:lpstr>
      <vt:lpstr>Индустрия 4.0 Инициативы различных стран, нацеленные на будущее промышленного производства</vt:lpstr>
      <vt:lpstr>Концепция «Цифровое предприятие» – результат 4-ой промышленной революции Сокращенное время от идеи продукта до выхода на рынок, увеличенная гибкость производства и сниженный уровень сложности</vt:lpstr>
      <vt:lpstr>Виртуальные производственные системы… …обладают всей информацией в виде „цифровой тени“</vt:lpstr>
      <vt:lpstr>Индустрия 4.0 влияет на все элементы производства</vt:lpstr>
    </vt:vector>
  </TitlesOfParts>
  <Company>Siemens AG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Corporate Design PowerPoint-Templates</dc:title>
  <dc:creator>info@i-pointing.de</dc:creator>
  <cp:lastModifiedBy>User</cp:lastModifiedBy>
  <cp:revision>1057</cp:revision>
  <cp:lastPrinted>2015-02-25T17:11:16Z</cp:lastPrinted>
  <dcterms:created xsi:type="dcterms:W3CDTF">2006-04-07T10:01:45Z</dcterms:created>
  <dcterms:modified xsi:type="dcterms:W3CDTF">2017-05-27T07:44:46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June 2013</vt:lpwstr>
  </property>
  <property fmtid="{D5CDD505-2E9C-101B-9397-08002B2CF9AE}" pid="4" name="Office version">
    <vt:lpwstr>2007/2010</vt:lpwstr>
  </property>
  <property fmtid="{D5CDD505-2E9C-101B-9397-08002B2CF9AE}" pid="5" name="Release version">
    <vt:lpwstr>2.0.1</vt:lpwstr>
  </property>
</Properties>
</file>